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"/>
  </p:notesMasterIdLst>
  <p:handoutMasterIdLst>
    <p:handoutMasterId r:id="rId7"/>
  </p:handoutMasterIdLst>
  <p:sldIdLst>
    <p:sldId id="292" r:id="rId2"/>
    <p:sldId id="316" r:id="rId3"/>
    <p:sldId id="317" r:id="rId4"/>
    <p:sldId id="338" r:id="rId5"/>
  </p:sldIdLst>
  <p:sldSz cx="9906000" cy="6858000" type="A4"/>
  <p:notesSz cx="6858000" cy="9144000"/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935">
          <p15:clr>
            <a:srgbClr val="A4A3A4"/>
          </p15:clr>
        </p15:guide>
        <p15:guide id="4" orient="horz" pos="3838">
          <p15:clr>
            <a:srgbClr val="A4A3A4"/>
          </p15:clr>
        </p15:guide>
        <p15:guide id="5" pos="3120">
          <p15:clr>
            <a:srgbClr val="A4A3A4"/>
          </p15:clr>
        </p15:guide>
        <p15:guide id="6" pos="353">
          <p15:clr>
            <a:srgbClr val="A4A3A4"/>
          </p15:clr>
        </p15:guide>
        <p15:guide id="7" pos="588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EAEA"/>
    <a:srgbClr val="000000"/>
    <a:srgbClr val="83D29E"/>
    <a:srgbClr val="003C79"/>
    <a:srgbClr val="002A5E"/>
    <a:srgbClr val="78DEC8"/>
    <a:srgbClr val="B9B4AA"/>
    <a:srgbClr val="D25564"/>
    <a:srgbClr val="DEF3E5"/>
    <a:srgbClr val="46464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706" autoAdjust="0"/>
    <p:restoredTop sz="94660"/>
  </p:normalViewPr>
  <p:slideViewPr>
    <p:cSldViewPr showGuides="1">
      <p:cViewPr varScale="1">
        <p:scale>
          <a:sx n="69" d="100"/>
          <a:sy n="69" d="100"/>
        </p:scale>
        <p:origin x="1068" y="44"/>
      </p:cViewPr>
      <p:guideLst>
        <p:guide orient="horz" pos="2160"/>
        <p:guide pos="3840"/>
        <p:guide orient="horz" pos="935"/>
        <p:guide orient="horz" pos="3838"/>
        <p:guide pos="3120"/>
        <p:guide pos="353"/>
        <p:guide pos="588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606"/>
    </p:cViewPr>
  </p:sorterViewPr>
  <p:notesViewPr>
    <p:cSldViewPr showGuides="1">
      <p:cViewPr varScale="1">
        <p:scale>
          <a:sx n="57" d="100"/>
          <a:sy n="57" d="100"/>
        </p:scale>
        <p:origin x="1806" y="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-laskentataulukko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Blad1!$A$2:$A$3</c:f>
              <c:strCache>
                <c:ptCount val="2"/>
                <c:pt idx="0">
                  <c:v>Användning</c:v>
                </c:pt>
                <c:pt idx="1">
                  <c:v>MW</c:v>
                </c:pt>
              </c:strCache>
            </c:strRef>
          </c:tx>
          <c:spPr>
            <a:ln w="1270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val>
            <c:numRef>
              <c:f>Blad1!$A$4:$A$8741</c:f>
              <c:numCache>
                <c:formatCode>General</c:formatCode>
                <c:ptCount val="8738"/>
                <c:pt idx="2">
                  <c:v>14706</c:v>
                </c:pt>
                <c:pt idx="3">
                  <c:v>14725</c:v>
                </c:pt>
                <c:pt idx="4">
                  <c:v>14485</c:v>
                </c:pt>
                <c:pt idx="5">
                  <c:v>14297</c:v>
                </c:pt>
                <c:pt idx="6">
                  <c:v>14248</c:v>
                </c:pt>
                <c:pt idx="7">
                  <c:v>14267</c:v>
                </c:pt>
                <c:pt idx="8">
                  <c:v>14654</c:v>
                </c:pt>
                <c:pt idx="9">
                  <c:v>14994</c:v>
                </c:pt>
                <c:pt idx="10">
                  <c:v>15162</c:v>
                </c:pt>
                <c:pt idx="11">
                  <c:v>15166</c:v>
                </c:pt>
                <c:pt idx="12">
                  <c:v>15671</c:v>
                </c:pt>
                <c:pt idx="13">
                  <c:v>16133</c:v>
                </c:pt>
                <c:pt idx="14">
                  <c:v>16178</c:v>
                </c:pt>
                <c:pt idx="15">
                  <c:v>16273</c:v>
                </c:pt>
                <c:pt idx="16">
                  <c:v>16530</c:v>
                </c:pt>
                <c:pt idx="17">
                  <c:v>17087</c:v>
                </c:pt>
                <c:pt idx="18">
                  <c:v>17514</c:v>
                </c:pt>
                <c:pt idx="19">
                  <c:v>17628</c:v>
                </c:pt>
                <c:pt idx="20">
                  <c:v>17433</c:v>
                </c:pt>
                <c:pt idx="21">
                  <c:v>16872</c:v>
                </c:pt>
                <c:pt idx="22">
                  <c:v>16456</c:v>
                </c:pt>
                <c:pt idx="23">
                  <c:v>15887</c:v>
                </c:pt>
                <c:pt idx="24">
                  <c:v>15250</c:v>
                </c:pt>
                <c:pt idx="25">
                  <c:v>14791</c:v>
                </c:pt>
                <c:pt idx="26">
                  <c:v>14199</c:v>
                </c:pt>
                <c:pt idx="27">
                  <c:v>13920</c:v>
                </c:pt>
                <c:pt idx="28">
                  <c:v>13648</c:v>
                </c:pt>
                <c:pt idx="29">
                  <c:v>13596</c:v>
                </c:pt>
                <c:pt idx="30">
                  <c:v>13798</c:v>
                </c:pt>
                <c:pt idx="31">
                  <c:v>14422</c:v>
                </c:pt>
                <c:pt idx="32">
                  <c:v>15551</c:v>
                </c:pt>
                <c:pt idx="33">
                  <c:v>16618</c:v>
                </c:pt>
                <c:pt idx="34">
                  <c:v>17173</c:v>
                </c:pt>
                <c:pt idx="35">
                  <c:v>17280</c:v>
                </c:pt>
                <c:pt idx="36">
                  <c:v>17516</c:v>
                </c:pt>
                <c:pt idx="37">
                  <c:v>17782</c:v>
                </c:pt>
                <c:pt idx="38">
                  <c:v>17808</c:v>
                </c:pt>
                <c:pt idx="39">
                  <c:v>17661</c:v>
                </c:pt>
                <c:pt idx="40">
                  <c:v>17823</c:v>
                </c:pt>
                <c:pt idx="41">
                  <c:v>18522</c:v>
                </c:pt>
                <c:pt idx="42">
                  <c:v>18927</c:v>
                </c:pt>
                <c:pt idx="43">
                  <c:v>18926</c:v>
                </c:pt>
                <c:pt idx="44">
                  <c:v>18676</c:v>
                </c:pt>
                <c:pt idx="45">
                  <c:v>18234</c:v>
                </c:pt>
                <c:pt idx="46">
                  <c:v>17691</c:v>
                </c:pt>
                <c:pt idx="47">
                  <c:v>17065</c:v>
                </c:pt>
                <c:pt idx="48">
                  <c:v>16371</c:v>
                </c:pt>
                <c:pt idx="49">
                  <c:v>15987</c:v>
                </c:pt>
                <c:pt idx="50">
                  <c:v>15545</c:v>
                </c:pt>
                <c:pt idx="51">
                  <c:v>15273</c:v>
                </c:pt>
                <c:pt idx="52">
                  <c:v>15464</c:v>
                </c:pt>
                <c:pt idx="53">
                  <c:v>15625</c:v>
                </c:pt>
                <c:pt idx="54">
                  <c:v>15600</c:v>
                </c:pt>
                <c:pt idx="55">
                  <c:v>15431</c:v>
                </c:pt>
                <c:pt idx="56">
                  <c:v>15933</c:v>
                </c:pt>
                <c:pt idx="57">
                  <c:v>16350</c:v>
                </c:pt>
                <c:pt idx="58">
                  <c:v>16789</c:v>
                </c:pt>
                <c:pt idx="59">
                  <c:v>17252</c:v>
                </c:pt>
                <c:pt idx="60">
                  <c:v>17776</c:v>
                </c:pt>
                <c:pt idx="61">
                  <c:v>18011</c:v>
                </c:pt>
                <c:pt idx="62">
                  <c:v>17843</c:v>
                </c:pt>
                <c:pt idx="63">
                  <c:v>17741</c:v>
                </c:pt>
                <c:pt idx="64">
                  <c:v>17925</c:v>
                </c:pt>
                <c:pt idx="65">
                  <c:v>18430</c:v>
                </c:pt>
                <c:pt idx="66">
                  <c:v>19133</c:v>
                </c:pt>
                <c:pt idx="67">
                  <c:v>19252</c:v>
                </c:pt>
                <c:pt idx="68">
                  <c:v>18864</c:v>
                </c:pt>
                <c:pt idx="69">
                  <c:v>18389</c:v>
                </c:pt>
                <c:pt idx="70">
                  <c:v>17744</c:v>
                </c:pt>
                <c:pt idx="71">
                  <c:v>17236</c:v>
                </c:pt>
                <c:pt idx="72">
                  <c:v>16671</c:v>
                </c:pt>
                <c:pt idx="73">
                  <c:v>16021</c:v>
                </c:pt>
                <c:pt idx="74">
                  <c:v>15764</c:v>
                </c:pt>
                <c:pt idx="75">
                  <c:v>15539</c:v>
                </c:pt>
                <c:pt idx="76">
                  <c:v>15400</c:v>
                </c:pt>
                <c:pt idx="77">
                  <c:v>15422</c:v>
                </c:pt>
                <c:pt idx="78">
                  <c:v>15514</c:v>
                </c:pt>
                <c:pt idx="79">
                  <c:v>15573</c:v>
                </c:pt>
                <c:pt idx="80">
                  <c:v>15969</c:v>
                </c:pt>
                <c:pt idx="81">
                  <c:v>16569</c:v>
                </c:pt>
                <c:pt idx="82">
                  <c:v>17021</c:v>
                </c:pt>
                <c:pt idx="83">
                  <c:v>17752</c:v>
                </c:pt>
                <c:pt idx="84">
                  <c:v>19255</c:v>
                </c:pt>
                <c:pt idx="85">
                  <c:v>18138</c:v>
                </c:pt>
                <c:pt idx="86">
                  <c:v>18279</c:v>
                </c:pt>
                <c:pt idx="87">
                  <c:v>18253</c:v>
                </c:pt>
                <c:pt idx="88">
                  <c:v>18505</c:v>
                </c:pt>
                <c:pt idx="89">
                  <c:v>19055</c:v>
                </c:pt>
                <c:pt idx="90">
                  <c:v>19935</c:v>
                </c:pt>
                <c:pt idx="91">
                  <c:v>20032</c:v>
                </c:pt>
                <c:pt idx="92">
                  <c:v>19989</c:v>
                </c:pt>
                <c:pt idx="93">
                  <c:v>19535</c:v>
                </c:pt>
                <c:pt idx="94">
                  <c:v>18794</c:v>
                </c:pt>
                <c:pt idx="95">
                  <c:v>18105</c:v>
                </c:pt>
                <c:pt idx="96">
                  <c:v>17600</c:v>
                </c:pt>
                <c:pt idx="97">
                  <c:v>16987</c:v>
                </c:pt>
                <c:pt idx="98">
                  <c:v>16654</c:v>
                </c:pt>
                <c:pt idx="99">
                  <c:v>16360</c:v>
                </c:pt>
                <c:pt idx="100">
                  <c:v>16202</c:v>
                </c:pt>
                <c:pt idx="101">
                  <c:v>16202</c:v>
                </c:pt>
                <c:pt idx="102">
                  <c:v>16422</c:v>
                </c:pt>
                <c:pt idx="103">
                  <c:v>17032</c:v>
                </c:pt>
                <c:pt idx="104">
                  <c:v>18233</c:v>
                </c:pt>
                <c:pt idx="105">
                  <c:v>19613</c:v>
                </c:pt>
                <c:pt idx="106">
                  <c:v>20412</c:v>
                </c:pt>
                <c:pt idx="107">
                  <c:v>20284</c:v>
                </c:pt>
                <c:pt idx="108">
                  <c:v>20514</c:v>
                </c:pt>
                <c:pt idx="109">
                  <c:v>20949</c:v>
                </c:pt>
                <c:pt idx="110">
                  <c:v>20573</c:v>
                </c:pt>
                <c:pt idx="111">
                  <c:v>20510</c:v>
                </c:pt>
                <c:pt idx="112">
                  <c:v>20590</c:v>
                </c:pt>
                <c:pt idx="113">
                  <c:v>21579</c:v>
                </c:pt>
                <c:pt idx="114">
                  <c:v>21921</c:v>
                </c:pt>
                <c:pt idx="115">
                  <c:v>21913</c:v>
                </c:pt>
                <c:pt idx="116">
                  <c:v>21591</c:v>
                </c:pt>
                <c:pt idx="117">
                  <c:v>21029</c:v>
                </c:pt>
                <c:pt idx="118">
                  <c:v>20608</c:v>
                </c:pt>
                <c:pt idx="119">
                  <c:v>19815</c:v>
                </c:pt>
                <c:pt idx="120">
                  <c:v>18858</c:v>
                </c:pt>
                <c:pt idx="121">
                  <c:v>17788</c:v>
                </c:pt>
                <c:pt idx="122">
                  <c:v>17062</c:v>
                </c:pt>
                <c:pt idx="123">
                  <c:v>16772</c:v>
                </c:pt>
                <c:pt idx="124">
                  <c:v>16625</c:v>
                </c:pt>
                <c:pt idx="125">
                  <c:v>16529</c:v>
                </c:pt>
                <c:pt idx="126">
                  <c:v>16557</c:v>
                </c:pt>
                <c:pt idx="127">
                  <c:v>16689</c:v>
                </c:pt>
                <c:pt idx="128">
                  <c:v>17472</c:v>
                </c:pt>
                <c:pt idx="129">
                  <c:v>18349</c:v>
                </c:pt>
                <c:pt idx="130">
                  <c:v>18650</c:v>
                </c:pt>
                <c:pt idx="131">
                  <c:v>19036</c:v>
                </c:pt>
                <c:pt idx="132">
                  <c:v>19379</c:v>
                </c:pt>
                <c:pt idx="133">
                  <c:v>19548</c:v>
                </c:pt>
                <c:pt idx="134">
                  <c:v>19660</c:v>
                </c:pt>
                <c:pt idx="135">
                  <c:v>19418</c:v>
                </c:pt>
                <c:pt idx="136">
                  <c:v>19670</c:v>
                </c:pt>
                <c:pt idx="137">
                  <c:v>20312</c:v>
                </c:pt>
                <c:pt idx="138">
                  <c:v>20740</c:v>
                </c:pt>
                <c:pt idx="139">
                  <c:v>20925</c:v>
                </c:pt>
                <c:pt idx="140">
                  <c:v>20391</c:v>
                </c:pt>
                <c:pt idx="141">
                  <c:v>19913</c:v>
                </c:pt>
                <c:pt idx="142">
                  <c:v>19253</c:v>
                </c:pt>
                <c:pt idx="143">
                  <c:v>18393</c:v>
                </c:pt>
                <c:pt idx="144">
                  <c:v>17450</c:v>
                </c:pt>
                <c:pt idx="145">
                  <c:v>16852</c:v>
                </c:pt>
                <c:pt idx="146">
                  <c:v>16704</c:v>
                </c:pt>
                <c:pt idx="147">
                  <c:v>16534</c:v>
                </c:pt>
                <c:pt idx="148">
                  <c:v>16332</c:v>
                </c:pt>
                <c:pt idx="149">
                  <c:v>16399</c:v>
                </c:pt>
                <c:pt idx="150">
                  <c:v>16622</c:v>
                </c:pt>
                <c:pt idx="151">
                  <c:v>17469</c:v>
                </c:pt>
                <c:pt idx="152">
                  <c:v>19269</c:v>
                </c:pt>
                <c:pt idx="153">
                  <c:v>21091</c:v>
                </c:pt>
                <c:pt idx="154">
                  <c:v>21601</c:v>
                </c:pt>
                <c:pt idx="155">
                  <c:v>21422</c:v>
                </c:pt>
                <c:pt idx="156">
                  <c:v>21513</c:v>
                </c:pt>
                <c:pt idx="157">
                  <c:v>21567</c:v>
                </c:pt>
                <c:pt idx="158">
                  <c:v>21638</c:v>
                </c:pt>
                <c:pt idx="159">
                  <c:v>21536</c:v>
                </c:pt>
                <c:pt idx="160">
                  <c:v>21500</c:v>
                </c:pt>
                <c:pt idx="161">
                  <c:v>21734</c:v>
                </c:pt>
                <c:pt idx="162">
                  <c:v>21950</c:v>
                </c:pt>
                <c:pt idx="163">
                  <c:v>21915</c:v>
                </c:pt>
                <c:pt idx="164">
                  <c:v>21561</c:v>
                </c:pt>
                <c:pt idx="165">
                  <c:v>20516</c:v>
                </c:pt>
                <c:pt idx="166">
                  <c:v>19459</c:v>
                </c:pt>
                <c:pt idx="167">
                  <c:v>18509</c:v>
                </c:pt>
                <c:pt idx="168">
                  <c:v>17629</c:v>
                </c:pt>
                <c:pt idx="169">
                  <c:v>16730</c:v>
                </c:pt>
                <c:pt idx="170">
                  <c:v>16084</c:v>
                </c:pt>
                <c:pt idx="171">
                  <c:v>15732</c:v>
                </c:pt>
                <c:pt idx="172">
                  <c:v>15591</c:v>
                </c:pt>
                <c:pt idx="173">
                  <c:v>15517</c:v>
                </c:pt>
                <c:pt idx="174">
                  <c:v>15693</c:v>
                </c:pt>
                <c:pt idx="175">
                  <c:v>16369</c:v>
                </c:pt>
                <c:pt idx="176">
                  <c:v>18060</c:v>
                </c:pt>
                <c:pt idx="177">
                  <c:v>19898</c:v>
                </c:pt>
                <c:pt idx="178">
                  <c:v>20524</c:v>
                </c:pt>
                <c:pt idx="179">
                  <c:v>20177</c:v>
                </c:pt>
                <c:pt idx="180">
                  <c:v>20206</c:v>
                </c:pt>
                <c:pt idx="181">
                  <c:v>20210</c:v>
                </c:pt>
                <c:pt idx="182">
                  <c:v>20337</c:v>
                </c:pt>
                <c:pt idx="183">
                  <c:v>20026</c:v>
                </c:pt>
                <c:pt idx="184">
                  <c:v>20313</c:v>
                </c:pt>
                <c:pt idx="185">
                  <c:v>21027</c:v>
                </c:pt>
                <c:pt idx="186">
                  <c:v>21130</c:v>
                </c:pt>
                <c:pt idx="187">
                  <c:v>21094</c:v>
                </c:pt>
                <c:pt idx="188">
                  <c:v>20616</c:v>
                </c:pt>
                <c:pt idx="189">
                  <c:v>20214</c:v>
                </c:pt>
                <c:pt idx="190">
                  <c:v>19130</c:v>
                </c:pt>
                <c:pt idx="191">
                  <c:v>18452</c:v>
                </c:pt>
                <c:pt idx="192">
                  <c:v>17587</c:v>
                </c:pt>
                <c:pt idx="193">
                  <c:v>16550</c:v>
                </c:pt>
                <c:pt idx="194">
                  <c:v>15235</c:v>
                </c:pt>
                <c:pt idx="195">
                  <c:v>15657</c:v>
                </c:pt>
                <c:pt idx="196">
                  <c:v>15503</c:v>
                </c:pt>
                <c:pt idx="197">
                  <c:v>15551</c:v>
                </c:pt>
                <c:pt idx="198">
                  <c:v>15702</c:v>
                </c:pt>
                <c:pt idx="199">
                  <c:v>16463</c:v>
                </c:pt>
                <c:pt idx="200">
                  <c:v>18650</c:v>
                </c:pt>
                <c:pt idx="201">
                  <c:v>20658</c:v>
                </c:pt>
                <c:pt idx="202">
                  <c:v>21104</c:v>
                </c:pt>
                <c:pt idx="203">
                  <c:v>21068</c:v>
                </c:pt>
                <c:pt idx="204">
                  <c:v>21534</c:v>
                </c:pt>
                <c:pt idx="205">
                  <c:v>21488</c:v>
                </c:pt>
                <c:pt idx="206">
                  <c:v>21083</c:v>
                </c:pt>
                <c:pt idx="207">
                  <c:v>20937</c:v>
                </c:pt>
                <c:pt idx="208">
                  <c:v>20736</c:v>
                </c:pt>
                <c:pt idx="209">
                  <c:v>20942</c:v>
                </c:pt>
                <c:pt idx="210">
                  <c:v>21222</c:v>
                </c:pt>
                <c:pt idx="211">
                  <c:v>21216</c:v>
                </c:pt>
                <c:pt idx="212">
                  <c:v>20734</c:v>
                </c:pt>
                <c:pt idx="213">
                  <c:v>19871</c:v>
                </c:pt>
                <c:pt idx="214">
                  <c:v>19259</c:v>
                </c:pt>
                <c:pt idx="215">
                  <c:v>18302</c:v>
                </c:pt>
                <c:pt idx="216">
                  <c:v>17579</c:v>
                </c:pt>
                <c:pt idx="217">
                  <c:v>17175</c:v>
                </c:pt>
                <c:pt idx="218">
                  <c:v>16430</c:v>
                </c:pt>
                <c:pt idx="219">
                  <c:v>16254</c:v>
                </c:pt>
                <c:pt idx="220">
                  <c:v>16262</c:v>
                </c:pt>
                <c:pt idx="221">
                  <c:v>15922</c:v>
                </c:pt>
                <c:pt idx="222">
                  <c:v>16033</c:v>
                </c:pt>
                <c:pt idx="223">
                  <c:v>15820</c:v>
                </c:pt>
                <c:pt idx="224">
                  <c:v>16084</c:v>
                </c:pt>
                <c:pt idx="225">
                  <c:v>16961</c:v>
                </c:pt>
                <c:pt idx="226">
                  <c:v>17606</c:v>
                </c:pt>
                <c:pt idx="227">
                  <c:v>18157</c:v>
                </c:pt>
                <c:pt idx="228">
                  <c:v>18668</c:v>
                </c:pt>
                <c:pt idx="229">
                  <c:v>18620</c:v>
                </c:pt>
                <c:pt idx="230">
                  <c:v>19063</c:v>
                </c:pt>
                <c:pt idx="231">
                  <c:v>19095</c:v>
                </c:pt>
                <c:pt idx="232">
                  <c:v>19107</c:v>
                </c:pt>
                <c:pt idx="233">
                  <c:v>19390</c:v>
                </c:pt>
                <c:pt idx="234">
                  <c:v>19937</c:v>
                </c:pt>
                <c:pt idx="235">
                  <c:v>20165</c:v>
                </c:pt>
                <c:pt idx="236">
                  <c:v>19821</c:v>
                </c:pt>
                <c:pt idx="237">
                  <c:v>19588</c:v>
                </c:pt>
                <c:pt idx="238">
                  <c:v>18906</c:v>
                </c:pt>
                <c:pt idx="239">
                  <c:v>18638</c:v>
                </c:pt>
                <c:pt idx="240">
                  <c:v>18048</c:v>
                </c:pt>
                <c:pt idx="241">
                  <c:v>17626</c:v>
                </c:pt>
                <c:pt idx="242">
                  <c:v>16946</c:v>
                </c:pt>
                <c:pt idx="243">
                  <c:v>16752</c:v>
                </c:pt>
                <c:pt idx="244">
                  <c:v>16487</c:v>
                </c:pt>
                <c:pt idx="245">
                  <c:v>16421</c:v>
                </c:pt>
                <c:pt idx="246">
                  <c:v>16427</c:v>
                </c:pt>
                <c:pt idx="247">
                  <c:v>16637</c:v>
                </c:pt>
                <c:pt idx="248">
                  <c:v>17123</c:v>
                </c:pt>
                <c:pt idx="249">
                  <c:v>17610</c:v>
                </c:pt>
                <c:pt idx="250">
                  <c:v>18225</c:v>
                </c:pt>
                <c:pt idx="251">
                  <c:v>19197</c:v>
                </c:pt>
                <c:pt idx="252">
                  <c:v>19855</c:v>
                </c:pt>
                <c:pt idx="253">
                  <c:v>19400</c:v>
                </c:pt>
                <c:pt idx="254">
                  <c:v>19441</c:v>
                </c:pt>
                <c:pt idx="255">
                  <c:v>19341</c:v>
                </c:pt>
                <c:pt idx="256">
                  <c:v>19511</c:v>
                </c:pt>
                <c:pt idx="257">
                  <c:v>20060</c:v>
                </c:pt>
                <c:pt idx="258">
                  <c:v>20871</c:v>
                </c:pt>
                <c:pt idx="259">
                  <c:v>20843</c:v>
                </c:pt>
                <c:pt idx="260">
                  <c:v>21140</c:v>
                </c:pt>
                <c:pt idx="261">
                  <c:v>20841</c:v>
                </c:pt>
                <c:pt idx="262">
                  <c:v>20366</c:v>
                </c:pt>
                <c:pt idx="263">
                  <c:v>19667</c:v>
                </c:pt>
                <c:pt idx="264">
                  <c:v>18850</c:v>
                </c:pt>
                <c:pt idx="265">
                  <c:v>18106</c:v>
                </c:pt>
                <c:pt idx="266">
                  <c:v>17720</c:v>
                </c:pt>
                <c:pt idx="267">
                  <c:v>17271</c:v>
                </c:pt>
                <c:pt idx="268">
                  <c:v>17273</c:v>
                </c:pt>
                <c:pt idx="269">
                  <c:v>17487</c:v>
                </c:pt>
                <c:pt idx="270">
                  <c:v>17613</c:v>
                </c:pt>
                <c:pt idx="271">
                  <c:v>18055</c:v>
                </c:pt>
                <c:pt idx="272">
                  <c:v>20319</c:v>
                </c:pt>
                <c:pt idx="273">
                  <c:v>22357</c:v>
                </c:pt>
                <c:pt idx="274">
                  <c:v>23377</c:v>
                </c:pt>
                <c:pt idx="275">
                  <c:v>23331</c:v>
                </c:pt>
                <c:pt idx="276">
                  <c:v>22448</c:v>
                </c:pt>
                <c:pt idx="277">
                  <c:v>22233</c:v>
                </c:pt>
                <c:pt idx="278">
                  <c:v>22309</c:v>
                </c:pt>
                <c:pt idx="279">
                  <c:v>22194</c:v>
                </c:pt>
                <c:pt idx="280">
                  <c:v>22028</c:v>
                </c:pt>
                <c:pt idx="281">
                  <c:v>22539</c:v>
                </c:pt>
                <c:pt idx="282">
                  <c:v>22731</c:v>
                </c:pt>
                <c:pt idx="283">
                  <c:v>22645</c:v>
                </c:pt>
                <c:pt idx="284">
                  <c:v>22090</c:v>
                </c:pt>
                <c:pt idx="285">
                  <c:v>21448</c:v>
                </c:pt>
                <c:pt idx="286">
                  <c:v>20565</c:v>
                </c:pt>
                <c:pt idx="287">
                  <c:v>19719</c:v>
                </c:pt>
                <c:pt idx="288">
                  <c:v>18629</c:v>
                </c:pt>
                <c:pt idx="289">
                  <c:v>17442</c:v>
                </c:pt>
                <c:pt idx="290">
                  <c:v>16561</c:v>
                </c:pt>
                <c:pt idx="291">
                  <c:v>15982</c:v>
                </c:pt>
                <c:pt idx="292">
                  <c:v>15941</c:v>
                </c:pt>
                <c:pt idx="293">
                  <c:v>16172</c:v>
                </c:pt>
                <c:pt idx="294">
                  <c:v>16517</c:v>
                </c:pt>
                <c:pt idx="295">
                  <c:v>17291</c:v>
                </c:pt>
                <c:pt idx="296">
                  <c:v>18795</c:v>
                </c:pt>
                <c:pt idx="297">
                  <c:v>20741</c:v>
                </c:pt>
                <c:pt idx="298">
                  <c:v>21797</c:v>
                </c:pt>
                <c:pt idx="299">
                  <c:v>21611</c:v>
                </c:pt>
                <c:pt idx="300">
                  <c:v>21030</c:v>
                </c:pt>
                <c:pt idx="301">
                  <c:v>20683</c:v>
                </c:pt>
                <c:pt idx="302">
                  <c:v>20778</c:v>
                </c:pt>
                <c:pt idx="303">
                  <c:v>20555</c:v>
                </c:pt>
                <c:pt idx="304">
                  <c:v>20464</c:v>
                </c:pt>
                <c:pt idx="305">
                  <c:v>20846</c:v>
                </c:pt>
                <c:pt idx="306">
                  <c:v>21501</c:v>
                </c:pt>
                <c:pt idx="307">
                  <c:v>21320</c:v>
                </c:pt>
                <c:pt idx="308">
                  <c:v>20809</c:v>
                </c:pt>
                <c:pt idx="309">
                  <c:v>20186</c:v>
                </c:pt>
                <c:pt idx="310">
                  <c:v>19572</c:v>
                </c:pt>
                <c:pt idx="311">
                  <c:v>18989</c:v>
                </c:pt>
                <c:pt idx="312">
                  <c:v>17782</c:v>
                </c:pt>
                <c:pt idx="313">
                  <c:v>16709</c:v>
                </c:pt>
                <c:pt idx="314">
                  <c:v>16180</c:v>
                </c:pt>
                <c:pt idx="315">
                  <c:v>15742</c:v>
                </c:pt>
                <c:pt idx="316">
                  <c:v>15461</c:v>
                </c:pt>
                <c:pt idx="317">
                  <c:v>15582</c:v>
                </c:pt>
                <c:pt idx="318">
                  <c:v>16115</c:v>
                </c:pt>
                <c:pt idx="319">
                  <c:v>16732</c:v>
                </c:pt>
                <c:pt idx="320">
                  <c:v>18882</c:v>
                </c:pt>
                <c:pt idx="321">
                  <c:v>20790</c:v>
                </c:pt>
                <c:pt idx="322">
                  <c:v>21637</c:v>
                </c:pt>
                <c:pt idx="323">
                  <c:v>21366</c:v>
                </c:pt>
                <c:pt idx="324">
                  <c:v>21602</c:v>
                </c:pt>
                <c:pt idx="325">
                  <c:v>21406</c:v>
                </c:pt>
                <c:pt idx="326">
                  <c:v>21410</c:v>
                </c:pt>
                <c:pt idx="327">
                  <c:v>21248</c:v>
                </c:pt>
                <c:pt idx="328">
                  <c:v>21362</c:v>
                </c:pt>
                <c:pt idx="329">
                  <c:v>21787</c:v>
                </c:pt>
                <c:pt idx="330">
                  <c:v>22177</c:v>
                </c:pt>
                <c:pt idx="331">
                  <c:v>22192</c:v>
                </c:pt>
                <c:pt idx="332">
                  <c:v>21681</c:v>
                </c:pt>
                <c:pt idx="333">
                  <c:v>21043</c:v>
                </c:pt>
                <c:pt idx="334">
                  <c:v>20036</c:v>
                </c:pt>
                <c:pt idx="335">
                  <c:v>19162</c:v>
                </c:pt>
                <c:pt idx="336">
                  <c:v>18182</c:v>
                </c:pt>
                <c:pt idx="337">
                  <c:v>17320</c:v>
                </c:pt>
                <c:pt idx="338">
                  <c:v>16721</c:v>
                </c:pt>
                <c:pt idx="339">
                  <c:v>16210</c:v>
                </c:pt>
                <c:pt idx="340">
                  <c:v>16151</c:v>
                </c:pt>
                <c:pt idx="341">
                  <c:v>16132</c:v>
                </c:pt>
                <c:pt idx="342">
                  <c:v>16460</c:v>
                </c:pt>
                <c:pt idx="343">
                  <c:v>17152</c:v>
                </c:pt>
                <c:pt idx="344">
                  <c:v>19025</c:v>
                </c:pt>
                <c:pt idx="345">
                  <c:v>20980</c:v>
                </c:pt>
                <c:pt idx="346">
                  <c:v>21295</c:v>
                </c:pt>
                <c:pt idx="347">
                  <c:v>21146</c:v>
                </c:pt>
                <c:pt idx="348">
                  <c:v>21298</c:v>
                </c:pt>
                <c:pt idx="349">
                  <c:v>21042</c:v>
                </c:pt>
                <c:pt idx="350">
                  <c:v>20935</c:v>
                </c:pt>
                <c:pt idx="351">
                  <c:v>21098</c:v>
                </c:pt>
                <c:pt idx="352">
                  <c:v>21162</c:v>
                </c:pt>
                <c:pt idx="353">
                  <c:v>21601</c:v>
                </c:pt>
                <c:pt idx="354">
                  <c:v>21968</c:v>
                </c:pt>
                <c:pt idx="355">
                  <c:v>21947</c:v>
                </c:pt>
                <c:pt idx="356">
                  <c:v>21341</c:v>
                </c:pt>
                <c:pt idx="357">
                  <c:v>20803</c:v>
                </c:pt>
                <c:pt idx="358">
                  <c:v>19872</c:v>
                </c:pt>
                <c:pt idx="359">
                  <c:v>19205</c:v>
                </c:pt>
                <c:pt idx="360">
                  <c:v>18233</c:v>
                </c:pt>
                <c:pt idx="361">
                  <c:v>17162</c:v>
                </c:pt>
                <c:pt idx="362">
                  <c:v>16320</c:v>
                </c:pt>
                <c:pt idx="363">
                  <c:v>15834</c:v>
                </c:pt>
                <c:pt idx="364">
                  <c:v>15752</c:v>
                </c:pt>
                <c:pt idx="365">
                  <c:v>15717</c:v>
                </c:pt>
                <c:pt idx="366">
                  <c:v>15816</c:v>
                </c:pt>
                <c:pt idx="367">
                  <c:v>16508</c:v>
                </c:pt>
                <c:pt idx="368">
                  <c:v>18245</c:v>
                </c:pt>
                <c:pt idx="369">
                  <c:v>20228</c:v>
                </c:pt>
                <c:pt idx="370">
                  <c:v>20477</c:v>
                </c:pt>
                <c:pt idx="371">
                  <c:v>20324</c:v>
                </c:pt>
                <c:pt idx="372">
                  <c:v>20407</c:v>
                </c:pt>
                <c:pt idx="373">
                  <c:v>20320</c:v>
                </c:pt>
                <c:pt idx="374">
                  <c:v>20118</c:v>
                </c:pt>
                <c:pt idx="375">
                  <c:v>19835</c:v>
                </c:pt>
                <c:pt idx="376">
                  <c:v>19744</c:v>
                </c:pt>
                <c:pt idx="377">
                  <c:v>19820</c:v>
                </c:pt>
                <c:pt idx="378">
                  <c:v>20259</c:v>
                </c:pt>
                <c:pt idx="379">
                  <c:v>20463</c:v>
                </c:pt>
                <c:pt idx="380">
                  <c:v>20028</c:v>
                </c:pt>
                <c:pt idx="381">
                  <c:v>19130</c:v>
                </c:pt>
                <c:pt idx="382">
                  <c:v>18429</c:v>
                </c:pt>
                <c:pt idx="383">
                  <c:v>17589</c:v>
                </c:pt>
                <c:pt idx="384">
                  <c:v>16823</c:v>
                </c:pt>
                <c:pt idx="385">
                  <c:v>16185</c:v>
                </c:pt>
                <c:pt idx="386">
                  <c:v>15399</c:v>
                </c:pt>
                <c:pt idx="387">
                  <c:v>15122</c:v>
                </c:pt>
                <c:pt idx="388">
                  <c:v>14912</c:v>
                </c:pt>
                <c:pt idx="389">
                  <c:v>14918</c:v>
                </c:pt>
                <c:pt idx="390">
                  <c:v>14998</c:v>
                </c:pt>
                <c:pt idx="391">
                  <c:v>15311</c:v>
                </c:pt>
                <c:pt idx="392">
                  <c:v>15739</c:v>
                </c:pt>
                <c:pt idx="393">
                  <c:v>16460</c:v>
                </c:pt>
                <c:pt idx="394">
                  <c:v>16979</c:v>
                </c:pt>
                <c:pt idx="395">
                  <c:v>17501</c:v>
                </c:pt>
                <c:pt idx="396">
                  <c:v>17791</c:v>
                </c:pt>
                <c:pt idx="397">
                  <c:v>17520</c:v>
                </c:pt>
                <c:pt idx="398">
                  <c:v>17667</c:v>
                </c:pt>
                <c:pt idx="399">
                  <c:v>17301</c:v>
                </c:pt>
                <c:pt idx="400">
                  <c:v>17248</c:v>
                </c:pt>
                <c:pt idx="401">
                  <c:v>17636</c:v>
                </c:pt>
                <c:pt idx="402">
                  <c:v>18660</c:v>
                </c:pt>
                <c:pt idx="403">
                  <c:v>19186</c:v>
                </c:pt>
                <c:pt idx="404">
                  <c:v>18574</c:v>
                </c:pt>
                <c:pt idx="405">
                  <c:v>17843</c:v>
                </c:pt>
                <c:pt idx="406">
                  <c:v>17094</c:v>
                </c:pt>
                <c:pt idx="407">
                  <c:v>16627</c:v>
                </c:pt>
                <c:pt idx="408">
                  <c:v>16024</c:v>
                </c:pt>
                <c:pt idx="409">
                  <c:v>15344</c:v>
                </c:pt>
                <c:pt idx="410">
                  <c:v>15168</c:v>
                </c:pt>
                <c:pt idx="411">
                  <c:v>15038</c:v>
                </c:pt>
                <c:pt idx="412">
                  <c:v>14881</c:v>
                </c:pt>
                <c:pt idx="413">
                  <c:v>14852</c:v>
                </c:pt>
                <c:pt idx="414">
                  <c:v>14904</c:v>
                </c:pt>
                <c:pt idx="415">
                  <c:v>15223</c:v>
                </c:pt>
                <c:pt idx="416">
                  <c:v>15729</c:v>
                </c:pt>
                <c:pt idx="417">
                  <c:v>16421</c:v>
                </c:pt>
                <c:pt idx="418">
                  <c:v>17034</c:v>
                </c:pt>
                <c:pt idx="419">
                  <c:v>17665</c:v>
                </c:pt>
                <c:pt idx="420">
                  <c:v>18183</c:v>
                </c:pt>
                <c:pt idx="421">
                  <c:v>18308</c:v>
                </c:pt>
                <c:pt idx="422">
                  <c:v>18417</c:v>
                </c:pt>
                <c:pt idx="423">
                  <c:v>18730</c:v>
                </c:pt>
                <c:pt idx="424">
                  <c:v>18702</c:v>
                </c:pt>
                <c:pt idx="425">
                  <c:v>19105</c:v>
                </c:pt>
                <c:pt idx="426">
                  <c:v>19890</c:v>
                </c:pt>
                <c:pt idx="427">
                  <c:v>20335</c:v>
                </c:pt>
                <c:pt idx="428">
                  <c:v>20326</c:v>
                </c:pt>
                <c:pt idx="429">
                  <c:v>19706</c:v>
                </c:pt>
                <c:pt idx="430">
                  <c:v>19152</c:v>
                </c:pt>
                <c:pt idx="431">
                  <c:v>18227</c:v>
                </c:pt>
                <c:pt idx="432">
                  <c:v>17297</c:v>
                </c:pt>
                <c:pt idx="433">
                  <c:v>16429</c:v>
                </c:pt>
                <c:pt idx="434">
                  <c:v>16161</c:v>
                </c:pt>
                <c:pt idx="435">
                  <c:v>15918</c:v>
                </c:pt>
                <c:pt idx="436">
                  <c:v>15879</c:v>
                </c:pt>
                <c:pt idx="437">
                  <c:v>15826</c:v>
                </c:pt>
                <c:pt idx="438">
                  <c:v>16149</c:v>
                </c:pt>
                <c:pt idx="439">
                  <c:v>16890</c:v>
                </c:pt>
                <c:pt idx="440">
                  <c:v>19253</c:v>
                </c:pt>
                <c:pt idx="441">
                  <c:v>21725</c:v>
                </c:pt>
                <c:pt idx="442">
                  <c:v>21852</c:v>
                </c:pt>
                <c:pt idx="443">
                  <c:v>21591</c:v>
                </c:pt>
                <c:pt idx="444">
                  <c:v>21981</c:v>
                </c:pt>
                <c:pt idx="445">
                  <c:v>21800</c:v>
                </c:pt>
                <c:pt idx="446">
                  <c:v>21722</c:v>
                </c:pt>
                <c:pt idx="447">
                  <c:v>21691</c:v>
                </c:pt>
                <c:pt idx="448">
                  <c:v>21796</c:v>
                </c:pt>
                <c:pt idx="449">
                  <c:v>22001</c:v>
                </c:pt>
                <c:pt idx="450">
                  <c:v>22554</c:v>
                </c:pt>
                <c:pt idx="451">
                  <c:v>22581</c:v>
                </c:pt>
                <c:pt idx="452">
                  <c:v>22265</c:v>
                </c:pt>
                <c:pt idx="453">
                  <c:v>21726</c:v>
                </c:pt>
                <c:pt idx="454">
                  <c:v>20766</c:v>
                </c:pt>
                <c:pt idx="455">
                  <c:v>19864</c:v>
                </c:pt>
                <c:pt idx="456">
                  <c:v>18885</c:v>
                </c:pt>
                <c:pt idx="457">
                  <c:v>17842</c:v>
                </c:pt>
                <c:pt idx="458">
                  <c:v>16856</c:v>
                </c:pt>
                <c:pt idx="459">
                  <c:v>16591</c:v>
                </c:pt>
                <c:pt idx="460">
                  <c:v>16488</c:v>
                </c:pt>
                <c:pt idx="461">
                  <c:v>16457</c:v>
                </c:pt>
                <c:pt idx="462">
                  <c:v>16749</c:v>
                </c:pt>
                <c:pt idx="463">
                  <c:v>17466</c:v>
                </c:pt>
                <c:pt idx="464">
                  <c:v>19727</c:v>
                </c:pt>
                <c:pt idx="465">
                  <c:v>21831</c:v>
                </c:pt>
                <c:pt idx="466">
                  <c:v>22232</c:v>
                </c:pt>
                <c:pt idx="467">
                  <c:v>22050</c:v>
                </c:pt>
                <c:pt idx="468">
                  <c:v>22367</c:v>
                </c:pt>
                <c:pt idx="469">
                  <c:v>22452</c:v>
                </c:pt>
                <c:pt idx="470">
                  <c:v>22191</c:v>
                </c:pt>
                <c:pt idx="471">
                  <c:v>22122</c:v>
                </c:pt>
                <c:pt idx="472">
                  <c:v>22029</c:v>
                </c:pt>
                <c:pt idx="473">
                  <c:v>22378</c:v>
                </c:pt>
                <c:pt idx="474">
                  <c:v>22611</c:v>
                </c:pt>
                <c:pt idx="475">
                  <c:v>22684</c:v>
                </c:pt>
                <c:pt idx="476">
                  <c:v>22108</c:v>
                </c:pt>
                <c:pt idx="477">
                  <c:v>21406</c:v>
                </c:pt>
                <c:pt idx="478">
                  <c:v>20656</c:v>
                </c:pt>
                <c:pt idx="479">
                  <c:v>19822</c:v>
                </c:pt>
                <c:pt idx="480">
                  <c:v>18795</c:v>
                </c:pt>
                <c:pt idx="481">
                  <c:v>17627</c:v>
                </c:pt>
                <c:pt idx="482">
                  <c:v>16923</c:v>
                </c:pt>
                <c:pt idx="483">
                  <c:v>16732</c:v>
                </c:pt>
                <c:pt idx="484">
                  <c:v>16692</c:v>
                </c:pt>
                <c:pt idx="485">
                  <c:v>16799</c:v>
                </c:pt>
                <c:pt idx="486">
                  <c:v>16827</c:v>
                </c:pt>
                <c:pt idx="487">
                  <c:v>17703</c:v>
                </c:pt>
                <c:pt idx="488">
                  <c:v>20009</c:v>
                </c:pt>
                <c:pt idx="489">
                  <c:v>22154</c:v>
                </c:pt>
                <c:pt idx="490">
                  <c:v>22251</c:v>
                </c:pt>
                <c:pt idx="491">
                  <c:v>22158</c:v>
                </c:pt>
                <c:pt idx="492">
                  <c:v>22316</c:v>
                </c:pt>
                <c:pt idx="493">
                  <c:v>22101</c:v>
                </c:pt>
                <c:pt idx="494">
                  <c:v>21768</c:v>
                </c:pt>
                <c:pt idx="495">
                  <c:v>21770</c:v>
                </c:pt>
                <c:pt idx="496">
                  <c:v>21660</c:v>
                </c:pt>
                <c:pt idx="497">
                  <c:v>21936</c:v>
                </c:pt>
                <c:pt idx="498">
                  <c:v>22444</c:v>
                </c:pt>
                <c:pt idx="499">
                  <c:v>22647</c:v>
                </c:pt>
                <c:pt idx="500">
                  <c:v>22135</c:v>
                </c:pt>
                <c:pt idx="501">
                  <c:v>21516</c:v>
                </c:pt>
                <c:pt idx="502">
                  <c:v>20822</c:v>
                </c:pt>
                <c:pt idx="503">
                  <c:v>19682</c:v>
                </c:pt>
                <c:pt idx="504">
                  <c:v>18630</c:v>
                </c:pt>
                <c:pt idx="505">
                  <c:v>17508</c:v>
                </c:pt>
                <c:pt idx="506">
                  <c:v>16786</c:v>
                </c:pt>
                <c:pt idx="507">
                  <c:v>16646</c:v>
                </c:pt>
                <c:pt idx="508">
                  <c:v>16596</c:v>
                </c:pt>
                <c:pt idx="509">
                  <c:v>16519</c:v>
                </c:pt>
                <c:pt idx="510">
                  <c:v>16776</c:v>
                </c:pt>
                <c:pt idx="511">
                  <c:v>17637</c:v>
                </c:pt>
                <c:pt idx="512">
                  <c:v>19756</c:v>
                </c:pt>
                <c:pt idx="513">
                  <c:v>21737</c:v>
                </c:pt>
                <c:pt idx="514">
                  <c:v>22028</c:v>
                </c:pt>
                <c:pt idx="515">
                  <c:v>21842</c:v>
                </c:pt>
                <c:pt idx="516">
                  <c:v>21872</c:v>
                </c:pt>
                <c:pt idx="517">
                  <c:v>21807</c:v>
                </c:pt>
                <c:pt idx="518">
                  <c:v>21663</c:v>
                </c:pt>
                <c:pt idx="519">
                  <c:v>21586</c:v>
                </c:pt>
                <c:pt idx="520">
                  <c:v>21510</c:v>
                </c:pt>
                <c:pt idx="521">
                  <c:v>21783</c:v>
                </c:pt>
                <c:pt idx="522">
                  <c:v>22250</c:v>
                </c:pt>
                <c:pt idx="523">
                  <c:v>22507</c:v>
                </c:pt>
                <c:pt idx="524">
                  <c:v>22115</c:v>
                </c:pt>
                <c:pt idx="525">
                  <c:v>21962</c:v>
                </c:pt>
                <c:pt idx="526">
                  <c:v>21076</c:v>
                </c:pt>
                <c:pt idx="527">
                  <c:v>20303</c:v>
                </c:pt>
                <c:pt idx="528">
                  <c:v>19062</c:v>
                </c:pt>
                <c:pt idx="529">
                  <c:v>18035</c:v>
                </c:pt>
                <c:pt idx="530">
                  <c:v>17158</c:v>
                </c:pt>
                <c:pt idx="531">
                  <c:v>16729</c:v>
                </c:pt>
                <c:pt idx="532">
                  <c:v>16716</c:v>
                </c:pt>
                <c:pt idx="533">
                  <c:v>16907</c:v>
                </c:pt>
                <c:pt idx="534">
                  <c:v>17050</c:v>
                </c:pt>
                <c:pt idx="535">
                  <c:v>18137</c:v>
                </c:pt>
                <c:pt idx="536">
                  <c:v>20474</c:v>
                </c:pt>
                <c:pt idx="537">
                  <c:v>22415</c:v>
                </c:pt>
                <c:pt idx="538">
                  <c:v>22624</c:v>
                </c:pt>
                <c:pt idx="539">
                  <c:v>22662</c:v>
                </c:pt>
                <c:pt idx="540">
                  <c:v>22907</c:v>
                </c:pt>
                <c:pt idx="541">
                  <c:v>22508</c:v>
                </c:pt>
                <c:pt idx="542">
                  <c:v>22169</c:v>
                </c:pt>
                <c:pt idx="543">
                  <c:v>21777</c:v>
                </c:pt>
                <c:pt idx="544">
                  <c:v>21737</c:v>
                </c:pt>
                <c:pt idx="545">
                  <c:v>21859</c:v>
                </c:pt>
                <c:pt idx="546">
                  <c:v>22367</c:v>
                </c:pt>
                <c:pt idx="547">
                  <c:v>22862</c:v>
                </c:pt>
                <c:pt idx="548">
                  <c:v>22354</c:v>
                </c:pt>
                <c:pt idx="549">
                  <c:v>21492</c:v>
                </c:pt>
                <c:pt idx="550">
                  <c:v>20629</c:v>
                </c:pt>
                <c:pt idx="551">
                  <c:v>19541</c:v>
                </c:pt>
                <c:pt idx="552">
                  <c:v>18907</c:v>
                </c:pt>
                <c:pt idx="553">
                  <c:v>18143</c:v>
                </c:pt>
                <c:pt idx="554">
                  <c:v>17675</c:v>
                </c:pt>
                <c:pt idx="555">
                  <c:v>17308</c:v>
                </c:pt>
                <c:pt idx="556">
                  <c:v>17139</c:v>
                </c:pt>
                <c:pt idx="557">
                  <c:v>16967</c:v>
                </c:pt>
                <c:pt idx="558">
                  <c:v>16956</c:v>
                </c:pt>
                <c:pt idx="559">
                  <c:v>17165</c:v>
                </c:pt>
                <c:pt idx="560">
                  <c:v>17536</c:v>
                </c:pt>
                <c:pt idx="561">
                  <c:v>18295</c:v>
                </c:pt>
                <c:pt idx="562">
                  <c:v>18764</c:v>
                </c:pt>
                <c:pt idx="563">
                  <c:v>19469</c:v>
                </c:pt>
                <c:pt idx="564">
                  <c:v>19948</c:v>
                </c:pt>
                <c:pt idx="565">
                  <c:v>19982</c:v>
                </c:pt>
                <c:pt idx="566">
                  <c:v>19903</c:v>
                </c:pt>
                <c:pt idx="567">
                  <c:v>19803</c:v>
                </c:pt>
                <c:pt idx="568">
                  <c:v>19524</c:v>
                </c:pt>
                <c:pt idx="569">
                  <c:v>19952</c:v>
                </c:pt>
                <c:pt idx="570">
                  <c:v>20537</c:v>
                </c:pt>
                <c:pt idx="571">
                  <c:v>20927</c:v>
                </c:pt>
                <c:pt idx="572">
                  <c:v>20528</c:v>
                </c:pt>
                <c:pt idx="573">
                  <c:v>19889</c:v>
                </c:pt>
                <c:pt idx="574">
                  <c:v>19254</c:v>
                </c:pt>
                <c:pt idx="575">
                  <c:v>18579</c:v>
                </c:pt>
                <c:pt idx="576">
                  <c:v>17840</c:v>
                </c:pt>
                <c:pt idx="577">
                  <c:v>17131</c:v>
                </c:pt>
                <c:pt idx="578">
                  <c:v>16558</c:v>
                </c:pt>
                <c:pt idx="579">
                  <c:v>16241</c:v>
                </c:pt>
                <c:pt idx="580">
                  <c:v>16062</c:v>
                </c:pt>
                <c:pt idx="581">
                  <c:v>15743</c:v>
                </c:pt>
                <c:pt idx="582">
                  <c:v>15727</c:v>
                </c:pt>
                <c:pt idx="583">
                  <c:v>16132</c:v>
                </c:pt>
                <c:pt idx="584">
                  <c:v>16395</c:v>
                </c:pt>
                <c:pt idx="585">
                  <c:v>17011</c:v>
                </c:pt>
                <c:pt idx="586">
                  <c:v>17524</c:v>
                </c:pt>
                <c:pt idx="587">
                  <c:v>18054</c:v>
                </c:pt>
                <c:pt idx="588">
                  <c:v>18535</c:v>
                </c:pt>
                <c:pt idx="589">
                  <c:v>18806</c:v>
                </c:pt>
                <c:pt idx="590">
                  <c:v>18958</c:v>
                </c:pt>
                <c:pt idx="591">
                  <c:v>18727</c:v>
                </c:pt>
                <c:pt idx="592">
                  <c:v>18704</c:v>
                </c:pt>
                <c:pt idx="593">
                  <c:v>19018</c:v>
                </c:pt>
                <c:pt idx="594">
                  <c:v>19747</c:v>
                </c:pt>
                <c:pt idx="595">
                  <c:v>20452</c:v>
                </c:pt>
                <c:pt idx="596">
                  <c:v>20169</c:v>
                </c:pt>
                <c:pt idx="597">
                  <c:v>19651</c:v>
                </c:pt>
                <c:pt idx="598">
                  <c:v>19189</c:v>
                </c:pt>
                <c:pt idx="599">
                  <c:v>18178</c:v>
                </c:pt>
                <c:pt idx="600">
                  <c:v>17209</c:v>
                </c:pt>
                <c:pt idx="601">
                  <c:v>16359</c:v>
                </c:pt>
                <c:pt idx="602">
                  <c:v>16227</c:v>
                </c:pt>
                <c:pt idx="603">
                  <c:v>16318</c:v>
                </c:pt>
                <c:pt idx="604">
                  <c:v>16110</c:v>
                </c:pt>
                <c:pt idx="605">
                  <c:v>16481</c:v>
                </c:pt>
                <c:pt idx="606">
                  <c:v>16608</c:v>
                </c:pt>
                <c:pt idx="607">
                  <c:v>17516</c:v>
                </c:pt>
                <c:pt idx="608">
                  <c:v>19437</c:v>
                </c:pt>
                <c:pt idx="609">
                  <c:v>21225</c:v>
                </c:pt>
                <c:pt idx="610">
                  <c:v>21188</c:v>
                </c:pt>
                <c:pt idx="611">
                  <c:v>21440</c:v>
                </c:pt>
                <c:pt idx="612">
                  <c:v>21473</c:v>
                </c:pt>
                <c:pt idx="613">
                  <c:v>21235</c:v>
                </c:pt>
                <c:pt idx="614">
                  <c:v>21143</c:v>
                </c:pt>
                <c:pt idx="615">
                  <c:v>21154</c:v>
                </c:pt>
                <c:pt idx="616">
                  <c:v>21271</c:v>
                </c:pt>
                <c:pt idx="617">
                  <c:v>21475</c:v>
                </c:pt>
                <c:pt idx="618">
                  <c:v>21861</c:v>
                </c:pt>
                <c:pt idx="619">
                  <c:v>21985</c:v>
                </c:pt>
                <c:pt idx="620">
                  <c:v>21720</c:v>
                </c:pt>
                <c:pt idx="621">
                  <c:v>21270</c:v>
                </c:pt>
                <c:pt idx="622">
                  <c:v>20543</c:v>
                </c:pt>
                <c:pt idx="623">
                  <c:v>19654</c:v>
                </c:pt>
                <c:pt idx="624">
                  <c:v>18396</c:v>
                </c:pt>
                <c:pt idx="625">
                  <c:v>17065</c:v>
                </c:pt>
                <c:pt idx="626">
                  <c:v>16442</c:v>
                </c:pt>
                <c:pt idx="627">
                  <c:v>16031</c:v>
                </c:pt>
                <c:pt idx="628">
                  <c:v>15886</c:v>
                </c:pt>
                <c:pt idx="629">
                  <c:v>16078</c:v>
                </c:pt>
                <c:pt idx="630">
                  <c:v>16396</c:v>
                </c:pt>
                <c:pt idx="631">
                  <c:v>17451</c:v>
                </c:pt>
                <c:pt idx="632">
                  <c:v>19356</c:v>
                </c:pt>
                <c:pt idx="633">
                  <c:v>21315</c:v>
                </c:pt>
                <c:pt idx="634">
                  <c:v>21610</c:v>
                </c:pt>
                <c:pt idx="635">
                  <c:v>21490</c:v>
                </c:pt>
                <c:pt idx="636">
                  <c:v>21567</c:v>
                </c:pt>
                <c:pt idx="637">
                  <c:v>21424</c:v>
                </c:pt>
                <c:pt idx="638">
                  <c:v>21078</c:v>
                </c:pt>
                <c:pt idx="639">
                  <c:v>21028</c:v>
                </c:pt>
                <c:pt idx="640">
                  <c:v>20987</c:v>
                </c:pt>
                <c:pt idx="641">
                  <c:v>21103</c:v>
                </c:pt>
                <c:pt idx="642">
                  <c:v>21652</c:v>
                </c:pt>
                <c:pt idx="643">
                  <c:v>22180</c:v>
                </c:pt>
                <c:pt idx="644">
                  <c:v>22071</c:v>
                </c:pt>
                <c:pt idx="645">
                  <c:v>21473</c:v>
                </c:pt>
                <c:pt idx="646">
                  <c:v>20719</c:v>
                </c:pt>
                <c:pt idx="647">
                  <c:v>19721</c:v>
                </c:pt>
                <c:pt idx="648">
                  <c:v>18834</c:v>
                </c:pt>
                <c:pt idx="649">
                  <c:v>17636</c:v>
                </c:pt>
                <c:pt idx="650">
                  <c:v>17015</c:v>
                </c:pt>
                <c:pt idx="651">
                  <c:v>16512</c:v>
                </c:pt>
                <c:pt idx="652">
                  <c:v>16261</c:v>
                </c:pt>
                <c:pt idx="653">
                  <c:v>16258</c:v>
                </c:pt>
                <c:pt idx="654">
                  <c:v>16268</c:v>
                </c:pt>
                <c:pt idx="655">
                  <c:v>17107</c:v>
                </c:pt>
                <c:pt idx="656">
                  <c:v>19196</c:v>
                </c:pt>
                <c:pt idx="657">
                  <c:v>21142</c:v>
                </c:pt>
                <c:pt idx="658">
                  <c:v>20985</c:v>
                </c:pt>
                <c:pt idx="659">
                  <c:v>20834</c:v>
                </c:pt>
                <c:pt idx="660">
                  <c:v>20734</c:v>
                </c:pt>
                <c:pt idx="661">
                  <c:v>20666</c:v>
                </c:pt>
                <c:pt idx="662">
                  <c:v>20622</c:v>
                </c:pt>
                <c:pt idx="663">
                  <c:v>20695</c:v>
                </c:pt>
                <c:pt idx="664">
                  <c:v>20668</c:v>
                </c:pt>
                <c:pt idx="665">
                  <c:v>20902</c:v>
                </c:pt>
                <c:pt idx="666">
                  <c:v>21408</c:v>
                </c:pt>
                <c:pt idx="667">
                  <c:v>21648</c:v>
                </c:pt>
                <c:pt idx="668">
                  <c:v>21016</c:v>
                </c:pt>
                <c:pt idx="669">
                  <c:v>20417</c:v>
                </c:pt>
                <c:pt idx="670">
                  <c:v>19887</c:v>
                </c:pt>
                <c:pt idx="671">
                  <c:v>19020</c:v>
                </c:pt>
                <c:pt idx="672">
                  <c:v>18220</c:v>
                </c:pt>
                <c:pt idx="673">
                  <c:v>17309</c:v>
                </c:pt>
                <c:pt idx="674">
                  <c:v>16708</c:v>
                </c:pt>
                <c:pt idx="675">
                  <c:v>16298</c:v>
                </c:pt>
                <c:pt idx="676">
                  <c:v>16343</c:v>
                </c:pt>
                <c:pt idx="677">
                  <c:v>16372</c:v>
                </c:pt>
                <c:pt idx="678">
                  <c:v>16490</c:v>
                </c:pt>
                <c:pt idx="679">
                  <c:v>17060</c:v>
                </c:pt>
                <c:pt idx="680">
                  <c:v>19174</c:v>
                </c:pt>
                <c:pt idx="681">
                  <c:v>21064</c:v>
                </c:pt>
                <c:pt idx="682">
                  <c:v>21138</c:v>
                </c:pt>
                <c:pt idx="683">
                  <c:v>21100</c:v>
                </c:pt>
                <c:pt idx="684">
                  <c:v>21300</c:v>
                </c:pt>
                <c:pt idx="685">
                  <c:v>21125</c:v>
                </c:pt>
                <c:pt idx="686">
                  <c:v>20708</c:v>
                </c:pt>
                <c:pt idx="687">
                  <c:v>20797</c:v>
                </c:pt>
                <c:pt idx="688">
                  <c:v>20634</c:v>
                </c:pt>
                <c:pt idx="689">
                  <c:v>20900</c:v>
                </c:pt>
                <c:pt idx="690">
                  <c:v>21393</c:v>
                </c:pt>
                <c:pt idx="691">
                  <c:v>21977</c:v>
                </c:pt>
                <c:pt idx="692">
                  <c:v>21821</c:v>
                </c:pt>
                <c:pt idx="693">
                  <c:v>21283</c:v>
                </c:pt>
                <c:pt idx="694">
                  <c:v>20273</c:v>
                </c:pt>
                <c:pt idx="695">
                  <c:v>19330</c:v>
                </c:pt>
                <c:pt idx="696">
                  <c:v>18348</c:v>
                </c:pt>
                <c:pt idx="697">
                  <c:v>17126</c:v>
                </c:pt>
                <c:pt idx="698">
                  <c:v>16364</c:v>
                </c:pt>
                <c:pt idx="699">
                  <c:v>16195</c:v>
                </c:pt>
                <c:pt idx="700">
                  <c:v>16203</c:v>
                </c:pt>
                <c:pt idx="701">
                  <c:v>16210</c:v>
                </c:pt>
                <c:pt idx="702">
                  <c:v>16267</c:v>
                </c:pt>
                <c:pt idx="703">
                  <c:v>17157</c:v>
                </c:pt>
                <c:pt idx="704">
                  <c:v>19226</c:v>
                </c:pt>
                <c:pt idx="705">
                  <c:v>21169</c:v>
                </c:pt>
                <c:pt idx="706">
                  <c:v>21344</c:v>
                </c:pt>
                <c:pt idx="707">
                  <c:v>21317</c:v>
                </c:pt>
                <c:pt idx="708">
                  <c:v>21577</c:v>
                </c:pt>
                <c:pt idx="709">
                  <c:v>21556</c:v>
                </c:pt>
                <c:pt idx="710">
                  <c:v>21342</c:v>
                </c:pt>
                <c:pt idx="711">
                  <c:v>20831</c:v>
                </c:pt>
                <c:pt idx="712">
                  <c:v>20843</c:v>
                </c:pt>
                <c:pt idx="713">
                  <c:v>20637</c:v>
                </c:pt>
                <c:pt idx="714">
                  <c:v>21177</c:v>
                </c:pt>
                <c:pt idx="715">
                  <c:v>21739</c:v>
                </c:pt>
                <c:pt idx="716">
                  <c:v>21234</c:v>
                </c:pt>
                <c:pt idx="717">
                  <c:v>20701</c:v>
                </c:pt>
                <c:pt idx="718">
                  <c:v>19829</c:v>
                </c:pt>
                <c:pt idx="719">
                  <c:v>19073</c:v>
                </c:pt>
                <c:pt idx="720">
                  <c:v>18114</c:v>
                </c:pt>
                <c:pt idx="721">
                  <c:v>17347</c:v>
                </c:pt>
                <c:pt idx="722">
                  <c:v>16734</c:v>
                </c:pt>
                <c:pt idx="723">
                  <c:v>16337</c:v>
                </c:pt>
                <c:pt idx="724">
                  <c:v>16088</c:v>
                </c:pt>
                <c:pt idx="725">
                  <c:v>16020</c:v>
                </c:pt>
                <c:pt idx="726">
                  <c:v>16236</c:v>
                </c:pt>
                <c:pt idx="727">
                  <c:v>16492</c:v>
                </c:pt>
                <c:pt idx="728">
                  <c:v>17117</c:v>
                </c:pt>
                <c:pt idx="729">
                  <c:v>17761</c:v>
                </c:pt>
                <c:pt idx="730">
                  <c:v>18371</c:v>
                </c:pt>
                <c:pt idx="731">
                  <c:v>19226</c:v>
                </c:pt>
                <c:pt idx="732">
                  <c:v>19644</c:v>
                </c:pt>
                <c:pt idx="733">
                  <c:v>19984</c:v>
                </c:pt>
                <c:pt idx="734">
                  <c:v>19888</c:v>
                </c:pt>
                <c:pt idx="735">
                  <c:v>19744</c:v>
                </c:pt>
                <c:pt idx="736">
                  <c:v>19670</c:v>
                </c:pt>
                <c:pt idx="737">
                  <c:v>19586</c:v>
                </c:pt>
                <c:pt idx="738">
                  <c:v>20282</c:v>
                </c:pt>
                <c:pt idx="739">
                  <c:v>20704</c:v>
                </c:pt>
                <c:pt idx="740">
                  <c:v>20256</c:v>
                </c:pt>
                <c:pt idx="741">
                  <c:v>19383</c:v>
                </c:pt>
                <c:pt idx="742">
                  <c:v>18707</c:v>
                </c:pt>
                <c:pt idx="743">
                  <c:v>17894</c:v>
                </c:pt>
                <c:pt idx="744">
                  <c:v>17202</c:v>
                </c:pt>
                <c:pt idx="745">
                  <c:v>16558</c:v>
                </c:pt>
                <c:pt idx="746">
                  <c:v>16355</c:v>
                </c:pt>
                <c:pt idx="747">
                  <c:v>16041</c:v>
                </c:pt>
                <c:pt idx="748">
                  <c:v>15902</c:v>
                </c:pt>
                <c:pt idx="749">
                  <c:v>15843</c:v>
                </c:pt>
                <c:pt idx="750">
                  <c:v>15832</c:v>
                </c:pt>
                <c:pt idx="751">
                  <c:v>16016</c:v>
                </c:pt>
                <c:pt idx="752">
                  <c:v>16429</c:v>
                </c:pt>
                <c:pt idx="753">
                  <c:v>16909</c:v>
                </c:pt>
                <c:pt idx="754">
                  <c:v>17332</c:v>
                </c:pt>
                <c:pt idx="755">
                  <c:v>18046</c:v>
                </c:pt>
                <c:pt idx="756">
                  <c:v>18490</c:v>
                </c:pt>
                <c:pt idx="757">
                  <c:v>18801</c:v>
                </c:pt>
                <c:pt idx="758">
                  <c:v>19016</c:v>
                </c:pt>
                <c:pt idx="759">
                  <c:v>18963</c:v>
                </c:pt>
                <c:pt idx="760">
                  <c:v>19042</c:v>
                </c:pt>
                <c:pt idx="761">
                  <c:v>19151</c:v>
                </c:pt>
                <c:pt idx="762">
                  <c:v>20001</c:v>
                </c:pt>
                <c:pt idx="763">
                  <c:v>20734</c:v>
                </c:pt>
                <c:pt idx="764">
                  <c:v>20725</c:v>
                </c:pt>
                <c:pt idx="765">
                  <c:v>20402</c:v>
                </c:pt>
                <c:pt idx="766">
                  <c:v>19924</c:v>
                </c:pt>
                <c:pt idx="767">
                  <c:v>19229</c:v>
                </c:pt>
                <c:pt idx="768">
                  <c:v>18324</c:v>
                </c:pt>
                <c:pt idx="769">
                  <c:v>17624</c:v>
                </c:pt>
                <c:pt idx="770">
                  <c:v>17084</c:v>
                </c:pt>
                <c:pt idx="771">
                  <c:v>16784</c:v>
                </c:pt>
                <c:pt idx="772">
                  <c:v>16780</c:v>
                </c:pt>
                <c:pt idx="773">
                  <c:v>16837</c:v>
                </c:pt>
                <c:pt idx="774">
                  <c:v>16979</c:v>
                </c:pt>
                <c:pt idx="775">
                  <c:v>18206</c:v>
                </c:pt>
                <c:pt idx="776">
                  <c:v>20466</c:v>
                </c:pt>
                <c:pt idx="777">
                  <c:v>22267</c:v>
                </c:pt>
                <c:pt idx="778">
                  <c:v>22536</c:v>
                </c:pt>
                <c:pt idx="779">
                  <c:v>22569</c:v>
                </c:pt>
                <c:pt idx="780">
                  <c:v>22559</c:v>
                </c:pt>
                <c:pt idx="781">
                  <c:v>22629</c:v>
                </c:pt>
                <c:pt idx="782">
                  <c:v>22615</c:v>
                </c:pt>
                <c:pt idx="783">
                  <c:v>22406</c:v>
                </c:pt>
                <c:pt idx="784">
                  <c:v>22345</c:v>
                </c:pt>
                <c:pt idx="785">
                  <c:v>22408</c:v>
                </c:pt>
                <c:pt idx="786">
                  <c:v>22684</c:v>
                </c:pt>
                <c:pt idx="787">
                  <c:v>23392</c:v>
                </c:pt>
                <c:pt idx="788">
                  <c:v>22977</c:v>
                </c:pt>
                <c:pt idx="789">
                  <c:v>22474</c:v>
                </c:pt>
                <c:pt idx="790">
                  <c:v>21620</c:v>
                </c:pt>
                <c:pt idx="791">
                  <c:v>20666</c:v>
                </c:pt>
                <c:pt idx="792">
                  <c:v>19580</c:v>
                </c:pt>
                <c:pt idx="793">
                  <c:v>18512</c:v>
                </c:pt>
                <c:pt idx="794">
                  <c:v>17889</c:v>
                </c:pt>
                <c:pt idx="795">
                  <c:v>17448</c:v>
                </c:pt>
                <c:pt idx="796">
                  <c:v>17371</c:v>
                </c:pt>
                <c:pt idx="797">
                  <c:v>17375</c:v>
                </c:pt>
                <c:pt idx="798">
                  <c:v>17471</c:v>
                </c:pt>
                <c:pt idx="799">
                  <c:v>18472</c:v>
                </c:pt>
                <c:pt idx="800">
                  <c:v>20767</c:v>
                </c:pt>
                <c:pt idx="801">
                  <c:v>22607</c:v>
                </c:pt>
                <c:pt idx="802">
                  <c:v>22650</c:v>
                </c:pt>
                <c:pt idx="803">
                  <c:v>22591</c:v>
                </c:pt>
                <c:pt idx="804">
                  <c:v>22837</c:v>
                </c:pt>
                <c:pt idx="805">
                  <c:v>22937</c:v>
                </c:pt>
                <c:pt idx="806">
                  <c:v>22610</c:v>
                </c:pt>
                <c:pt idx="807">
                  <c:v>22550</c:v>
                </c:pt>
                <c:pt idx="808">
                  <c:v>22481</c:v>
                </c:pt>
                <c:pt idx="809">
                  <c:v>22788</c:v>
                </c:pt>
                <c:pt idx="810">
                  <c:v>22926</c:v>
                </c:pt>
                <c:pt idx="811">
                  <c:v>23741</c:v>
                </c:pt>
                <c:pt idx="812">
                  <c:v>23368</c:v>
                </c:pt>
                <c:pt idx="813">
                  <c:v>22798</c:v>
                </c:pt>
                <c:pt idx="814">
                  <c:v>21820</c:v>
                </c:pt>
                <c:pt idx="815">
                  <c:v>21087</c:v>
                </c:pt>
                <c:pt idx="816">
                  <c:v>19761</c:v>
                </c:pt>
                <c:pt idx="817">
                  <c:v>18810</c:v>
                </c:pt>
                <c:pt idx="818">
                  <c:v>18081</c:v>
                </c:pt>
                <c:pt idx="819">
                  <c:v>17843</c:v>
                </c:pt>
                <c:pt idx="820">
                  <c:v>17771</c:v>
                </c:pt>
                <c:pt idx="821">
                  <c:v>17923</c:v>
                </c:pt>
                <c:pt idx="822">
                  <c:v>18107</c:v>
                </c:pt>
                <c:pt idx="823">
                  <c:v>18835</c:v>
                </c:pt>
                <c:pt idx="824">
                  <c:v>21007</c:v>
                </c:pt>
                <c:pt idx="825">
                  <c:v>22886</c:v>
                </c:pt>
                <c:pt idx="826">
                  <c:v>22868</c:v>
                </c:pt>
                <c:pt idx="827">
                  <c:v>22770</c:v>
                </c:pt>
                <c:pt idx="828">
                  <c:v>23008</c:v>
                </c:pt>
                <c:pt idx="829">
                  <c:v>22778</c:v>
                </c:pt>
                <c:pt idx="830">
                  <c:v>22463</c:v>
                </c:pt>
                <c:pt idx="831">
                  <c:v>22377</c:v>
                </c:pt>
                <c:pt idx="832">
                  <c:v>22339</c:v>
                </c:pt>
                <c:pt idx="833">
                  <c:v>22513</c:v>
                </c:pt>
                <c:pt idx="834">
                  <c:v>22965</c:v>
                </c:pt>
                <c:pt idx="835">
                  <c:v>23389</c:v>
                </c:pt>
                <c:pt idx="836">
                  <c:v>22949</c:v>
                </c:pt>
                <c:pt idx="837">
                  <c:v>22646</c:v>
                </c:pt>
                <c:pt idx="838">
                  <c:v>21969</c:v>
                </c:pt>
                <c:pt idx="839">
                  <c:v>20936</c:v>
                </c:pt>
                <c:pt idx="840">
                  <c:v>19824</c:v>
                </c:pt>
                <c:pt idx="841">
                  <c:v>18538</c:v>
                </c:pt>
                <c:pt idx="842">
                  <c:v>17788</c:v>
                </c:pt>
                <c:pt idx="843">
                  <c:v>17540</c:v>
                </c:pt>
                <c:pt idx="844">
                  <c:v>17398</c:v>
                </c:pt>
                <c:pt idx="845">
                  <c:v>17405</c:v>
                </c:pt>
                <c:pt idx="846">
                  <c:v>17616</c:v>
                </c:pt>
                <c:pt idx="847">
                  <c:v>18661</c:v>
                </c:pt>
                <c:pt idx="848">
                  <c:v>20744</c:v>
                </c:pt>
                <c:pt idx="849">
                  <c:v>22546</c:v>
                </c:pt>
                <c:pt idx="850">
                  <c:v>22678</c:v>
                </c:pt>
                <c:pt idx="851">
                  <c:v>22530</c:v>
                </c:pt>
                <c:pt idx="852">
                  <c:v>22548</c:v>
                </c:pt>
                <c:pt idx="853">
                  <c:v>22338</c:v>
                </c:pt>
                <c:pt idx="854">
                  <c:v>22020</c:v>
                </c:pt>
                <c:pt idx="855">
                  <c:v>21863</c:v>
                </c:pt>
                <c:pt idx="856">
                  <c:v>21806</c:v>
                </c:pt>
                <c:pt idx="857">
                  <c:v>22044</c:v>
                </c:pt>
                <c:pt idx="858">
                  <c:v>22338</c:v>
                </c:pt>
                <c:pt idx="859">
                  <c:v>23083</c:v>
                </c:pt>
                <c:pt idx="860">
                  <c:v>22803</c:v>
                </c:pt>
                <c:pt idx="861">
                  <c:v>22362</c:v>
                </c:pt>
                <c:pt idx="862">
                  <c:v>21751</c:v>
                </c:pt>
                <c:pt idx="863">
                  <c:v>20945</c:v>
                </c:pt>
                <c:pt idx="864">
                  <c:v>20016</c:v>
                </c:pt>
                <c:pt idx="865">
                  <c:v>18831</c:v>
                </c:pt>
                <c:pt idx="866">
                  <c:v>18218</c:v>
                </c:pt>
                <c:pt idx="867">
                  <c:v>17922</c:v>
                </c:pt>
                <c:pt idx="868">
                  <c:v>17771</c:v>
                </c:pt>
                <c:pt idx="869">
                  <c:v>17664</c:v>
                </c:pt>
                <c:pt idx="870">
                  <c:v>17765</c:v>
                </c:pt>
                <c:pt idx="871">
                  <c:v>18596</c:v>
                </c:pt>
                <c:pt idx="872">
                  <c:v>20632</c:v>
                </c:pt>
                <c:pt idx="873">
                  <c:v>22127</c:v>
                </c:pt>
                <c:pt idx="874">
                  <c:v>22232</c:v>
                </c:pt>
                <c:pt idx="875">
                  <c:v>22116</c:v>
                </c:pt>
                <c:pt idx="876">
                  <c:v>21668</c:v>
                </c:pt>
                <c:pt idx="877">
                  <c:v>21326</c:v>
                </c:pt>
                <c:pt idx="878">
                  <c:v>20977</c:v>
                </c:pt>
                <c:pt idx="879">
                  <c:v>20484</c:v>
                </c:pt>
                <c:pt idx="880">
                  <c:v>20218</c:v>
                </c:pt>
                <c:pt idx="881">
                  <c:v>19930</c:v>
                </c:pt>
                <c:pt idx="882">
                  <c:v>20192</c:v>
                </c:pt>
                <c:pt idx="883">
                  <c:v>20869</c:v>
                </c:pt>
                <c:pt idx="884">
                  <c:v>20893</c:v>
                </c:pt>
                <c:pt idx="885">
                  <c:v>20041</c:v>
                </c:pt>
                <c:pt idx="886">
                  <c:v>19171</c:v>
                </c:pt>
                <c:pt idx="887">
                  <c:v>18600</c:v>
                </c:pt>
                <c:pt idx="888">
                  <c:v>17549</c:v>
                </c:pt>
                <c:pt idx="889">
                  <c:v>16674</c:v>
                </c:pt>
                <c:pt idx="890">
                  <c:v>16290</c:v>
                </c:pt>
                <c:pt idx="891">
                  <c:v>15901</c:v>
                </c:pt>
                <c:pt idx="892">
                  <c:v>15740</c:v>
                </c:pt>
                <c:pt idx="893">
                  <c:v>15689</c:v>
                </c:pt>
                <c:pt idx="894">
                  <c:v>15612</c:v>
                </c:pt>
                <c:pt idx="895">
                  <c:v>16031</c:v>
                </c:pt>
                <c:pt idx="896">
                  <c:v>16505</c:v>
                </c:pt>
                <c:pt idx="897">
                  <c:v>17063</c:v>
                </c:pt>
                <c:pt idx="898">
                  <c:v>17593</c:v>
                </c:pt>
                <c:pt idx="899">
                  <c:v>18172</c:v>
                </c:pt>
                <c:pt idx="900">
                  <c:v>18278</c:v>
                </c:pt>
                <c:pt idx="901">
                  <c:v>18054</c:v>
                </c:pt>
                <c:pt idx="902">
                  <c:v>17940</c:v>
                </c:pt>
                <c:pt idx="903">
                  <c:v>17734</c:v>
                </c:pt>
                <c:pt idx="904">
                  <c:v>17719</c:v>
                </c:pt>
                <c:pt idx="905">
                  <c:v>17954</c:v>
                </c:pt>
                <c:pt idx="906">
                  <c:v>18690</c:v>
                </c:pt>
                <c:pt idx="907">
                  <c:v>19730</c:v>
                </c:pt>
                <c:pt idx="908">
                  <c:v>19875</c:v>
                </c:pt>
                <c:pt idx="909">
                  <c:v>19227</c:v>
                </c:pt>
                <c:pt idx="910">
                  <c:v>18564</c:v>
                </c:pt>
                <c:pt idx="911">
                  <c:v>18147</c:v>
                </c:pt>
                <c:pt idx="912">
                  <c:v>17830</c:v>
                </c:pt>
                <c:pt idx="913">
                  <c:v>17296</c:v>
                </c:pt>
                <c:pt idx="914">
                  <c:v>16893</c:v>
                </c:pt>
                <c:pt idx="915">
                  <c:v>16724</c:v>
                </c:pt>
                <c:pt idx="916">
                  <c:v>16691</c:v>
                </c:pt>
                <c:pt idx="917">
                  <c:v>16555</c:v>
                </c:pt>
                <c:pt idx="918">
                  <c:v>16658</c:v>
                </c:pt>
                <c:pt idx="919">
                  <c:v>17024</c:v>
                </c:pt>
                <c:pt idx="920">
                  <c:v>17506</c:v>
                </c:pt>
                <c:pt idx="921">
                  <c:v>17856</c:v>
                </c:pt>
                <c:pt idx="922">
                  <c:v>18373</c:v>
                </c:pt>
                <c:pt idx="923">
                  <c:v>18836</c:v>
                </c:pt>
                <c:pt idx="924">
                  <c:v>18960</c:v>
                </c:pt>
                <c:pt idx="925">
                  <c:v>19146</c:v>
                </c:pt>
                <c:pt idx="926">
                  <c:v>18843</c:v>
                </c:pt>
                <c:pt idx="927">
                  <c:v>18503</c:v>
                </c:pt>
                <c:pt idx="928">
                  <c:v>18164</c:v>
                </c:pt>
                <c:pt idx="929">
                  <c:v>17849</c:v>
                </c:pt>
                <c:pt idx="930">
                  <c:v>18414</c:v>
                </c:pt>
                <c:pt idx="931">
                  <c:v>19803</c:v>
                </c:pt>
                <c:pt idx="932">
                  <c:v>19391</c:v>
                </c:pt>
                <c:pt idx="933">
                  <c:v>18767</c:v>
                </c:pt>
                <c:pt idx="934">
                  <c:v>18073</c:v>
                </c:pt>
                <c:pt idx="935">
                  <c:v>17621</c:v>
                </c:pt>
                <c:pt idx="936">
                  <c:v>16640</c:v>
                </c:pt>
                <c:pt idx="937">
                  <c:v>16083</c:v>
                </c:pt>
                <c:pt idx="938">
                  <c:v>15830</c:v>
                </c:pt>
                <c:pt idx="939">
                  <c:v>15644</c:v>
                </c:pt>
                <c:pt idx="940">
                  <c:v>15485</c:v>
                </c:pt>
                <c:pt idx="941">
                  <c:v>15591</c:v>
                </c:pt>
                <c:pt idx="942">
                  <c:v>15903</c:v>
                </c:pt>
                <c:pt idx="943">
                  <c:v>16895</c:v>
                </c:pt>
                <c:pt idx="944">
                  <c:v>19018</c:v>
                </c:pt>
                <c:pt idx="945">
                  <c:v>20352</c:v>
                </c:pt>
                <c:pt idx="946">
                  <c:v>20659</c:v>
                </c:pt>
                <c:pt idx="947">
                  <c:v>20218</c:v>
                </c:pt>
                <c:pt idx="948">
                  <c:v>20424</c:v>
                </c:pt>
                <c:pt idx="949">
                  <c:v>20197</c:v>
                </c:pt>
                <c:pt idx="950">
                  <c:v>19634</c:v>
                </c:pt>
                <c:pt idx="951">
                  <c:v>19287</c:v>
                </c:pt>
                <c:pt idx="952">
                  <c:v>19328</c:v>
                </c:pt>
                <c:pt idx="953">
                  <c:v>19368</c:v>
                </c:pt>
                <c:pt idx="954">
                  <c:v>19493</c:v>
                </c:pt>
                <c:pt idx="955">
                  <c:v>20333</c:v>
                </c:pt>
                <c:pt idx="956">
                  <c:v>20521</c:v>
                </c:pt>
                <c:pt idx="957">
                  <c:v>19743</c:v>
                </c:pt>
                <c:pt idx="958">
                  <c:v>19079</c:v>
                </c:pt>
                <c:pt idx="959">
                  <c:v>18132</c:v>
                </c:pt>
                <c:pt idx="960">
                  <c:v>17175</c:v>
                </c:pt>
                <c:pt idx="961">
                  <c:v>16086</c:v>
                </c:pt>
                <c:pt idx="962">
                  <c:v>15604</c:v>
                </c:pt>
                <c:pt idx="963">
                  <c:v>15276</c:v>
                </c:pt>
                <c:pt idx="964">
                  <c:v>15228</c:v>
                </c:pt>
                <c:pt idx="965">
                  <c:v>15617</c:v>
                </c:pt>
                <c:pt idx="966">
                  <c:v>15661</c:v>
                </c:pt>
                <c:pt idx="967">
                  <c:v>16572</c:v>
                </c:pt>
                <c:pt idx="968">
                  <c:v>18721</c:v>
                </c:pt>
                <c:pt idx="969">
                  <c:v>20315</c:v>
                </c:pt>
                <c:pt idx="970">
                  <c:v>20441</c:v>
                </c:pt>
                <c:pt idx="971">
                  <c:v>20030</c:v>
                </c:pt>
                <c:pt idx="972">
                  <c:v>19955</c:v>
                </c:pt>
                <c:pt idx="973">
                  <c:v>19551</c:v>
                </c:pt>
                <c:pt idx="974">
                  <c:v>19393</c:v>
                </c:pt>
                <c:pt idx="975">
                  <c:v>19099</c:v>
                </c:pt>
                <c:pt idx="976">
                  <c:v>19128</c:v>
                </c:pt>
                <c:pt idx="977">
                  <c:v>18958</c:v>
                </c:pt>
                <c:pt idx="978">
                  <c:v>19238</c:v>
                </c:pt>
                <c:pt idx="979">
                  <c:v>20015</c:v>
                </c:pt>
                <c:pt idx="980">
                  <c:v>20105</c:v>
                </c:pt>
                <c:pt idx="981">
                  <c:v>19419</c:v>
                </c:pt>
                <c:pt idx="982">
                  <c:v>18759</c:v>
                </c:pt>
                <c:pt idx="983">
                  <c:v>17717</c:v>
                </c:pt>
                <c:pt idx="984">
                  <c:v>16931</c:v>
                </c:pt>
                <c:pt idx="985">
                  <c:v>16160</c:v>
                </c:pt>
                <c:pt idx="986">
                  <c:v>15608</c:v>
                </c:pt>
                <c:pt idx="987">
                  <c:v>15567</c:v>
                </c:pt>
                <c:pt idx="988">
                  <c:v>15450</c:v>
                </c:pt>
                <c:pt idx="989">
                  <c:v>15557</c:v>
                </c:pt>
                <c:pt idx="990">
                  <c:v>15747</c:v>
                </c:pt>
                <c:pt idx="991">
                  <c:v>16885</c:v>
                </c:pt>
                <c:pt idx="992">
                  <c:v>19112</c:v>
                </c:pt>
                <c:pt idx="993">
                  <c:v>20833</c:v>
                </c:pt>
                <c:pt idx="994">
                  <c:v>20696</c:v>
                </c:pt>
                <c:pt idx="995">
                  <c:v>20531</c:v>
                </c:pt>
                <c:pt idx="996">
                  <c:v>20166</c:v>
                </c:pt>
                <c:pt idx="997">
                  <c:v>19700</c:v>
                </c:pt>
                <c:pt idx="998">
                  <c:v>19516</c:v>
                </c:pt>
                <c:pt idx="999">
                  <c:v>19446</c:v>
                </c:pt>
                <c:pt idx="1000">
                  <c:v>19446</c:v>
                </c:pt>
                <c:pt idx="1001">
                  <c:v>19524</c:v>
                </c:pt>
                <c:pt idx="1002">
                  <c:v>19881</c:v>
                </c:pt>
                <c:pt idx="1003">
                  <c:v>20684</c:v>
                </c:pt>
                <c:pt idx="1004">
                  <c:v>20422</c:v>
                </c:pt>
                <c:pt idx="1005">
                  <c:v>19876</c:v>
                </c:pt>
                <c:pt idx="1006">
                  <c:v>19469</c:v>
                </c:pt>
                <c:pt idx="1007">
                  <c:v>18396</c:v>
                </c:pt>
                <c:pt idx="1008">
                  <c:v>17111</c:v>
                </c:pt>
                <c:pt idx="1009">
                  <c:v>16393</c:v>
                </c:pt>
                <c:pt idx="1010">
                  <c:v>15723</c:v>
                </c:pt>
                <c:pt idx="1011">
                  <c:v>15512</c:v>
                </c:pt>
                <c:pt idx="1012">
                  <c:v>15326</c:v>
                </c:pt>
                <c:pt idx="1013">
                  <c:v>15268</c:v>
                </c:pt>
                <c:pt idx="1014">
                  <c:v>15431</c:v>
                </c:pt>
                <c:pt idx="1015">
                  <c:v>16284</c:v>
                </c:pt>
                <c:pt idx="1016">
                  <c:v>18097</c:v>
                </c:pt>
                <c:pt idx="1017">
                  <c:v>20073</c:v>
                </c:pt>
                <c:pt idx="1018">
                  <c:v>20235</c:v>
                </c:pt>
                <c:pt idx="1019">
                  <c:v>20532</c:v>
                </c:pt>
                <c:pt idx="1020">
                  <c:v>20573</c:v>
                </c:pt>
                <c:pt idx="1021">
                  <c:v>20283</c:v>
                </c:pt>
                <c:pt idx="1022">
                  <c:v>20066</c:v>
                </c:pt>
                <c:pt idx="1023">
                  <c:v>19984</c:v>
                </c:pt>
                <c:pt idx="1024">
                  <c:v>20077</c:v>
                </c:pt>
                <c:pt idx="1025">
                  <c:v>19967</c:v>
                </c:pt>
                <c:pt idx="1026">
                  <c:v>20014</c:v>
                </c:pt>
                <c:pt idx="1027">
                  <c:v>20975</c:v>
                </c:pt>
                <c:pt idx="1028">
                  <c:v>20951</c:v>
                </c:pt>
                <c:pt idx="1029">
                  <c:v>20520</c:v>
                </c:pt>
                <c:pt idx="1030">
                  <c:v>19785</c:v>
                </c:pt>
                <c:pt idx="1031">
                  <c:v>18741</c:v>
                </c:pt>
                <c:pt idx="1032">
                  <c:v>17779</c:v>
                </c:pt>
                <c:pt idx="1033">
                  <c:v>16653</c:v>
                </c:pt>
                <c:pt idx="1034">
                  <c:v>16285</c:v>
                </c:pt>
                <c:pt idx="1035">
                  <c:v>15833</c:v>
                </c:pt>
                <c:pt idx="1036">
                  <c:v>15653</c:v>
                </c:pt>
                <c:pt idx="1037">
                  <c:v>15619</c:v>
                </c:pt>
                <c:pt idx="1038">
                  <c:v>15844</c:v>
                </c:pt>
                <c:pt idx="1039">
                  <c:v>16802</c:v>
                </c:pt>
                <c:pt idx="1040">
                  <c:v>18984</c:v>
                </c:pt>
                <c:pt idx="1041">
                  <c:v>20292</c:v>
                </c:pt>
                <c:pt idx="1042">
                  <c:v>20487</c:v>
                </c:pt>
                <c:pt idx="1043">
                  <c:v>20898</c:v>
                </c:pt>
                <c:pt idx="1044">
                  <c:v>20997</c:v>
                </c:pt>
                <c:pt idx="1045">
                  <c:v>20929</c:v>
                </c:pt>
                <c:pt idx="1046">
                  <c:v>20637</c:v>
                </c:pt>
                <c:pt idx="1047">
                  <c:v>20314</c:v>
                </c:pt>
                <c:pt idx="1048">
                  <c:v>20074</c:v>
                </c:pt>
                <c:pt idx="1049">
                  <c:v>20117</c:v>
                </c:pt>
                <c:pt idx="1050">
                  <c:v>20201</c:v>
                </c:pt>
                <c:pt idx="1051">
                  <c:v>20798</c:v>
                </c:pt>
                <c:pt idx="1052">
                  <c:v>20480</c:v>
                </c:pt>
                <c:pt idx="1053">
                  <c:v>19781</c:v>
                </c:pt>
                <c:pt idx="1054">
                  <c:v>18988</c:v>
                </c:pt>
                <c:pt idx="1055">
                  <c:v>18375</c:v>
                </c:pt>
                <c:pt idx="1056">
                  <c:v>17619</c:v>
                </c:pt>
                <c:pt idx="1057">
                  <c:v>16764</c:v>
                </c:pt>
                <c:pt idx="1058">
                  <c:v>16096</c:v>
                </c:pt>
                <c:pt idx="1059">
                  <c:v>15880</c:v>
                </c:pt>
                <c:pt idx="1060">
                  <c:v>15657</c:v>
                </c:pt>
                <c:pt idx="1061">
                  <c:v>15578</c:v>
                </c:pt>
                <c:pt idx="1062">
                  <c:v>15693</c:v>
                </c:pt>
                <c:pt idx="1063">
                  <c:v>15875</c:v>
                </c:pt>
                <c:pt idx="1064">
                  <c:v>16486</c:v>
                </c:pt>
                <c:pt idx="1065">
                  <c:v>17045</c:v>
                </c:pt>
                <c:pt idx="1066">
                  <c:v>17917</c:v>
                </c:pt>
                <c:pt idx="1067">
                  <c:v>18417</c:v>
                </c:pt>
                <c:pt idx="1068">
                  <c:v>18672</c:v>
                </c:pt>
                <c:pt idx="1069">
                  <c:v>18661</c:v>
                </c:pt>
                <c:pt idx="1070">
                  <c:v>18510</c:v>
                </c:pt>
                <c:pt idx="1071">
                  <c:v>18192</c:v>
                </c:pt>
                <c:pt idx="1072">
                  <c:v>17879</c:v>
                </c:pt>
                <c:pt idx="1073">
                  <c:v>17920</c:v>
                </c:pt>
                <c:pt idx="1074">
                  <c:v>18441</c:v>
                </c:pt>
                <c:pt idx="1075">
                  <c:v>19688</c:v>
                </c:pt>
                <c:pt idx="1076">
                  <c:v>19586</c:v>
                </c:pt>
                <c:pt idx="1077">
                  <c:v>19021</c:v>
                </c:pt>
                <c:pt idx="1078">
                  <c:v>18465</c:v>
                </c:pt>
                <c:pt idx="1079">
                  <c:v>17649</c:v>
                </c:pt>
                <c:pt idx="1080">
                  <c:v>16981</c:v>
                </c:pt>
                <c:pt idx="1081">
                  <c:v>16331</c:v>
                </c:pt>
                <c:pt idx="1082">
                  <c:v>15732</c:v>
                </c:pt>
                <c:pt idx="1083">
                  <c:v>15441</c:v>
                </c:pt>
                <c:pt idx="1084">
                  <c:v>15402</c:v>
                </c:pt>
                <c:pt idx="1085">
                  <c:v>15349</c:v>
                </c:pt>
                <c:pt idx="1086">
                  <c:v>15328</c:v>
                </c:pt>
                <c:pt idx="1087">
                  <c:v>15474</c:v>
                </c:pt>
                <c:pt idx="1088">
                  <c:v>16065</c:v>
                </c:pt>
                <c:pt idx="1089">
                  <c:v>16383</c:v>
                </c:pt>
                <c:pt idx="1090">
                  <c:v>16887</c:v>
                </c:pt>
                <c:pt idx="1091">
                  <c:v>17621</c:v>
                </c:pt>
                <c:pt idx="1092">
                  <c:v>18057</c:v>
                </c:pt>
                <c:pt idx="1093">
                  <c:v>18049</c:v>
                </c:pt>
                <c:pt idx="1094">
                  <c:v>18087</c:v>
                </c:pt>
                <c:pt idx="1095">
                  <c:v>17970</c:v>
                </c:pt>
                <c:pt idx="1096">
                  <c:v>17841</c:v>
                </c:pt>
                <c:pt idx="1097">
                  <c:v>17976</c:v>
                </c:pt>
                <c:pt idx="1098">
                  <c:v>18695</c:v>
                </c:pt>
                <c:pt idx="1099">
                  <c:v>19883</c:v>
                </c:pt>
                <c:pt idx="1100">
                  <c:v>19787</c:v>
                </c:pt>
                <c:pt idx="1101">
                  <c:v>19652</c:v>
                </c:pt>
                <c:pt idx="1102">
                  <c:v>19013</c:v>
                </c:pt>
                <c:pt idx="1103">
                  <c:v>18396</c:v>
                </c:pt>
                <c:pt idx="1104">
                  <c:v>17576</c:v>
                </c:pt>
                <c:pt idx="1105">
                  <c:v>16816</c:v>
                </c:pt>
                <c:pt idx="1106">
                  <c:v>16597</c:v>
                </c:pt>
                <c:pt idx="1107">
                  <c:v>16361</c:v>
                </c:pt>
                <c:pt idx="1108">
                  <c:v>16508</c:v>
                </c:pt>
                <c:pt idx="1109">
                  <c:v>16629</c:v>
                </c:pt>
                <c:pt idx="1110">
                  <c:v>16851</c:v>
                </c:pt>
                <c:pt idx="1111">
                  <c:v>17695</c:v>
                </c:pt>
                <c:pt idx="1112">
                  <c:v>19871</c:v>
                </c:pt>
                <c:pt idx="1113">
                  <c:v>21434</c:v>
                </c:pt>
                <c:pt idx="1114">
                  <c:v>21598</c:v>
                </c:pt>
                <c:pt idx="1115">
                  <c:v>21817</c:v>
                </c:pt>
                <c:pt idx="1116">
                  <c:v>21872</c:v>
                </c:pt>
                <c:pt idx="1117">
                  <c:v>21849</c:v>
                </c:pt>
                <c:pt idx="1118">
                  <c:v>21580</c:v>
                </c:pt>
                <c:pt idx="1119">
                  <c:v>21529</c:v>
                </c:pt>
                <c:pt idx="1120">
                  <c:v>21433</c:v>
                </c:pt>
                <c:pt idx="1121">
                  <c:v>21415</c:v>
                </c:pt>
                <c:pt idx="1122">
                  <c:v>21529</c:v>
                </c:pt>
                <c:pt idx="1123">
                  <c:v>22313</c:v>
                </c:pt>
                <c:pt idx="1124">
                  <c:v>22054</c:v>
                </c:pt>
                <c:pt idx="1125">
                  <c:v>21474</c:v>
                </c:pt>
                <c:pt idx="1126">
                  <c:v>20617</c:v>
                </c:pt>
                <c:pt idx="1127">
                  <c:v>19777</c:v>
                </c:pt>
                <c:pt idx="1128">
                  <c:v>19027</c:v>
                </c:pt>
                <c:pt idx="1129">
                  <c:v>17633</c:v>
                </c:pt>
                <c:pt idx="1130">
                  <c:v>17263</c:v>
                </c:pt>
                <c:pt idx="1131">
                  <c:v>16915</c:v>
                </c:pt>
                <c:pt idx="1132">
                  <c:v>16920</c:v>
                </c:pt>
                <c:pt idx="1133">
                  <c:v>16929</c:v>
                </c:pt>
                <c:pt idx="1134">
                  <c:v>17003</c:v>
                </c:pt>
                <c:pt idx="1135">
                  <c:v>17805</c:v>
                </c:pt>
                <c:pt idx="1136">
                  <c:v>19749</c:v>
                </c:pt>
                <c:pt idx="1137">
                  <c:v>21514</c:v>
                </c:pt>
                <c:pt idx="1138">
                  <c:v>21610</c:v>
                </c:pt>
                <c:pt idx="1139">
                  <c:v>21682</c:v>
                </c:pt>
                <c:pt idx="1140">
                  <c:v>21922</c:v>
                </c:pt>
                <c:pt idx="1141">
                  <c:v>21782</c:v>
                </c:pt>
                <c:pt idx="1142">
                  <c:v>21602</c:v>
                </c:pt>
                <c:pt idx="1143">
                  <c:v>21496</c:v>
                </c:pt>
                <c:pt idx="1144">
                  <c:v>21252</c:v>
                </c:pt>
                <c:pt idx="1145">
                  <c:v>21285</c:v>
                </c:pt>
                <c:pt idx="1146">
                  <c:v>21347</c:v>
                </c:pt>
                <c:pt idx="1147">
                  <c:v>21872</c:v>
                </c:pt>
                <c:pt idx="1148">
                  <c:v>21705</c:v>
                </c:pt>
                <c:pt idx="1149">
                  <c:v>21206</c:v>
                </c:pt>
                <c:pt idx="1150">
                  <c:v>20559</c:v>
                </c:pt>
                <c:pt idx="1151">
                  <c:v>19705</c:v>
                </c:pt>
                <c:pt idx="1152">
                  <c:v>18460</c:v>
                </c:pt>
                <c:pt idx="1153">
                  <c:v>17184</c:v>
                </c:pt>
                <c:pt idx="1154">
                  <c:v>16366</c:v>
                </c:pt>
                <c:pt idx="1155">
                  <c:v>15903</c:v>
                </c:pt>
                <c:pt idx="1156">
                  <c:v>15726</c:v>
                </c:pt>
                <c:pt idx="1157">
                  <c:v>15763</c:v>
                </c:pt>
                <c:pt idx="1158">
                  <c:v>16004</c:v>
                </c:pt>
                <c:pt idx="1159">
                  <c:v>16782</c:v>
                </c:pt>
                <c:pt idx="1160">
                  <c:v>19061</c:v>
                </c:pt>
                <c:pt idx="1161">
                  <c:v>20397</c:v>
                </c:pt>
                <c:pt idx="1162">
                  <c:v>20273</c:v>
                </c:pt>
                <c:pt idx="1163">
                  <c:v>20336</c:v>
                </c:pt>
                <c:pt idx="1164">
                  <c:v>20255</c:v>
                </c:pt>
                <c:pt idx="1165">
                  <c:v>20248</c:v>
                </c:pt>
                <c:pt idx="1166">
                  <c:v>19996</c:v>
                </c:pt>
                <c:pt idx="1167">
                  <c:v>20119</c:v>
                </c:pt>
                <c:pt idx="1168">
                  <c:v>20129</c:v>
                </c:pt>
                <c:pt idx="1169">
                  <c:v>19916</c:v>
                </c:pt>
                <c:pt idx="1170">
                  <c:v>19925</c:v>
                </c:pt>
                <c:pt idx="1171">
                  <c:v>20890</c:v>
                </c:pt>
                <c:pt idx="1172">
                  <c:v>21064</c:v>
                </c:pt>
                <c:pt idx="1173">
                  <c:v>20199</c:v>
                </c:pt>
                <c:pt idx="1174">
                  <c:v>19377</c:v>
                </c:pt>
                <c:pt idx="1175">
                  <c:v>18565</c:v>
                </c:pt>
                <c:pt idx="1176">
                  <c:v>17406</c:v>
                </c:pt>
                <c:pt idx="1177">
                  <c:v>16429</c:v>
                </c:pt>
                <c:pt idx="1178">
                  <c:v>15626</c:v>
                </c:pt>
                <c:pt idx="1179">
                  <c:v>15227</c:v>
                </c:pt>
                <c:pt idx="1180">
                  <c:v>15128</c:v>
                </c:pt>
                <c:pt idx="1181">
                  <c:v>15214</c:v>
                </c:pt>
                <c:pt idx="1182">
                  <c:v>15323</c:v>
                </c:pt>
                <c:pt idx="1183">
                  <c:v>16027</c:v>
                </c:pt>
                <c:pt idx="1184">
                  <c:v>17929</c:v>
                </c:pt>
                <c:pt idx="1185">
                  <c:v>19489</c:v>
                </c:pt>
                <c:pt idx="1186">
                  <c:v>19733</c:v>
                </c:pt>
                <c:pt idx="1187">
                  <c:v>19800</c:v>
                </c:pt>
                <c:pt idx="1188">
                  <c:v>19768</c:v>
                </c:pt>
                <c:pt idx="1189">
                  <c:v>20011</c:v>
                </c:pt>
                <c:pt idx="1190">
                  <c:v>19650</c:v>
                </c:pt>
                <c:pt idx="1191">
                  <c:v>19500</c:v>
                </c:pt>
                <c:pt idx="1192">
                  <c:v>19639</c:v>
                </c:pt>
                <c:pt idx="1193">
                  <c:v>19620</c:v>
                </c:pt>
                <c:pt idx="1194">
                  <c:v>19589</c:v>
                </c:pt>
                <c:pt idx="1195">
                  <c:v>20666</c:v>
                </c:pt>
                <c:pt idx="1196">
                  <c:v>20628</c:v>
                </c:pt>
                <c:pt idx="1197">
                  <c:v>19927</c:v>
                </c:pt>
                <c:pt idx="1198">
                  <c:v>19280</c:v>
                </c:pt>
                <c:pt idx="1199">
                  <c:v>18641</c:v>
                </c:pt>
                <c:pt idx="1200">
                  <c:v>17425</c:v>
                </c:pt>
                <c:pt idx="1201">
                  <c:v>16131</c:v>
                </c:pt>
                <c:pt idx="1202">
                  <c:v>15396</c:v>
                </c:pt>
                <c:pt idx="1203">
                  <c:v>15158</c:v>
                </c:pt>
                <c:pt idx="1204">
                  <c:v>15113</c:v>
                </c:pt>
                <c:pt idx="1205">
                  <c:v>15250</c:v>
                </c:pt>
                <c:pt idx="1206">
                  <c:v>15179</c:v>
                </c:pt>
                <c:pt idx="1207">
                  <c:v>16059</c:v>
                </c:pt>
                <c:pt idx="1208">
                  <c:v>18010</c:v>
                </c:pt>
                <c:pt idx="1209">
                  <c:v>19433</c:v>
                </c:pt>
                <c:pt idx="1210">
                  <c:v>19959</c:v>
                </c:pt>
                <c:pt idx="1211">
                  <c:v>20175</c:v>
                </c:pt>
                <c:pt idx="1212">
                  <c:v>20159</c:v>
                </c:pt>
                <c:pt idx="1213">
                  <c:v>20310</c:v>
                </c:pt>
                <c:pt idx="1214">
                  <c:v>20062</c:v>
                </c:pt>
                <c:pt idx="1215">
                  <c:v>19712</c:v>
                </c:pt>
                <c:pt idx="1216">
                  <c:v>19569</c:v>
                </c:pt>
                <c:pt idx="1217">
                  <c:v>19439</c:v>
                </c:pt>
                <c:pt idx="1218">
                  <c:v>19675</c:v>
                </c:pt>
                <c:pt idx="1219">
                  <c:v>20246</c:v>
                </c:pt>
                <c:pt idx="1220">
                  <c:v>20120</c:v>
                </c:pt>
                <c:pt idx="1221">
                  <c:v>19459</c:v>
                </c:pt>
                <c:pt idx="1222">
                  <c:v>18832</c:v>
                </c:pt>
                <c:pt idx="1223">
                  <c:v>18031</c:v>
                </c:pt>
                <c:pt idx="1224">
                  <c:v>17183</c:v>
                </c:pt>
                <c:pt idx="1225">
                  <c:v>16272</c:v>
                </c:pt>
                <c:pt idx="1226">
                  <c:v>15371</c:v>
                </c:pt>
                <c:pt idx="1227">
                  <c:v>15096</c:v>
                </c:pt>
                <c:pt idx="1228">
                  <c:v>14928</c:v>
                </c:pt>
                <c:pt idx="1229">
                  <c:v>15090</c:v>
                </c:pt>
                <c:pt idx="1230">
                  <c:v>15128</c:v>
                </c:pt>
                <c:pt idx="1231">
                  <c:v>15306</c:v>
                </c:pt>
                <c:pt idx="1232">
                  <c:v>15711</c:v>
                </c:pt>
                <c:pt idx="1233">
                  <c:v>16222</c:v>
                </c:pt>
                <c:pt idx="1234">
                  <c:v>17191</c:v>
                </c:pt>
                <c:pt idx="1235">
                  <c:v>17985</c:v>
                </c:pt>
                <c:pt idx="1236">
                  <c:v>18383</c:v>
                </c:pt>
                <c:pt idx="1237">
                  <c:v>18214</c:v>
                </c:pt>
                <c:pt idx="1238">
                  <c:v>18172</c:v>
                </c:pt>
                <c:pt idx="1239">
                  <c:v>17914</c:v>
                </c:pt>
                <c:pt idx="1240">
                  <c:v>17780</c:v>
                </c:pt>
                <c:pt idx="1241">
                  <c:v>17802</c:v>
                </c:pt>
                <c:pt idx="1242">
                  <c:v>18142</c:v>
                </c:pt>
                <c:pt idx="1243">
                  <c:v>18746</c:v>
                </c:pt>
                <c:pt idx="1244">
                  <c:v>18792</c:v>
                </c:pt>
                <c:pt idx="1245">
                  <c:v>18275</c:v>
                </c:pt>
                <c:pt idx="1246">
                  <c:v>17593</c:v>
                </c:pt>
                <c:pt idx="1247">
                  <c:v>17227</c:v>
                </c:pt>
                <c:pt idx="1248">
                  <c:v>16748</c:v>
                </c:pt>
                <c:pt idx="1249">
                  <c:v>16161</c:v>
                </c:pt>
                <c:pt idx="1250">
                  <c:v>15439</c:v>
                </c:pt>
                <c:pt idx="1251">
                  <c:v>15112</c:v>
                </c:pt>
                <c:pt idx="1252">
                  <c:v>15056</c:v>
                </c:pt>
                <c:pt idx="1253">
                  <c:v>15084</c:v>
                </c:pt>
                <c:pt idx="1254">
                  <c:v>15186</c:v>
                </c:pt>
                <c:pt idx="1255">
                  <c:v>15322</c:v>
                </c:pt>
                <c:pt idx="1256">
                  <c:v>15651</c:v>
                </c:pt>
                <c:pt idx="1257">
                  <c:v>16183</c:v>
                </c:pt>
                <c:pt idx="1258">
                  <c:v>16762</c:v>
                </c:pt>
                <c:pt idx="1259">
                  <c:v>17279</c:v>
                </c:pt>
                <c:pt idx="1260">
                  <c:v>17693</c:v>
                </c:pt>
                <c:pt idx="1261">
                  <c:v>17879</c:v>
                </c:pt>
                <c:pt idx="1262">
                  <c:v>17734</c:v>
                </c:pt>
                <c:pt idx="1263">
                  <c:v>17468</c:v>
                </c:pt>
                <c:pt idx="1264">
                  <c:v>17453</c:v>
                </c:pt>
                <c:pt idx="1265">
                  <c:v>17567</c:v>
                </c:pt>
                <c:pt idx="1266">
                  <c:v>17850</c:v>
                </c:pt>
                <c:pt idx="1267">
                  <c:v>18892</c:v>
                </c:pt>
                <c:pt idx="1268">
                  <c:v>19293</c:v>
                </c:pt>
                <c:pt idx="1269">
                  <c:v>18945</c:v>
                </c:pt>
                <c:pt idx="1270">
                  <c:v>18558</c:v>
                </c:pt>
                <c:pt idx="1271">
                  <c:v>17880</c:v>
                </c:pt>
                <c:pt idx="1272">
                  <c:v>17323</c:v>
                </c:pt>
                <c:pt idx="1273">
                  <c:v>16516</c:v>
                </c:pt>
                <c:pt idx="1274">
                  <c:v>15938</c:v>
                </c:pt>
                <c:pt idx="1275">
                  <c:v>15763</c:v>
                </c:pt>
                <c:pt idx="1276">
                  <c:v>15755</c:v>
                </c:pt>
                <c:pt idx="1277">
                  <c:v>15795</c:v>
                </c:pt>
                <c:pt idx="1278">
                  <c:v>15776</c:v>
                </c:pt>
                <c:pt idx="1279">
                  <c:v>16919</c:v>
                </c:pt>
                <c:pt idx="1280">
                  <c:v>18884</c:v>
                </c:pt>
                <c:pt idx="1281">
                  <c:v>20540</c:v>
                </c:pt>
                <c:pt idx="1282">
                  <c:v>20979</c:v>
                </c:pt>
                <c:pt idx="1283">
                  <c:v>21207</c:v>
                </c:pt>
                <c:pt idx="1284">
                  <c:v>21518</c:v>
                </c:pt>
                <c:pt idx="1285">
                  <c:v>21668</c:v>
                </c:pt>
                <c:pt idx="1286">
                  <c:v>21692</c:v>
                </c:pt>
                <c:pt idx="1287">
                  <c:v>21513</c:v>
                </c:pt>
                <c:pt idx="1288">
                  <c:v>21289</c:v>
                </c:pt>
                <c:pt idx="1289">
                  <c:v>21395</c:v>
                </c:pt>
                <c:pt idx="1290">
                  <c:v>21248</c:v>
                </c:pt>
                <c:pt idx="1291">
                  <c:v>21725</c:v>
                </c:pt>
                <c:pt idx="1292">
                  <c:v>21759</c:v>
                </c:pt>
                <c:pt idx="1293">
                  <c:v>21054</c:v>
                </c:pt>
                <c:pt idx="1294">
                  <c:v>20120</c:v>
                </c:pt>
                <c:pt idx="1295">
                  <c:v>19135</c:v>
                </c:pt>
                <c:pt idx="1296">
                  <c:v>18097</c:v>
                </c:pt>
                <c:pt idx="1297">
                  <c:v>16878</c:v>
                </c:pt>
                <c:pt idx="1298">
                  <c:v>16334</c:v>
                </c:pt>
                <c:pt idx="1299">
                  <c:v>16062</c:v>
                </c:pt>
                <c:pt idx="1300">
                  <c:v>15879</c:v>
                </c:pt>
                <c:pt idx="1301">
                  <c:v>15772</c:v>
                </c:pt>
                <c:pt idx="1302">
                  <c:v>15824</c:v>
                </c:pt>
                <c:pt idx="1303">
                  <c:v>16869</c:v>
                </c:pt>
                <c:pt idx="1304">
                  <c:v>18597</c:v>
                </c:pt>
                <c:pt idx="1305">
                  <c:v>20186</c:v>
                </c:pt>
                <c:pt idx="1306">
                  <c:v>20400</c:v>
                </c:pt>
                <c:pt idx="1307">
                  <c:v>20378</c:v>
                </c:pt>
                <c:pt idx="1308">
                  <c:v>20390</c:v>
                </c:pt>
                <c:pt idx="1309">
                  <c:v>20059</c:v>
                </c:pt>
                <c:pt idx="1310">
                  <c:v>19930</c:v>
                </c:pt>
                <c:pt idx="1311">
                  <c:v>19884</c:v>
                </c:pt>
                <c:pt idx="1312">
                  <c:v>19686</c:v>
                </c:pt>
                <c:pt idx="1313">
                  <c:v>19701</c:v>
                </c:pt>
                <c:pt idx="1314">
                  <c:v>19650</c:v>
                </c:pt>
                <c:pt idx="1315">
                  <c:v>20448</c:v>
                </c:pt>
                <c:pt idx="1316">
                  <c:v>20500</c:v>
                </c:pt>
                <c:pt idx="1317">
                  <c:v>19898</c:v>
                </c:pt>
                <c:pt idx="1318">
                  <c:v>19220</c:v>
                </c:pt>
                <c:pt idx="1319">
                  <c:v>18252</c:v>
                </c:pt>
                <c:pt idx="1320">
                  <c:v>17218</c:v>
                </c:pt>
                <c:pt idx="1321">
                  <c:v>16310</c:v>
                </c:pt>
                <c:pt idx="1322">
                  <c:v>15532</c:v>
                </c:pt>
                <c:pt idx="1323">
                  <c:v>15293</c:v>
                </c:pt>
                <c:pt idx="1324">
                  <c:v>15356</c:v>
                </c:pt>
                <c:pt idx="1325">
                  <c:v>15250</c:v>
                </c:pt>
                <c:pt idx="1326">
                  <c:v>15444</c:v>
                </c:pt>
                <c:pt idx="1327">
                  <c:v>15767</c:v>
                </c:pt>
                <c:pt idx="1328">
                  <c:v>17448</c:v>
                </c:pt>
                <c:pt idx="1329">
                  <c:v>18801</c:v>
                </c:pt>
                <c:pt idx="1330">
                  <c:v>19767</c:v>
                </c:pt>
                <c:pt idx="1331">
                  <c:v>19817</c:v>
                </c:pt>
                <c:pt idx="1332">
                  <c:v>19785</c:v>
                </c:pt>
                <c:pt idx="1333">
                  <c:v>19537</c:v>
                </c:pt>
                <c:pt idx="1334">
                  <c:v>19276</c:v>
                </c:pt>
                <c:pt idx="1335">
                  <c:v>19332</c:v>
                </c:pt>
                <c:pt idx="1336">
                  <c:v>18869</c:v>
                </c:pt>
                <c:pt idx="1337">
                  <c:v>18861</c:v>
                </c:pt>
                <c:pt idx="1338">
                  <c:v>18907</c:v>
                </c:pt>
                <c:pt idx="1339">
                  <c:v>19894</c:v>
                </c:pt>
                <c:pt idx="1340">
                  <c:v>20301</c:v>
                </c:pt>
                <c:pt idx="1341">
                  <c:v>19757</c:v>
                </c:pt>
                <c:pt idx="1342">
                  <c:v>18969</c:v>
                </c:pt>
                <c:pt idx="1343">
                  <c:v>18300</c:v>
                </c:pt>
                <c:pt idx="1344">
                  <c:v>17333</c:v>
                </c:pt>
                <c:pt idx="1345">
                  <c:v>16473</c:v>
                </c:pt>
                <c:pt idx="1346">
                  <c:v>15543</c:v>
                </c:pt>
                <c:pt idx="1347">
                  <c:v>15786</c:v>
                </c:pt>
                <c:pt idx="1348">
                  <c:v>15379</c:v>
                </c:pt>
                <c:pt idx="1349">
                  <c:v>15485</c:v>
                </c:pt>
                <c:pt idx="1350">
                  <c:v>15714</c:v>
                </c:pt>
                <c:pt idx="1351">
                  <c:v>16413</c:v>
                </c:pt>
                <c:pt idx="1352">
                  <c:v>18321</c:v>
                </c:pt>
                <c:pt idx="1353">
                  <c:v>19722</c:v>
                </c:pt>
                <c:pt idx="1354">
                  <c:v>19808</c:v>
                </c:pt>
                <c:pt idx="1355">
                  <c:v>19409</c:v>
                </c:pt>
                <c:pt idx="1356">
                  <c:v>19421</c:v>
                </c:pt>
                <c:pt idx="1357">
                  <c:v>19463</c:v>
                </c:pt>
                <c:pt idx="1358">
                  <c:v>19054</c:v>
                </c:pt>
                <c:pt idx="1359">
                  <c:v>18866</c:v>
                </c:pt>
                <c:pt idx="1360">
                  <c:v>18527</c:v>
                </c:pt>
                <c:pt idx="1361">
                  <c:v>18803</c:v>
                </c:pt>
                <c:pt idx="1362">
                  <c:v>19129</c:v>
                </c:pt>
                <c:pt idx="1363">
                  <c:v>20285</c:v>
                </c:pt>
                <c:pt idx="1364">
                  <c:v>20182</c:v>
                </c:pt>
                <c:pt idx="1365">
                  <c:v>19872</c:v>
                </c:pt>
                <c:pt idx="1366">
                  <c:v>19335</c:v>
                </c:pt>
                <c:pt idx="1367">
                  <c:v>18824</c:v>
                </c:pt>
                <c:pt idx="1368">
                  <c:v>17164</c:v>
                </c:pt>
                <c:pt idx="1369">
                  <c:v>16502</c:v>
                </c:pt>
                <c:pt idx="1370">
                  <c:v>16354</c:v>
                </c:pt>
                <c:pt idx="1371">
                  <c:v>15913</c:v>
                </c:pt>
                <c:pt idx="1372">
                  <c:v>15791</c:v>
                </c:pt>
                <c:pt idx="1373">
                  <c:v>15701</c:v>
                </c:pt>
                <c:pt idx="1374">
                  <c:v>15946</c:v>
                </c:pt>
                <c:pt idx="1375">
                  <c:v>16529</c:v>
                </c:pt>
                <c:pt idx="1376">
                  <c:v>18365</c:v>
                </c:pt>
                <c:pt idx="1377">
                  <c:v>19972</c:v>
                </c:pt>
                <c:pt idx="1378">
                  <c:v>20386</c:v>
                </c:pt>
                <c:pt idx="1379">
                  <c:v>20445</c:v>
                </c:pt>
                <c:pt idx="1380">
                  <c:v>20510</c:v>
                </c:pt>
                <c:pt idx="1381">
                  <c:v>20290</c:v>
                </c:pt>
                <c:pt idx="1382">
                  <c:v>20173</c:v>
                </c:pt>
                <c:pt idx="1383">
                  <c:v>19927</c:v>
                </c:pt>
                <c:pt idx="1384">
                  <c:v>19632</c:v>
                </c:pt>
                <c:pt idx="1385">
                  <c:v>19511</c:v>
                </c:pt>
                <c:pt idx="1386">
                  <c:v>19242</c:v>
                </c:pt>
                <c:pt idx="1387">
                  <c:v>19952</c:v>
                </c:pt>
                <c:pt idx="1388">
                  <c:v>20002</c:v>
                </c:pt>
                <c:pt idx="1389">
                  <c:v>19400</c:v>
                </c:pt>
                <c:pt idx="1390">
                  <c:v>18574</c:v>
                </c:pt>
                <c:pt idx="1391">
                  <c:v>17823</c:v>
                </c:pt>
                <c:pt idx="1392">
                  <c:v>16790</c:v>
                </c:pt>
                <c:pt idx="1393">
                  <c:v>16361</c:v>
                </c:pt>
                <c:pt idx="1394">
                  <c:v>15323</c:v>
                </c:pt>
                <c:pt idx="1395">
                  <c:v>15093</c:v>
                </c:pt>
                <c:pt idx="1396">
                  <c:v>15028</c:v>
                </c:pt>
                <c:pt idx="1397">
                  <c:v>14907</c:v>
                </c:pt>
                <c:pt idx="1398">
                  <c:v>15008</c:v>
                </c:pt>
                <c:pt idx="1399">
                  <c:v>15342</c:v>
                </c:pt>
                <c:pt idx="1400">
                  <c:v>15764</c:v>
                </c:pt>
                <c:pt idx="1401">
                  <c:v>16157</c:v>
                </c:pt>
                <c:pt idx="1402">
                  <c:v>16891</c:v>
                </c:pt>
                <c:pt idx="1403">
                  <c:v>17439</c:v>
                </c:pt>
                <c:pt idx="1404">
                  <c:v>17667</c:v>
                </c:pt>
                <c:pt idx="1405">
                  <c:v>17505</c:v>
                </c:pt>
                <c:pt idx="1406">
                  <c:v>17269</c:v>
                </c:pt>
                <c:pt idx="1407">
                  <c:v>17086</c:v>
                </c:pt>
                <c:pt idx="1408">
                  <c:v>16865</c:v>
                </c:pt>
                <c:pt idx="1409">
                  <c:v>16990</c:v>
                </c:pt>
                <c:pt idx="1410">
                  <c:v>17245</c:v>
                </c:pt>
                <c:pt idx="1411">
                  <c:v>18121</c:v>
                </c:pt>
                <c:pt idx="1412">
                  <c:v>18649</c:v>
                </c:pt>
                <c:pt idx="1413">
                  <c:v>17992</c:v>
                </c:pt>
                <c:pt idx="1414">
                  <c:v>17433</c:v>
                </c:pt>
                <c:pt idx="1415">
                  <c:v>16833</c:v>
                </c:pt>
                <c:pt idx="1416">
                  <c:v>16152</c:v>
                </c:pt>
                <c:pt idx="1417">
                  <c:v>15640</c:v>
                </c:pt>
                <c:pt idx="1418">
                  <c:v>15512</c:v>
                </c:pt>
                <c:pt idx="1419">
                  <c:v>15143</c:v>
                </c:pt>
                <c:pt idx="1420">
                  <c:v>15202</c:v>
                </c:pt>
                <c:pt idx="1421">
                  <c:v>15272</c:v>
                </c:pt>
                <c:pt idx="1422">
                  <c:v>15310</c:v>
                </c:pt>
                <c:pt idx="1423">
                  <c:v>15476</c:v>
                </c:pt>
                <c:pt idx="1424">
                  <c:v>15876</c:v>
                </c:pt>
                <c:pt idx="1425">
                  <c:v>16040</c:v>
                </c:pt>
                <c:pt idx="1426">
                  <c:v>16605</c:v>
                </c:pt>
                <c:pt idx="1427">
                  <c:v>17224</c:v>
                </c:pt>
                <c:pt idx="1428">
                  <c:v>17888</c:v>
                </c:pt>
                <c:pt idx="1429">
                  <c:v>17999</c:v>
                </c:pt>
                <c:pt idx="1430">
                  <c:v>18122</c:v>
                </c:pt>
                <c:pt idx="1431">
                  <c:v>18093</c:v>
                </c:pt>
                <c:pt idx="1432">
                  <c:v>17796</c:v>
                </c:pt>
                <c:pt idx="1433">
                  <c:v>17881</c:v>
                </c:pt>
                <c:pt idx="1434">
                  <c:v>18278</c:v>
                </c:pt>
                <c:pt idx="1435">
                  <c:v>18733</c:v>
                </c:pt>
                <c:pt idx="1436">
                  <c:v>19425</c:v>
                </c:pt>
                <c:pt idx="1437">
                  <c:v>18931</c:v>
                </c:pt>
                <c:pt idx="1438">
                  <c:v>18165</c:v>
                </c:pt>
                <c:pt idx="1439">
                  <c:v>17566</c:v>
                </c:pt>
                <c:pt idx="1440">
                  <c:v>16687</c:v>
                </c:pt>
                <c:pt idx="1441">
                  <c:v>16079</c:v>
                </c:pt>
                <c:pt idx="1442">
                  <c:v>15595</c:v>
                </c:pt>
                <c:pt idx="1443">
                  <c:v>15153</c:v>
                </c:pt>
                <c:pt idx="1444">
                  <c:v>14864</c:v>
                </c:pt>
                <c:pt idx="1445">
                  <c:v>15172</c:v>
                </c:pt>
                <c:pt idx="1446">
                  <c:v>15286</c:v>
                </c:pt>
                <c:pt idx="1447">
                  <c:v>16284</c:v>
                </c:pt>
                <c:pt idx="1448">
                  <c:v>18259</c:v>
                </c:pt>
                <c:pt idx="1449">
                  <c:v>19931</c:v>
                </c:pt>
                <c:pt idx="1450">
                  <c:v>20458</c:v>
                </c:pt>
                <c:pt idx="1451">
                  <c:v>20257</c:v>
                </c:pt>
                <c:pt idx="1452">
                  <c:v>20388</c:v>
                </c:pt>
                <c:pt idx="1453">
                  <c:v>20209</c:v>
                </c:pt>
                <c:pt idx="1454">
                  <c:v>19856</c:v>
                </c:pt>
                <c:pt idx="1455">
                  <c:v>19836</c:v>
                </c:pt>
                <c:pt idx="1456">
                  <c:v>19748</c:v>
                </c:pt>
                <c:pt idx="1457">
                  <c:v>19792</c:v>
                </c:pt>
                <c:pt idx="1458">
                  <c:v>19432</c:v>
                </c:pt>
                <c:pt idx="1459">
                  <c:v>20223</c:v>
                </c:pt>
                <c:pt idx="1460">
                  <c:v>20311</c:v>
                </c:pt>
                <c:pt idx="1461">
                  <c:v>20053</c:v>
                </c:pt>
                <c:pt idx="1462">
                  <c:v>19524</c:v>
                </c:pt>
                <c:pt idx="1463">
                  <c:v>18753</c:v>
                </c:pt>
                <c:pt idx="1464">
                  <c:v>17524</c:v>
                </c:pt>
                <c:pt idx="1465">
                  <c:v>16589</c:v>
                </c:pt>
                <c:pt idx="1466">
                  <c:v>15715</c:v>
                </c:pt>
                <c:pt idx="1467">
                  <c:v>15588</c:v>
                </c:pt>
                <c:pt idx="1468">
                  <c:v>15551</c:v>
                </c:pt>
                <c:pt idx="1469">
                  <c:v>15515</c:v>
                </c:pt>
                <c:pt idx="1470">
                  <c:v>15794</c:v>
                </c:pt>
                <c:pt idx="1471">
                  <c:v>16802</c:v>
                </c:pt>
                <c:pt idx="1472">
                  <c:v>18493</c:v>
                </c:pt>
                <c:pt idx="1473">
                  <c:v>20076</c:v>
                </c:pt>
                <c:pt idx="1474">
                  <c:v>20395</c:v>
                </c:pt>
                <c:pt idx="1475">
                  <c:v>20191</c:v>
                </c:pt>
                <c:pt idx="1476">
                  <c:v>20114</c:v>
                </c:pt>
                <c:pt idx="1477">
                  <c:v>19795</c:v>
                </c:pt>
                <c:pt idx="1478">
                  <c:v>19274</c:v>
                </c:pt>
                <c:pt idx="1479">
                  <c:v>19205</c:v>
                </c:pt>
                <c:pt idx="1480">
                  <c:v>19080</c:v>
                </c:pt>
                <c:pt idx="1481">
                  <c:v>19289</c:v>
                </c:pt>
                <c:pt idx="1482">
                  <c:v>19284</c:v>
                </c:pt>
                <c:pt idx="1483">
                  <c:v>20124</c:v>
                </c:pt>
                <c:pt idx="1484">
                  <c:v>20727</c:v>
                </c:pt>
                <c:pt idx="1485">
                  <c:v>20285</c:v>
                </c:pt>
                <c:pt idx="1486">
                  <c:v>19679</c:v>
                </c:pt>
                <c:pt idx="1487">
                  <c:v>18673</c:v>
                </c:pt>
                <c:pt idx="1488">
                  <c:v>17891</c:v>
                </c:pt>
                <c:pt idx="1489">
                  <c:v>16725</c:v>
                </c:pt>
                <c:pt idx="1490">
                  <c:v>16056</c:v>
                </c:pt>
                <c:pt idx="1491">
                  <c:v>15995</c:v>
                </c:pt>
                <c:pt idx="1492">
                  <c:v>15974</c:v>
                </c:pt>
                <c:pt idx="1493">
                  <c:v>16072</c:v>
                </c:pt>
                <c:pt idx="1494">
                  <c:v>16079</c:v>
                </c:pt>
                <c:pt idx="1495">
                  <c:v>17324</c:v>
                </c:pt>
                <c:pt idx="1496">
                  <c:v>19015</c:v>
                </c:pt>
                <c:pt idx="1497">
                  <c:v>20414</c:v>
                </c:pt>
                <c:pt idx="1498">
                  <c:v>20622</c:v>
                </c:pt>
                <c:pt idx="1499">
                  <c:v>20562</c:v>
                </c:pt>
                <c:pt idx="1500">
                  <c:v>20247</c:v>
                </c:pt>
                <c:pt idx="1501">
                  <c:v>20115</c:v>
                </c:pt>
                <c:pt idx="1502">
                  <c:v>19697</c:v>
                </c:pt>
                <c:pt idx="1503">
                  <c:v>19501</c:v>
                </c:pt>
                <c:pt idx="1504">
                  <c:v>19468</c:v>
                </c:pt>
                <c:pt idx="1505">
                  <c:v>19570</c:v>
                </c:pt>
                <c:pt idx="1506">
                  <c:v>19534</c:v>
                </c:pt>
                <c:pt idx="1507">
                  <c:v>20375</c:v>
                </c:pt>
                <c:pt idx="1508">
                  <c:v>21007</c:v>
                </c:pt>
                <c:pt idx="1509">
                  <c:v>20220</c:v>
                </c:pt>
                <c:pt idx="1510">
                  <c:v>19601</c:v>
                </c:pt>
                <c:pt idx="1511">
                  <c:v>18810</c:v>
                </c:pt>
                <c:pt idx="1512">
                  <c:v>17779</c:v>
                </c:pt>
                <c:pt idx="1513">
                  <c:v>16906</c:v>
                </c:pt>
                <c:pt idx="1514">
                  <c:v>16282</c:v>
                </c:pt>
                <c:pt idx="1515">
                  <c:v>16282</c:v>
                </c:pt>
                <c:pt idx="1516">
                  <c:v>16308</c:v>
                </c:pt>
                <c:pt idx="1517">
                  <c:v>16608</c:v>
                </c:pt>
                <c:pt idx="1518">
                  <c:v>16907</c:v>
                </c:pt>
                <c:pt idx="1519">
                  <c:v>17818</c:v>
                </c:pt>
                <c:pt idx="1520">
                  <c:v>19638</c:v>
                </c:pt>
                <c:pt idx="1521">
                  <c:v>21404</c:v>
                </c:pt>
                <c:pt idx="1522">
                  <c:v>21381</c:v>
                </c:pt>
                <c:pt idx="1523">
                  <c:v>20947</c:v>
                </c:pt>
                <c:pt idx="1524">
                  <c:v>20445</c:v>
                </c:pt>
                <c:pt idx="1525">
                  <c:v>19768</c:v>
                </c:pt>
                <c:pt idx="1526">
                  <c:v>19403</c:v>
                </c:pt>
                <c:pt idx="1527">
                  <c:v>18745</c:v>
                </c:pt>
                <c:pt idx="1528">
                  <c:v>18447</c:v>
                </c:pt>
                <c:pt idx="1529">
                  <c:v>18335</c:v>
                </c:pt>
                <c:pt idx="1530">
                  <c:v>18315</c:v>
                </c:pt>
                <c:pt idx="1531">
                  <c:v>18776</c:v>
                </c:pt>
                <c:pt idx="1532">
                  <c:v>19515</c:v>
                </c:pt>
                <c:pt idx="1533">
                  <c:v>19039</c:v>
                </c:pt>
                <c:pt idx="1534">
                  <c:v>18468</c:v>
                </c:pt>
                <c:pt idx="1535">
                  <c:v>17605</c:v>
                </c:pt>
                <c:pt idx="1536">
                  <c:v>16695</c:v>
                </c:pt>
                <c:pt idx="1537">
                  <c:v>15663</c:v>
                </c:pt>
                <c:pt idx="1538">
                  <c:v>15451</c:v>
                </c:pt>
                <c:pt idx="1539">
                  <c:v>15114</c:v>
                </c:pt>
                <c:pt idx="1540">
                  <c:v>14955</c:v>
                </c:pt>
                <c:pt idx="1541">
                  <c:v>15020</c:v>
                </c:pt>
                <c:pt idx="1542">
                  <c:v>15480</c:v>
                </c:pt>
                <c:pt idx="1543">
                  <c:v>16227</c:v>
                </c:pt>
                <c:pt idx="1544">
                  <c:v>18089</c:v>
                </c:pt>
                <c:pt idx="1545">
                  <c:v>19366</c:v>
                </c:pt>
                <c:pt idx="1546">
                  <c:v>19776</c:v>
                </c:pt>
                <c:pt idx="1547">
                  <c:v>19792</c:v>
                </c:pt>
                <c:pt idx="1548">
                  <c:v>19954</c:v>
                </c:pt>
                <c:pt idx="1549">
                  <c:v>19773</c:v>
                </c:pt>
                <c:pt idx="1550">
                  <c:v>19429</c:v>
                </c:pt>
                <c:pt idx="1551">
                  <c:v>18946</c:v>
                </c:pt>
                <c:pt idx="1552">
                  <c:v>18759</c:v>
                </c:pt>
                <c:pt idx="1553">
                  <c:v>18490</c:v>
                </c:pt>
                <c:pt idx="1554">
                  <c:v>18364</c:v>
                </c:pt>
                <c:pt idx="1555">
                  <c:v>18858</c:v>
                </c:pt>
                <c:pt idx="1556">
                  <c:v>19116</c:v>
                </c:pt>
                <c:pt idx="1557">
                  <c:v>18274</c:v>
                </c:pt>
                <c:pt idx="1558">
                  <c:v>17107</c:v>
                </c:pt>
                <c:pt idx="1559">
                  <c:v>16323</c:v>
                </c:pt>
                <c:pt idx="1560">
                  <c:v>15648</c:v>
                </c:pt>
                <c:pt idx="1561">
                  <c:v>14861</c:v>
                </c:pt>
                <c:pt idx="1562">
                  <c:v>14565</c:v>
                </c:pt>
                <c:pt idx="1563">
                  <c:v>14489</c:v>
                </c:pt>
                <c:pt idx="1564">
                  <c:v>14262</c:v>
                </c:pt>
                <c:pt idx="1565">
                  <c:v>14215</c:v>
                </c:pt>
                <c:pt idx="1566">
                  <c:v>14516</c:v>
                </c:pt>
                <c:pt idx="1567">
                  <c:v>14673</c:v>
                </c:pt>
                <c:pt idx="1568">
                  <c:v>15062</c:v>
                </c:pt>
                <c:pt idx="1569">
                  <c:v>15570</c:v>
                </c:pt>
                <c:pt idx="1570">
                  <c:v>16123</c:v>
                </c:pt>
                <c:pt idx="1571">
                  <c:v>16862</c:v>
                </c:pt>
                <c:pt idx="1572">
                  <c:v>17229</c:v>
                </c:pt>
                <c:pt idx="1573">
                  <c:v>17306</c:v>
                </c:pt>
                <c:pt idx="1574">
                  <c:v>17170</c:v>
                </c:pt>
                <c:pt idx="1575">
                  <c:v>17034</c:v>
                </c:pt>
                <c:pt idx="1576">
                  <c:v>16858</c:v>
                </c:pt>
                <c:pt idx="1577">
                  <c:v>16873</c:v>
                </c:pt>
                <c:pt idx="1578">
                  <c:v>17116</c:v>
                </c:pt>
                <c:pt idx="1579">
                  <c:v>17871</c:v>
                </c:pt>
                <c:pt idx="1580">
                  <c:v>18216</c:v>
                </c:pt>
                <c:pt idx="1581">
                  <c:v>17837</c:v>
                </c:pt>
                <c:pt idx="1582">
                  <c:v>16851</c:v>
                </c:pt>
                <c:pt idx="1583">
                  <c:v>16074</c:v>
                </c:pt>
                <c:pt idx="1584">
                  <c:v>15300</c:v>
                </c:pt>
                <c:pt idx="1585">
                  <c:v>14762</c:v>
                </c:pt>
                <c:pt idx="1586">
                  <c:v>14338</c:v>
                </c:pt>
                <c:pt idx="1587">
                  <c:v>14122</c:v>
                </c:pt>
                <c:pt idx="1588">
                  <c:v>13867</c:v>
                </c:pt>
                <c:pt idx="1589">
                  <c:v>13786</c:v>
                </c:pt>
                <c:pt idx="1590">
                  <c:v>13712</c:v>
                </c:pt>
                <c:pt idx="1591">
                  <c:v>13871</c:v>
                </c:pt>
                <c:pt idx="1592">
                  <c:v>13983</c:v>
                </c:pt>
                <c:pt idx="1593">
                  <c:v>14322</c:v>
                </c:pt>
                <c:pt idx="1594">
                  <c:v>14972</c:v>
                </c:pt>
                <c:pt idx="1595">
                  <c:v>15469</c:v>
                </c:pt>
                <c:pt idx="1596">
                  <c:v>15765</c:v>
                </c:pt>
                <c:pt idx="1597">
                  <c:v>15711</c:v>
                </c:pt>
                <c:pt idx="1598">
                  <c:v>15402</c:v>
                </c:pt>
                <c:pt idx="1599">
                  <c:v>15341</c:v>
                </c:pt>
                <c:pt idx="1600">
                  <c:v>15286</c:v>
                </c:pt>
                <c:pt idx="1601">
                  <c:v>15252</c:v>
                </c:pt>
                <c:pt idx="1602">
                  <c:v>15452</c:v>
                </c:pt>
                <c:pt idx="1603">
                  <c:v>16437</c:v>
                </c:pt>
                <c:pt idx="1604">
                  <c:v>17304</c:v>
                </c:pt>
                <c:pt idx="1605">
                  <c:v>17135</c:v>
                </c:pt>
                <c:pt idx="1606">
                  <c:v>16725</c:v>
                </c:pt>
                <c:pt idx="1607">
                  <c:v>16238</c:v>
                </c:pt>
                <c:pt idx="1608">
                  <c:v>15369</c:v>
                </c:pt>
                <c:pt idx="1609">
                  <c:v>14621</c:v>
                </c:pt>
                <c:pt idx="1610">
                  <c:v>14306</c:v>
                </c:pt>
                <c:pt idx="1611">
                  <c:v>14213</c:v>
                </c:pt>
                <c:pt idx="1612">
                  <c:v>14255</c:v>
                </c:pt>
                <c:pt idx="1613">
                  <c:v>14217</c:v>
                </c:pt>
                <c:pt idx="1614">
                  <c:v>14324</c:v>
                </c:pt>
                <c:pt idx="1615">
                  <c:v>15231</c:v>
                </c:pt>
                <c:pt idx="1616">
                  <c:v>17194</c:v>
                </c:pt>
                <c:pt idx="1617">
                  <c:v>19089</c:v>
                </c:pt>
                <c:pt idx="1618">
                  <c:v>19177</c:v>
                </c:pt>
                <c:pt idx="1619">
                  <c:v>18967</c:v>
                </c:pt>
                <c:pt idx="1620">
                  <c:v>18751</c:v>
                </c:pt>
                <c:pt idx="1621">
                  <c:v>18501</c:v>
                </c:pt>
                <c:pt idx="1622">
                  <c:v>18236</c:v>
                </c:pt>
                <c:pt idx="1623">
                  <c:v>17945</c:v>
                </c:pt>
                <c:pt idx="1624">
                  <c:v>17752</c:v>
                </c:pt>
                <c:pt idx="1625">
                  <c:v>17758</c:v>
                </c:pt>
                <c:pt idx="1626">
                  <c:v>17862</c:v>
                </c:pt>
                <c:pt idx="1627">
                  <c:v>18598</c:v>
                </c:pt>
                <c:pt idx="1628">
                  <c:v>19417</c:v>
                </c:pt>
                <c:pt idx="1629">
                  <c:v>18886</c:v>
                </c:pt>
                <c:pt idx="1630">
                  <c:v>18108</c:v>
                </c:pt>
                <c:pt idx="1631">
                  <c:v>16844</c:v>
                </c:pt>
                <c:pt idx="1632">
                  <c:v>15680</c:v>
                </c:pt>
                <c:pt idx="1633">
                  <c:v>14853</c:v>
                </c:pt>
                <c:pt idx="1634">
                  <c:v>14614</c:v>
                </c:pt>
                <c:pt idx="1635">
                  <c:v>14391</c:v>
                </c:pt>
                <c:pt idx="1636">
                  <c:v>14353</c:v>
                </c:pt>
                <c:pt idx="1637">
                  <c:v>14271</c:v>
                </c:pt>
                <c:pt idx="1638">
                  <c:v>14525</c:v>
                </c:pt>
                <c:pt idx="1639">
                  <c:v>15442</c:v>
                </c:pt>
                <c:pt idx="1640">
                  <c:v>17349</c:v>
                </c:pt>
                <c:pt idx="1641">
                  <c:v>18783</c:v>
                </c:pt>
                <c:pt idx="1642">
                  <c:v>19431</c:v>
                </c:pt>
                <c:pt idx="1643">
                  <c:v>19512</c:v>
                </c:pt>
                <c:pt idx="1644">
                  <c:v>19322</c:v>
                </c:pt>
                <c:pt idx="1645">
                  <c:v>19119</c:v>
                </c:pt>
                <c:pt idx="1646">
                  <c:v>18572</c:v>
                </c:pt>
                <c:pt idx="1647">
                  <c:v>18145</c:v>
                </c:pt>
                <c:pt idx="1648">
                  <c:v>18026</c:v>
                </c:pt>
                <c:pt idx="1649">
                  <c:v>17889</c:v>
                </c:pt>
                <c:pt idx="1650">
                  <c:v>17865</c:v>
                </c:pt>
                <c:pt idx="1651">
                  <c:v>18682</c:v>
                </c:pt>
                <c:pt idx="1652">
                  <c:v>19386</c:v>
                </c:pt>
                <c:pt idx="1653">
                  <c:v>18925</c:v>
                </c:pt>
                <c:pt idx="1654">
                  <c:v>18338</c:v>
                </c:pt>
                <c:pt idx="1655">
                  <c:v>17742</c:v>
                </c:pt>
                <c:pt idx="1656">
                  <c:v>16683</c:v>
                </c:pt>
                <c:pt idx="1657">
                  <c:v>15819</c:v>
                </c:pt>
                <c:pt idx="1658">
                  <c:v>15195</c:v>
                </c:pt>
                <c:pt idx="1659">
                  <c:v>14907</c:v>
                </c:pt>
                <c:pt idx="1660">
                  <c:v>15057</c:v>
                </c:pt>
                <c:pt idx="1661">
                  <c:v>15164</c:v>
                </c:pt>
                <c:pt idx="1662">
                  <c:v>15150</c:v>
                </c:pt>
                <c:pt idx="1663">
                  <c:v>15832</c:v>
                </c:pt>
                <c:pt idx="1664">
                  <c:v>17511</c:v>
                </c:pt>
                <c:pt idx="1665">
                  <c:v>19079</c:v>
                </c:pt>
                <c:pt idx="1666">
                  <c:v>19586</c:v>
                </c:pt>
                <c:pt idx="1667">
                  <c:v>19117</c:v>
                </c:pt>
                <c:pt idx="1668">
                  <c:v>19003</c:v>
                </c:pt>
                <c:pt idx="1669">
                  <c:v>18938</c:v>
                </c:pt>
                <c:pt idx="1670">
                  <c:v>18615</c:v>
                </c:pt>
                <c:pt idx="1671">
                  <c:v>18398</c:v>
                </c:pt>
                <c:pt idx="1672">
                  <c:v>18065</c:v>
                </c:pt>
                <c:pt idx="1673">
                  <c:v>17974</c:v>
                </c:pt>
                <c:pt idx="1674">
                  <c:v>18053</c:v>
                </c:pt>
                <c:pt idx="1675">
                  <c:v>18558</c:v>
                </c:pt>
                <c:pt idx="1676">
                  <c:v>19109</c:v>
                </c:pt>
                <c:pt idx="1677">
                  <c:v>18977</c:v>
                </c:pt>
                <c:pt idx="1678">
                  <c:v>18220</c:v>
                </c:pt>
                <c:pt idx="1679">
                  <c:v>17500</c:v>
                </c:pt>
                <c:pt idx="1680">
                  <c:v>16166</c:v>
                </c:pt>
                <c:pt idx="1681">
                  <c:v>14991</c:v>
                </c:pt>
                <c:pt idx="1682">
                  <c:v>14925</c:v>
                </c:pt>
                <c:pt idx="1683">
                  <c:v>14863</c:v>
                </c:pt>
                <c:pt idx="1684">
                  <c:v>15041</c:v>
                </c:pt>
                <c:pt idx="1685">
                  <c:v>15175</c:v>
                </c:pt>
                <c:pt idx="1686">
                  <c:v>15163</c:v>
                </c:pt>
                <c:pt idx="1687">
                  <c:v>16390</c:v>
                </c:pt>
                <c:pt idx="1688">
                  <c:v>18217</c:v>
                </c:pt>
                <c:pt idx="1689">
                  <c:v>19858</c:v>
                </c:pt>
                <c:pt idx="1690">
                  <c:v>19653</c:v>
                </c:pt>
                <c:pt idx="1691">
                  <c:v>19478</c:v>
                </c:pt>
                <c:pt idx="1692">
                  <c:v>19082</c:v>
                </c:pt>
                <c:pt idx="1693">
                  <c:v>18682</c:v>
                </c:pt>
                <c:pt idx="1694">
                  <c:v>18257</c:v>
                </c:pt>
                <c:pt idx="1695">
                  <c:v>18080</c:v>
                </c:pt>
                <c:pt idx="1696">
                  <c:v>17872</c:v>
                </c:pt>
                <c:pt idx="1697">
                  <c:v>17839</c:v>
                </c:pt>
                <c:pt idx="1698">
                  <c:v>17657</c:v>
                </c:pt>
                <c:pt idx="1699">
                  <c:v>18424</c:v>
                </c:pt>
                <c:pt idx="1700">
                  <c:v>19358</c:v>
                </c:pt>
                <c:pt idx="1701">
                  <c:v>19486</c:v>
                </c:pt>
                <c:pt idx="1702">
                  <c:v>18949</c:v>
                </c:pt>
                <c:pt idx="1703">
                  <c:v>18021</c:v>
                </c:pt>
                <c:pt idx="1704">
                  <c:v>17289</c:v>
                </c:pt>
                <c:pt idx="1705">
                  <c:v>16047</c:v>
                </c:pt>
                <c:pt idx="1706">
                  <c:v>15158</c:v>
                </c:pt>
                <c:pt idx="1707">
                  <c:v>15030</c:v>
                </c:pt>
                <c:pt idx="1708">
                  <c:v>15031</c:v>
                </c:pt>
                <c:pt idx="1709">
                  <c:v>15133</c:v>
                </c:pt>
                <c:pt idx="1710">
                  <c:v>15522</c:v>
                </c:pt>
                <c:pt idx="1711">
                  <c:v>16694</c:v>
                </c:pt>
                <c:pt idx="1712">
                  <c:v>18587</c:v>
                </c:pt>
                <c:pt idx="1713">
                  <c:v>20401</c:v>
                </c:pt>
                <c:pt idx="1714">
                  <c:v>20088</c:v>
                </c:pt>
                <c:pt idx="1715">
                  <c:v>19597</c:v>
                </c:pt>
                <c:pt idx="1716">
                  <c:v>19379</c:v>
                </c:pt>
                <c:pt idx="1717">
                  <c:v>18428</c:v>
                </c:pt>
                <c:pt idx="1718">
                  <c:v>17712</c:v>
                </c:pt>
                <c:pt idx="1719">
                  <c:v>17500</c:v>
                </c:pt>
                <c:pt idx="1720">
                  <c:v>17284</c:v>
                </c:pt>
                <c:pt idx="1721">
                  <c:v>17257</c:v>
                </c:pt>
                <c:pt idx="1722">
                  <c:v>17380</c:v>
                </c:pt>
                <c:pt idx="1723">
                  <c:v>17903</c:v>
                </c:pt>
                <c:pt idx="1724">
                  <c:v>18458</c:v>
                </c:pt>
                <c:pt idx="1725">
                  <c:v>18199</c:v>
                </c:pt>
                <c:pt idx="1726">
                  <c:v>17663</c:v>
                </c:pt>
                <c:pt idx="1727">
                  <c:v>16973</c:v>
                </c:pt>
                <c:pt idx="1728">
                  <c:v>16341</c:v>
                </c:pt>
                <c:pt idx="1729">
                  <c:v>15877</c:v>
                </c:pt>
                <c:pt idx="1730">
                  <c:v>15461</c:v>
                </c:pt>
                <c:pt idx="1731">
                  <c:v>15217</c:v>
                </c:pt>
                <c:pt idx="1732">
                  <c:v>15016</c:v>
                </c:pt>
                <c:pt idx="1733">
                  <c:v>14897</c:v>
                </c:pt>
                <c:pt idx="1734">
                  <c:v>15041</c:v>
                </c:pt>
                <c:pt idx="1735">
                  <c:v>15266</c:v>
                </c:pt>
                <c:pt idx="1736">
                  <c:v>15527</c:v>
                </c:pt>
                <c:pt idx="1737">
                  <c:v>16267</c:v>
                </c:pt>
                <c:pt idx="1738">
                  <c:v>17199</c:v>
                </c:pt>
                <c:pt idx="1739">
                  <c:v>17530</c:v>
                </c:pt>
                <c:pt idx="1740">
                  <c:v>17302</c:v>
                </c:pt>
                <c:pt idx="1741">
                  <c:v>16805</c:v>
                </c:pt>
                <c:pt idx="1742">
                  <c:v>16494</c:v>
                </c:pt>
                <c:pt idx="1743">
                  <c:v>16087</c:v>
                </c:pt>
                <c:pt idx="1744">
                  <c:v>15951</c:v>
                </c:pt>
                <c:pt idx="1745">
                  <c:v>15833</c:v>
                </c:pt>
                <c:pt idx="1746">
                  <c:v>16127</c:v>
                </c:pt>
                <c:pt idx="1747">
                  <c:v>16803</c:v>
                </c:pt>
                <c:pt idx="1748">
                  <c:v>17754</c:v>
                </c:pt>
                <c:pt idx="1749">
                  <c:v>17615</c:v>
                </c:pt>
                <c:pt idx="1750">
                  <c:v>16810</c:v>
                </c:pt>
                <c:pt idx="1751">
                  <c:v>16189</c:v>
                </c:pt>
                <c:pt idx="1752">
                  <c:v>15750</c:v>
                </c:pt>
                <c:pt idx="1753">
                  <c:v>15265</c:v>
                </c:pt>
                <c:pt idx="1754">
                  <c:v>15047</c:v>
                </c:pt>
                <c:pt idx="1755">
                  <c:v>14883</c:v>
                </c:pt>
                <c:pt idx="1756">
                  <c:v>14811</c:v>
                </c:pt>
                <c:pt idx="1757">
                  <c:v>14729</c:v>
                </c:pt>
                <c:pt idx="1758">
                  <c:v>14727</c:v>
                </c:pt>
                <c:pt idx="1759">
                  <c:v>15025</c:v>
                </c:pt>
                <c:pt idx="1760">
                  <c:v>15060</c:v>
                </c:pt>
                <c:pt idx="1761">
                  <c:v>15287</c:v>
                </c:pt>
                <c:pt idx="1762">
                  <c:v>15794</c:v>
                </c:pt>
                <c:pt idx="1763">
                  <c:v>16079</c:v>
                </c:pt>
                <c:pt idx="1764">
                  <c:v>16398</c:v>
                </c:pt>
                <c:pt idx="1765">
                  <c:v>16249</c:v>
                </c:pt>
                <c:pt idx="1766">
                  <c:v>16062</c:v>
                </c:pt>
                <c:pt idx="1767">
                  <c:v>15794</c:v>
                </c:pt>
                <c:pt idx="1768">
                  <c:v>15550</c:v>
                </c:pt>
                <c:pt idx="1769">
                  <c:v>15684</c:v>
                </c:pt>
                <c:pt idx="1770">
                  <c:v>16133</c:v>
                </c:pt>
                <c:pt idx="1771">
                  <c:v>16719</c:v>
                </c:pt>
                <c:pt idx="1772">
                  <c:v>17449</c:v>
                </c:pt>
                <c:pt idx="1773">
                  <c:v>17394</c:v>
                </c:pt>
                <c:pt idx="1774">
                  <c:v>16923</c:v>
                </c:pt>
                <c:pt idx="1775">
                  <c:v>16405</c:v>
                </c:pt>
                <c:pt idx="1776">
                  <c:v>15679</c:v>
                </c:pt>
                <c:pt idx="1777">
                  <c:v>14983</c:v>
                </c:pt>
                <c:pt idx="1778">
                  <c:v>14514</c:v>
                </c:pt>
                <c:pt idx="1779">
                  <c:v>14411</c:v>
                </c:pt>
                <c:pt idx="1780">
                  <c:v>14469</c:v>
                </c:pt>
                <c:pt idx="1781">
                  <c:v>14581</c:v>
                </c:pt>
                <c:pt idx="1782">
                  <c:v>14978</c:v>
                </c:pt>
                <c:pt idx="1783">
                  <c:v>15862</c:v>
                </c:pt>
                <c:pt idx="1784">
                  <c:v>17519</c:v>
                </c:pt>
                <c:pt idx="1785">
                  <c:v>18975</c:v>
                </c:pt>
                <c:pt idx="1786">
                  <c:v>19038</c:v>
                </c:pt>
                <c:pt idx="1787">
                  <c:v>18603</c:v>
                </c:pt>
                <c:pt idx="1788">
                  <c:v>18572</c:v>
                </c:pt>
                <c:pt idx="1789">
                  <c:v>18289</c:v>
                </c:pt>
                <c:pt idx="1790">
                  <c:v>17906</c:v>
                </c:pt>
                <c:pt idx="1791">
                  <c:v>17634</c:v>
                </c:pt>
                <c:pt idx="1792">
                  <c:v>17785</c:v>
                </c:pt>
                <c:pt idx="1793">
                  <c:v>17731</c:v>
                </c:pt>
                <c:pt idx="1794">
                  <c:v>17693</c:v>
                </c:pt>
                <c:pt idx="1795">
                  <c:v>18158</c:v>
                </c:pt>
                <c:pt idx="1796">
                  <c:v>18630</c:v>
                </c:pt>
                <c:pt idx="1797">
                  <c:v>18436</c:v>
                </c:pt>
                <c:pt idx="1798">
                  <c:v>17789</c:v>
                </c:pt>
                <c:pt idx="1799">
                  <c:v>16995</c:v>
                </c:pt>
                <c:pt idx="1800">
                  <c:v>16009</c:v>
                </c:pt>
                <c:pt idx="1801">
                  <c:v>15174</c:v>
                </c:pt>
                <c:pt idx="1802">
                  <c:v>14692</c:v>
                </c:pt>
                <c:pt idx="1803">
                  <c:v>14657</c:v>
                </c:pt>
                <c:pt idx="1804">
                  <c:v>14749</c:v>
                </c:pt>
                <c:pt idx="1805">
                  <c:v>14895</c:v>
                </c:pt>
                <c:pt idx="1806">
                  <c:v>15201</c:v>
                </c:pt>
                <c:pt idx="1807">
                  <c:v>16100</c:v>
                </c:pt>
                <c:pt idx="1808">
                  <c:v>17493</c:v>
                </c:pt>
                <c:pt idx="1809">
                  <c:v>19015</c:v>
                </c:pt>
                <c:pt idx="1810">
                  <c:v>19040</c:v>
                </c:pt>
                <c:pt idx="1811">
                  <c:v>18937</c:v>
                </c:pt>
                <c:pt idx="1812">
                  <c:v>18747</c:v>
                </c:pt>
                <c:pt idx="1813">
                  <c:v>17986</c:v>
                </c:pt>
                <c:pt idx="1814">
                  <c:v>17506</c:v>
                </c:pt>
                <c:pt idx="1815">
                  <c:v>17298</c:v>
                </c:pt>
                <c:pt idx="1816">
                  <c:v>17185</c:v>
                </c:pt>
                <c:pt idx="1817">
                  <c:v>17254</c:v>
                </c:pt>
                <c:pt idx="1818">
                  <c:v>17242</c:v>
                </c:pt>
                <c:pt idx="1819">
                  <c:v>17810</c:v>
                </c:pt>
                <c:pt idx="1820">
                  <c:v>18364</c:v>
                </c:pt>
                <c:pt idx="1821">
                  <c:v>18544</c:v>
                </c:pt>
                <c:pt idx="1822">
                  <c:v>18005</c:v>
                </c:pt>
                <c:pt idx="1823">
                  <c:v>17074</c:v>
                </c:pt>
                <c:pt idx="1824">
                  <c:v>15911</c:v>
                </c:pt>
                <c:pt idx="1825">
                  <c:v>15115</c:v>
                </c:pt>
                <c:pt idx="1826">
                  <c:v>14403</c:v>
                </c:pt>
                <c:pt idx="1827">
                  <c:v>14157</c:v>
                </c:pt>
                <c:pt idx="1828">
                  <c:v>14205</c:v>
                </c:pt>
                <c:pt idx="1829">
                  <c:v>14300</c:v>
                </c:pt>
                <c:pt idx="1830">
                  <c:v>14523</c:v>
                </c:pt>
                <c:pt idx="1831">
                  <c:v>15371</c:v>
                </c:pt>
                <c:pt idx="1832">
                  <c:v>17580</c:v>
                </c:pt>
                <c:pt idx="1833">
                  <c:v>19116</c:v>
                </c:pt>
                <c:pt idx="1834">
                  <c:v>19138</c:v>
                </c:pt>
                <c:pt idx="1835">
                  <c:v>18798</c:v>
                </c:pt>
                <c:pt idx="1836">
                  <c:v>18500</c:v>
                </c:pt>
                <c:pt idx="1837">
                  <c:v>18130</c:v>
                </c:pt>
                <c:pt idx="1838">
                  <c:v>17576</c:v>
                </c:pt>
                <c:pt idx="1839">
                  <c:v>17346</c:v>
                </c:pt>
                <c:pt idx="1840">
                  <c:v>17106</c:v>
                </c:pt>
                <c:pt idx="1841">
                  <c:v>17207</c:v>
                </c:pt>
                <c:pt idx="1842">
                  <c:v>17382</c:v>
                </c:pt>
                <c:pt idx="1843">
                  <c:v>17670</c:v>
                </c:pt>
                <c:pt idx="1844">
                  <c:v>18587</c:v>
                </c:pt>
                <c:pt idx="1845">
                  <c:v>18535</c:v>
                </c:pt>
                <c:pt idx="1846">
                  <c:v>18111</c:v>
                </c:pt>
                <c:pt idx="1847">
                  <c:v>17249</c:v>
                </c:pt>
                <c:pt idx="1848">
                  <c:v>16210</c:v>
                </c:pt>
                <c:pt idx="1849">
                  <c:v>15382</c:v>
                </c:pt>
                <c:pt idx="1850">
                  <c:v>15182</c:v>
                </c:pt>
                <c:pt idx="1851">
                  <c:v>15068</c:v>
                </c:pt>
                <c:pt idx="1852">
                  <c:v>14976</c:v>
                </c:pt>
                <c:pt idx="1853">
                  <c:v>15167</c:v>
                </c:pt>
                <c:pt idx="1854">
                  <c:v>15373</c:v>
                </c:pt>
                <c:pt idx="1855">
                  <c:v>16121</c:v>
                </c:pt>
                <c:pt idx="1856">
                  <c:v>18036</c:v>
                </c:pt>
                <c:pt idx="1857">
                  <c:v>19509</c:v>
                </c:pt>
                <c:pt idx="1858">
                  <c:v>19179</c:v>
                </c:pt>
                <c:pt idx="1859">
                  <c:v>18633</c:v>
                </c:pt>
                <c:pt idx="1860">
                  <c:v>18426</c:v>
                </c:pt>
                <c:pt idx="1861">
                  <c:v>18031</c:v>
                </c:pt>
                <c:pt idx="1862">
                  <c:v>17605</c:v>
                </c:pt>
                <c:pt idx="1863">
                  <c:v>17205</c:v>
                </c:pt>
                <c:pt idx="1864">
                  <c:v>17056</c:v>
                </c:pt>
                <c:pt idx="1865">
                  <c:v>17081</c:v>
                </c:pt>
                <c:pt idx="1866">
                  <c:v>17140</c:v>
                </c:pt>
                <c:pt idx="1867">
                  <c:v>17715</c:v>
                </c:pt>
                <c:pt idx="1868">
                  <c:v>18254</c:v>
                </c:pt>
                <c:pt idx="1869">
                  <c:v>18248</c:v>
                </c:pt>
                <c:pt idx="1870">
                  <c:v>17794</c:v>
                </c:pt>
                <c:pt idx="1871">
                  <c:v>16900</c:v>
                </c:pt>
                <c:pt idx="1872">
                  <c:v>15956</c:v>
                </c:pt>
                <c:pt idx="1873">
                  <c:v>15215</c:v>
                </c:pt>
                <c:pt idx="1874">
                  <c:v>14565</c:v>
                </c:pt>
                <c:pt idx="1875">
                  <c:v>14369</c:v>
                </c:pt>
                <c:pt idx="1876">
                  <c:v>14177</c:v>
                </c:pt>
                <c:pt idx="1877">
                  <c:v>14258</c:v>
                </c:pt>
                <c:pt idx="1878">
                  <c:v>14539</c:v>
                </c:pt>
                <c:pt idx="1879">
                  <c:v>15631</c:v>
                </c:pt>
                <c:pt idx="1880">
                  <c:v>17461</c:v>
                </c:pt>
                <c:pt idx="1881">
                  <c:v>19221</c:v>
                </c:pt>
                <c:pt idx="1882">
                  <c:v>19449</c:v>
                </c:pt>
                <c:pt idx="1883">
                  <c:v>19323</c:v>
                </c:pt>
                <c:pt idx="1884">
                  <c:v>19532</c:v>
                </c:pt>
                <c:pt idx="1885">
                  <c:v>19511</c:v>
                </c:pt>
                <c:pt idx="1886">
                  <c:v>18893</c:v>
                </c:pt>
                <c:pt idx="1887">
                  <c:v>18679</c:v>
                </c:pt>
                <c:pt idx="1888">
                  <c:v>18538</c:v>
                </c:pt>
                <c:pt idx="1889">
                  <c:v>18351</c:v>
                </c:pt>
                <c:pt idx="1890">
                  <c:v>18496</c:v>
                </c:pt>
                <c:pt idx="1891">
                  <c:v>18903</c:v>
                </c:pt>
                <c:pt idx="1892">
                  <c:v>19256</c:v>
                </c:pt>
                <c:pt idx="1893">
                  <c:v>18876</c:v>
                </c:pt>
                <c:pt idx="1894">
                  <c:v>17989</c:v>
                </c:pt>
                <c:pt idx="1895">
                  <c:v>17042</c:v>
                </c:pt>
                <c:pt idx="1896">
                  <c:v>16496</c:v>
                </c:pt>
                <c:pt idx="1897">
                  <c:v>15838</c:v>
                </c:pt>
                <c:pt idx="1898">
                  <c:v>14702</c:v>
                </c:pt>
                <c:pt idx="1899">
                  <c:v>14536</c:v>
                </c:pt>
                <c:pt idx="1900">
                  <c:v>14484</c:v>
                </c:pt>
                <c:pt idx="1901">
                  <c:v>14595</c:v>
                </c:pt>
                <c:pt idx="1902">
                  <c:v>14752</c:v>
                </c:pt>
                <c:pt idx="1903">
                  <c:v>14962</c:v>
                </c:pt>
                <c:pt idx="1904">
                  <c:v>15453</c:v>
                </c:pt>
                <c:pt idx="1905">
                  <c:v>16073</c:v>
                </c:pt>
                <c:pt idx="1906">
                  <c:v>17132</c:v>
                </c:pt>
                <c:pt idx="1907">
                  <c:v>17668</c:v>
                </c:pt>
                <c:pt idx="1908">
                  <c:v>17632</c:v>
                </c:pt>
                <c:pt idx="1909">
                  <c:v>17490</c:v>
                </c:pt>
                <c:pt idx="1910">
                  <c:v>17314</c:v>
                </c:pt>
                <c:pt idx="1911">
                  <c:v>16949</c:v>
                </c:pt>
                <c:pt idx="1912">
                  <c:v>16900</c:v>
                </c:pt>
                <c:pt idx="1913">
                  <c:v>16941</c:v>
                </c:pt>
                <c:pt idx="1914">
                  <c:v>17023</c:v>
                </c:pt>
                <c:pt idx="1915">
                  <c:v>17709</c:v>
                </c:pt>
                <c:pt idx="1916">
                  <c:v>18632</c:v>
                </c:pt>
                <c:pt idx="1917">
                  <c:v>18843</c:v>
                </c:pt>
                <c:pt idx="1918">
                  <c:v>18494</c:v>
                </c:pt>
                <c:pt idx="1919">
                  <c:v>18209</c:v>
                </c:pt>
                <c:pt idx="1920">
                  <c:v>17588</c:v>
                </c:pt>
                <c:pt idx="1921">
                  <c:v>17032</c:v>
                </c:pt>
                <c:pt idx="1922">
                  <c:v>16508</c:v>
                </c:pt>
                <c:pt idx="1923">
                  <c:v>16061</c:v>
                </c:pt>
                <c:pt idx="1924">
                  <c:v>15705</c:v>
                </c:pt>
                <c:pt idx="1925">
                  <c:v>15597</c:v>
                </c:pt>
                <c:pt idx="1926">
                  <c:v>15576</c:v>
                </c:pt>
                <c:pt idx="1927">
                  <c:v>15929</c:v>
                </c:pt>
                <c:pt idx="1928">
                  <c:v>16004</c:v>
                </c:pt>
                <c:pt idx="1929">
                  <c:v>16506</c:v>
                </c:pt>
                <c:pt idx="1930">
                  <c:v>17043</c:v>
                </c:pt>
                <c:pt idx="1931">
                  <c:v>17536</c:v>
                </c:pt>
                <c:pt idx="1932">
                  <c:v>17665</c:v>
                </c:pt>
                <c:pt idx="1933">
                  <c:v>17918</c:v>
                </c:pt>
                <c:pt idx="1934">
                  <c:v>17958</c:v>
                </c:pt>
                <c:pt idx="1935">
                  <c:v>17972</c:v>
                </c:pt>
                <c:pt idx="1936">
                  <c:v>17772</c:v>
                </c:pt>
                <c:pt idx="1937">
                  <c:v>17599</c:v>
                </c:pt>
                <c:pt idx="1938">
                  <c:v>17786</c:v>
                </c:pt>
                <c:pt idx="1939">
                  <c:v>18585</c:v>
                </c:pt>
                <c:pt idx="1940">
                  <c:v>19249</c:v>
                </c:pt>
                <c:pt idx="1941">
                  <c:v>19324</c:v>
                </c:pt>
                <c:pt idx="1942">
                  <c:v>18514</c:v>
                </c:pt>
                <c:pt idx="1943">
                  <c:v>17444</c:v>
                </c:pt>
                <c:pt idx="1944">
                  <c:v>16517</c:v>
                </c:pt>
                <c:pt idx="1945">
                  <c:v>16007</c:v>
                </c:pt>
                <c:pt idx="1946">
                  <c:v>15662</c:v>
                </c:pt>
                <c:pt idx="1947">
                  <c:v>15325</c:v>
                </c:pt>
                <c:pt idx="1948">
                  <c:v>15121</c:v>
                </c:pt>
                <c:pt idx="1949">
                  <c:v>15132</c:v>
                </c:pt>
                <c:pt idx="1950">
                  <c:v>15210</c:v>
                </c:pt>
                <c:pt idx="1951">
                  <c:v>16052</c:v>
                </c:pt>
                <c:pt idx="1952">
                  <c:v>18004</c:v>
                </c:pt>
                <c:pt idx="1953">
                  <c:v>19575</c:v>
                </c:pt>
                <c:pt idx="1954">
                  <c:v>20067</c:v>
                </c:pt>
                <c:pt idx="1955">
                  <c:v>19946</c:v>
                </c:pt>
                <c:pt idx="1956">
                  <c:v>20092</c:v>
                </c:pt>
                <c:pt idx="1957">
                  <c:v>19709</c:v>
                </c:pt>
                <c:pt idx="1958">
                  <c:v>19222</c:v>
                </c:pt>
                <c:pt idx="1959">
                  <c:v>19311</c:v>
                </c:pt>
                <c:pt idx="1960">
                  <c:v>19296</c:v>
                </c:pt>
                <c:pt idx="1961">
                  <c:v>18716</c:v>
                </c:pt>
                <c:pt idx="1962">
                  <c:v>18798</c:v>
                </c:pt>
                <c:pt idx="1963">
                  <c:v>19017</c:v>
                </c:pt>
                <c:pt idx="1964">
                  <c:v>19283</c:v>
                </c:pt>
                <c:pt idx="1965">
                  <c:v>19201</c:v>
                </c:pt>
                <c:pt idx="1966">
                  <c:v>18602</c:v>
                </c:pt>
                <c:pt idx="1967">
                  <c:v>17860</c:v>
                </c:pt>
                <c:pt idx="1968">
                  <c:v>16811</c:v>
                </c:pt>
                <c:pt idx="1969">
                  <c:v>15946</c:v>
                </c:pt>
                <c:pt idx="1970">
                  <c:v>15065</c:v>
                </c:pt>
                <c:pt idx="1971">
                  <c:v>14989</c:v>
                </c:pt>
                <c:pt idx="1972">
                  <c:v>14885</c:v>
                </c:pt>
                <c:pt idx="1973">
                  <c:v>14774</c:v>
                </c:pt>
                <c:pt idx="1974">
                  <c:v>14960</c:v>
                </c:pt>
                <c:pt idx="1975">
                  <c:v>15871</c:v>
                </c:pt>
                <c:pt idx="1976">
                  <c:v>17591</c:v>
                </c:pt>
                <c:pt idx="1977">
                  <c:v>19035</c:v>
                </c:pt>
                <c:pt idx="1978">
                  <c:v>19269</c:v>
                </c:pt>
                <c:pt idx="1979">
                  <c:v>19034</c:v>
                </c:pt>
                <c:pt idx="1980">
                  <c:v>18780</c:v>
                </c:pt>
                <c:pt idx="1981">
                  <c:v>18533</c:v>
                </c:pt>
                <c:pt idx="1982">
                  <c:v>18196</c:v>
                </c:pt>
                <c:pt idx="1983">
                  <c:v>17898</c:v>
                </c:pt>
                <c:pt idx="1984">
                  <c:v>17582</c:v>
                </c:pt>
                <c:pt idx="1985">
                  <c:v>17792</c:v>
                </c:pt>
                <c:pt idx="1986">
                  <c:v>17792</c:v>
                </c:pt>
                <c:pt idx="1987">
                  <c:v>18027</c:v>
                </c:pt>
                <c:pt idx="1988">
                  <c:v>18672</c:v>
                </c:pt>
                <c:pt idx="1989">
                  <c:v>18998</c:v>
                </c:pt>
                <c:pt idx="1990">
                  <c:v>18390</c:v>
                </c:pt>
                <c:pt idx="1991">
                  <c:v>17766</c:v>
                </c:pt>
                <c:pt idx="1992">
                  <c:v>17161</c:v>
                </c:pt>
                <c:pt idx="1993">
                  <c:v>16065</c:v>
                </c:pt>
                <c:pt idx="1994">
                  <c:v>15188</c:v>
                </c:pt>
                <c:pt idx="1995">
                  <c:v>14967</c:v>
                </c:pt>
                <c:pt idx="1996">
                  <c:v>14685</c:v>
                </c:pt>
                <c:pt idx="1997">
                  <c:v>14743</c:v>
                </c:pt>
                <c:pt idx="1998">
                  <c:v>15199</c:v>
                </c:pt>
                <c:pt idx="1999">
                  <c:v>16067</c:v>
                </c:pt>
                <c:pt idx="2000">
                  <c:v>17460</c:v>
                </c:pt>
                <c:pt idx="2001">
                  <c:v>19148</c:v>
                </c:pt>
                <c:pt idx="2002">
                  <c:v>19698</c:v>
                </c:pt>
                <c:pt idx="2003">
                  <c:v>19300</c:v>
                </c:pt>
                <c:pt idx="2004">
                  <c:v>19345</c:v>
                </c:pt>
                <c:pt idx="2005">
                  <c:v>19046</c:v>
                </c:pt>
                <c:pt idx="2006">
                  <c:v>18959</c:v>
                </c:pt>
                <c:pt idx="2007">
                  <c:v>18725</c:v>
                </c:pt>
                <c:pt idx="2008">
                  <c:v>18712</c:v>
                </c:pt>
                <c:pt idx="2009">
                  <c:v>18722</c:v>
                </c:pt>
                <c:pt idx="2010">
                  <c:v>18835</c:v>
                </c:pt>
                <c:pt idx="2011">
                  <c:v>19318</c:v>
                </c:pt>
                <c:pt idx="2012">
                  <c:v>19948</c:v>
                </c:pt>
                <c:pt idx="2013">
                  <c:v>19587</c:v>
                </c:pt>
                <c:pt idx="2014">
                  <c:v>19087</c:v>
                </c:pt>
                <c:pt idx="2015">
                  <c:v>18243</c:v>
                </c:pt>
                <c:pt idx="2016">
                  <c:v>17121</c:v>
                </c:pt>
                <c:pt idx="2017">
                  <c:v>16223</c:v>
                </c:pt>
                <c:pt idx="2018">
                  <c:v>15793</c:v>
                </c:pt>
                <c:pt idx="2019">
                  <c:v>15534</c:v>
                </c:pt>
                <c:pt idx="2020">
                  <c:v>15603</c:v>
                </c:pt>
                <c:pt idx="2021">
                  <c:v>15620</c:v>
                </c:pt>
                <c:pt idx="2022">
                  <c:v>15873</c:v>
                </c:pt>
                <c:pt idx="2023">
                  <c:v>16453</c:v>
                </c:pt>
                <c:pt idx="2024">
                  <c:v>18066</c:v>
                </c:pt>
                <c:pt idx="2025">
                  <c:v>19555</c:v>
                </c:pt>
                <c:pt idx="2026">
                  <c:v>20398</c:v>
                </c:pt>
                <c:pt idx="2027">
                  <c:v>20617</c:v>
                </c:pt>
                <c:pt idx="2028">
                  <c:v>20653</c:v>
                </c:pt>
                <c:pt idx="2029">
                  <c:v>20195</c:v>
                </c:pt>
                <c:pt idx="2030">
                  <c:v>19826</c:v>
                </c:pt>
                <c:pt idx="2031">
                  <c:v>19624</c:v>
                </c:pt>
                <c:pt idx="2032">
                  <c:v>19432</c:v>
                </c:pt>
                <c:pt idx="2033">
                  <c:v>19995</c:v>
                </c:pt>
                <c:pt idx="2034">
                  <c:v>20689</c:v>
                </c:pt>
                <c:pt idx="2035">
                  <c:v>19995</c:v>
                </c:pt>
                <c:pt idx="2036">
                  <c:v>20126</c:v>
                </c:pt>
                <c:pt idx="2037">
                  <c:v>20089</c:v>
                </c:pt>
                <c:pt idx="2038">
                  <c:v>19536</c:v>
                </c:pt>
                <c:pt idx="2039">
                  <c:v>18220</c:v>
                </c:pt>
                <c:pt idx="2040">
                  <c:v>17223</c:v>
                </c:pt>
                <c:pt idx="2041">
                  <c:v>16308</c:v>
                </c:pt>
                <c:pt idx="2042">
                  <c:v>15461</c:v>
                </c:pt>
                <c:pt idx="2043">
                  <c:v>15142</c:v>
                </c:pt>
                <c:pt idx="2044">
                  <c:v>15178</c:v>
                </c:pt>
                <c:pt idx="2045">
                  <c:v>15208</c:v>
                </c:pt>
                <c:pt idx="2046">
                  <c:v>15315</c:v>
                </c:pt>
                <c:pt idx="2047">
                  <c:v>16154</c:v>
                </c:pt>
                <c:pt idx="2048">
                  <c:v>17874</c:v>
                </c:pt>
                <c:pt idx="2049">
                  <c:v>19227</c:v>
                </c:pt>
                <c:pt idx="2050">
                  <c:v>19547</c:v>
                </c:pt>
                <c:pt idx="2051">
                  <c:v>19808</c:v>
                </c:pt>
                <c:pt idx="2052">
                  <c:v>19890</c:v>
                </c:pt>
                <c:pt idx="2053">
                  <c:v>19773</c:v>
                </c:pt>
                <c:pt idx="2054">
                  <c:v>19235</c:v>
                </c:pt>
                <c:pt idx="2055">
                  <c:v>18714</c:v>
                </c:pt>
                <c:pt idx="2056">
                  <c:v>18392</c:v>
                </c:pt>
                <c:pt idx="2057">
                  <c:v>18087</c:v>
                </c:pt>
                <c:pt idx="2058">
                  <c:v>18213</c:v>
                </c:pt>
                <c:pt idx="2059">
                  <c:v>18508</c:v>
                </c:pt>
                <c:pt idx="2060">
                  <c:v>18884</c:v>
                </c:pt>
                <c:pt idx="2061">
                  <c:v>18746</c:v>
                </c:pt>
                <c:pt idx="2062">
                  <c:v>17838</c:v>
                </c:pt>
                <c:pt idx="2063">
                  <c:v>17043</c:v>
                </c:pt>
                <c:pt idx="2064">
                  <c:v>16211</c:v>
                </c:pt>
                <c:pt idx="2065">
                  <c:v>15730</c:v>
                </c:pt>
                <c:pt idx="2066">
                  <c:v>14730</c:v>
                </c:pt>
                <c:pt idx="2067">
                  <c:v>14395</c:v>
                </c:pt>
                <c:pt idx="2068">
                  <c:v>14251</c:v>
                </c:pt>
                <c:pt idx="2069">
                  <c:v>14247</c:v>
                </c:pt>
                <c:pt idx="2070">
                  <c:v>14426</c:v>
                </c:pt>
                <c:pt idx="2071">
                  <c:v>14577</c:v>
                </c:pt>
                <c:pt idx="2072">
                  <c:v>14804</c:v>
                </c:pt>
                <c:pt idx="2073">
                  <c:v>15484</c:v>
                </c:pt>
                <c:pt idx="2074">
                  <c:v>15973</c:v>
                </c:pt>
                <c:pt idx="2075">
                  <c:v>16235</c:v>
                </c:pt>
                <c:pt idx="2076">
                  <c:v>16363</c:v>
                </c:pt>
                <c:pt idx="2077">
                  <c:v>16186</c:v>
                </c:pt>
                <c:pt idx="2078">
                  <c:v>15811</c:v>
                </c:pt>
                <c:pt idx="2079">
                  <c:v>15702</c:v>
                </c:pt>
                <c:pt idx="2080">
                  <c:v>15443</c:v>
                </c:pt>
                <c:pt idx="2081">
                  <c:v>14933</c:v>
                </c:pt>
                <c:pt idx="2082">
                  <c:v>15274</c:v>
                </c:pt>
                <c:pt idx="2083">
                  <c:v>15964</c:v>
                </c:pt>
                <c:pt idx="2084">
                  <c:v>16325</c:v>
                </c:pt>
                <c:pt idx="2085">
                  <c:v>16121</c:v>
                </c:pt>
                <c:pt idx="2086">
                  <c:v>15501</c:v>
                </c:pt>
                <c:pt idx="2087">
                  <c:v>15158</c:v>
                </c:pt>
                <c:pt idx="2088">
                  <c:v>14821</c:v>
                </c:pt>
                <c:pt idx="2089">
                  <c:v>14243</c:v>
                </c:pt>
                <c:pt idx="2090">
                  <c:v>13510</c:v>
                </c:pt>
                <c:pt idx="2091">
                  <c:v>13440</c:v>
                </c:pt>
                <c:pt idx="2092">
                  <c:v>13440</c:v>
                </c:pt>
                <c:pt idx="2093">
                  <c:v>13361</c:v>
                </c:pt>
                <c:pt idx="2094">
                  <c:v>13732</c:v>
                </c:pt>
                <c:pt idx="2095">
                  <c:v>13875</c:v>
                </c:pt>
                <c:pt idx="2096">
                  <c:v>14245</c:v>
                </c:pt>
                <c:pt idx="2097">
                  <c:v>14350</c:v>
                </c:pt>
                <c:pt idx="2098">
                  <c:v>14983</c:v>
                </c:pt>
                <c:pt idx="2099">
                  <c:v>15647</c:v>
                </c:pt>
                <c:pt idx="2100">
                  <c:v>16355</c:v>
                </c:pt>
                <c:pt idx="2101">
                  <c:v>16762</c:v>
                </c:pt>
                <c:pt idx="2102">
                  <c:v>16787</c:v>
                </c:pt>
                <c:pt idx="2103">
                  <c:v>16574</c:v>
                </c:pt>
                <c:pt idx="2104">
                  <c:v>16501</c:v>
                </c:pt>
                <c:pt idx="2105">
                  <c:v>16379</c:v>
                </c:pt>
                <c:pt idx="2106">
                  <c:v>16524</c:v>
                </c:pt>
                <c:pt idx="2107">
                  <c:v>16706</c:v>
                </c:pt>
                <c:pt idx="2108">
                  <c:v>17015</c:v>
                </c:pt>
                <c:pt idx="2109">
                  <c:v>17458</c:v>
                </c:pt>
                <c:pt idx="2110">
                  <c:v>17548</c:v>
                </c:pt>
                <c:pt idx="2111">
                  <c:v>16581</c:v>
                </c:pt>
                <c:pt idx="2112">
                  <c:v>15826</c:v>
                </c:pt>
                <c:pt idx="2113">
                  <c:v>15204</c:v>
                </c:pt>
                <c:pt idx="2114">
                  <c:v>14653</c:v>
                </c:pt>
                <c:pt idx="2115">
                  <c:v>14521</c:v>
                </c:pt>
                <c:pt idx="2116">
                  <c:v>14387</c:v>
                </c:pt>
                <c:pt idx="2117">
                  <c:v>14349</c:v>
                </c:pt>
                <c:pt idx="2118">
                  <c:v>14410</c:v>
                </c:pt>
                <c:pt idx="2119">
                  <c:v>15150</c:v>
                </c:pt>
                <c:pt idx="2120">
                  <c:v>17106</c:v>
                </c:pt>
                <c:pt idx="2121">
                  <c:v>18536</c:v>
                </c:pt>
                <c:pt idx="2122">
                  <c:v>19138</c:v>
                </c:pt>
                <c:pt idx="2123">
                  <c:v>18909</c:v>
                </c:pt>
                <c:pt idx="2124">
                  <c:v>19122</c:v>
                </c:pt>
                <c:pt idx="2125">
                  <c:v>19135</c:v>
                </c:pt>
                <c:pt idx="2126">
                  <c:v>18751</c:v>
                </c:pt>
                <c:pt idx="2127">
                  <c:v>18597</c:v>
                </c:pt>
                <c:pt idx="2128">
                  <c:v>18394</c:v>
                </c:pt>
                <c:pt idx="2129">
                  <c:v>18321</c:v>
                </c:pt>
                <c:pt idx="2130">
                  <c:v>18243</c:v>
                </c:pt>
                <c:pt idx="2131">
                  <c:v>18352</c:v>
                </c:pt>
                <c:pt idx="2132">
                  <c:v>18189</c:v>
                </c:pt>
                <c:pt idx="2133">
                  <c:v>18512</c:v>
                </c:pt>
                <c:pt idx="2134">
                  <c:v>18528</c:v>
                </c:pt>
                <c:pt idx="2135">
                  <c:v>18038</c:v>
                </c:pt>
                <c:pt idx="2136">
                  <c:v>17018</c:v>
                </c:pt>
                <c:pt idx="2137">
                  <c:v>16080</c:v>
                </c:pt>
                <c:pt idx="2138">
                  <c:v>15604</c:v>
                </c:pt>
                <c:pt idx="2139">
                  <c:v>15335</c:v>
                </c:pt>
                <c:pt idx="2140">
                  <c:v>15415</c:v>
                </c:pt>
                <c:pt idx="2141">
                  <c:v>15420</c:v>
                </c:pt>
                <c:pt idx="2142">
                  <c:v>15640</c:v>
                </c:pt>
                <c:pt idx="2143">
                  <c:v>16206</c:v>
                </c:pt>
                <c:pt idx="2144">
                  <c:v>17961</c:v>
                </c:pt>
                <c:pt idx="2145">
                  <c:v>19191</c:v>
                </c:pt>
                <c:pt idx="2146">
                  <c:v>20009</c:v>
                </c:pt>
                <c:pt idx="2147">
                  <c:v>19826</c:v>
                </c:pt>
                <c:pt idx="2148">
                  <c:v>19807</c:v>
                </c:pt>
                <c:pt idx="2149">
                  <c:v>19598</c:v>
                </c:pt>
                <c:pt idx="2150">
                  <c:v>19003</c:v>
                </c:pt>
                <c:pt idx="2151">
                  <c:v>18670</c:v>
                </c:pt>
                <c:pt idx="2152">
                  <c:v>18284</c:v>
                </c:pt>
                <c:pt idx="2153">
                  <c:v>18277</c:v>
                </c:pt>
                <c:pt idx="2154">
                  <c:v>18230</c:v>
                </c:pt>
                <c:pt idx="2155">
                  <c:v>18317</c:v>
                </c:pt>
                <c:pt idx="2156">
                  <c:v>18189</c:v>
                </c:pt>
                <c:pt idx="2157">
                  <c:v>18344</c:v>
                </c:pt>
                <c:pt idx="2158">
                  <c:v>18450</c:v>
                </c:pt>
                <c:pt idx="2159">
                  <c:v>17836</c:v>
                </c:pt>
                <c:pt idx="2160">
                  <c:v>17025</c:v>
                </c:pt>
                <c:pt idx="2161">
                  <c:v>16158</c:v>
                </c:pt>
                <c:pt idx="2162">
                  <c:v>15525</c:v>
                </c:pt>
                <c:pt idx="2163">
                  <c:v>15219</c:v>
                </c:pt>
                <c:pt idx="2164">
                  <c:v>15038</c:v>
                </c:pt>
                <c:pt idx="2165">
                  <c:v>14846</c:v>
                </c:pt>
                <c:pt idx="2166">
                  <c:v>14891</c:v>
                </c:pt>
                <c:pt idx="2167">
                  <c:v>15688</c:v>
                </c:pt>
                <c:pt idx="2168">
                  <c:v>17424</c:v>
                </c:pt>
                <c:pt idx="2169">
                  <c:v>18994</c:v>
                </c:pt>
                <c:pt idx="2170">
                  <c:v>19260</c:v>
                </c:pt>
                <c:pt idx="2171">
                  <c:v>19099</c:v>
                </c:pt>
                <c:pt idx="2172">
                  <c:v>18898</c:v>
                </c:pt>
                <c:pt idx="2173">
                  <c:v>18464</c:v>
                </c:pt>
                <c:pt idx="2174">
                  <c:v>18144</c:v>
                </c:pt>
                <c:pt idx="2175">
                  <c:v>17962</c:v>
                </c:pt>
                <c:pt idx="2176">
                  <c:v>17433</c:v>
                </c:pt>
                <c:pt idx="2177">
                  <c:v>17306</c:v>
                </c:pt>
                <c:pt idx="2178">
                  <c:v>16975</c:v>
                </c:pt>
                <c:pt idx="2179">
                  <c:v>17472</c:v>
                </c:pt>
                <c:pt idx="2180">
                  <c:v>17556</c:v>
                </c:pt>
                <c:pt idx="2181">
                  <c:v>17958</c:v>
                </c:pt>
                <c:pt idx="2182">
                  <c:v>18229</c:v>
                </c:pt>
                <c:pt idx="2183">
                  <c:v>17594</c:v>
                </c:pt>
                <c:pt idx="2184">
                  <c:v>16683</c:v>
                </c:pt>
                <c:pt idx="2185">
                  <c:v>16014</c:v>
                </c:pt>
                <c:pt idx="2186">
                  <c:v>15499</c:v>
                </c:pt>
                <c:pt idx="2187">
                  <c:v>15198</c:v>
                </c:pt>
                <c:pt idx="2188">
                  <c:v>15309</c:v>
                </c:pt>
                <c:pt idx="2189">
                  <c:v>15259</c:v>
                </c:pt>
                <c:pt idx="2190">
                  <c:v>15484</c:v>
                </c:pt>
                <c:pt idx="2191">
                  <c:v>16184</c:v>
                </c:pt>
                <c:pt idx="2192">
                  <c:v>17768</c:v>
                </c:pt>
                <c:pt idx="2193">
                  <c:v>19327</c:v>
                </c:pt>
                <c:pt idx="2194">
                  <c:v>19882</c:v>
                </c:pt>
                <c:pt idx="2195">
                  <c:v>19701</c:v>
                </c:pt>
                <c:pt idx="2196">
                  <c:v>19519</c:v>
                </c:pt>
                <c:pt idx="2197">
                  <c:v>19024</c:v>
                </c:pt>
                <c:pt idx="2198">
                  <c:v>18499</c:v>
                </c:pt>
                <c:pt idx="2199">
                  <c:v>17763</c:v>
                </c:pt>
                <c:pt idx="2200">
                  <c:v>17347</c:v>
                </c:pt>
                <c:pt idx="2201">
                  <c:v>16740</c:v>
                </c:pt>
                <c:pt idx="2202">
                  <c:v>17065</c:v>
                </c:pt>
                <c:pt idx="2203">
                  <c:v>17154</c:v>
                </c:pt>
                <c:pt idx="2204">
                  <c:v>17384</c:v>
                </c:pt>
                <c:pt idx="2205">
                  <c:v>17608</c:v>
                </c:pt>
                <c:pt idx="2206">
                  <c:v>17549</c:v>
                </c:pt>
                <c:pt idx="2207">
                  <c:v>16555</c:v>
                </c:pt>
                <c:pt idx="2208">
                  <c:v>15802</c:v>
                </c:pt>
                <c:pt idx="2209">
                  <c:v>15082</c:v>
                </c:pt>
                <c:pt idx="2210">
                  <c:v>14668</c:v>
                </c:pt>
                <c:pt idx="2211">
                  <c:v>14210</c:v>
                </c:pt>
                <c:pt idx="2212">
                  <c:v>14139</c:v>
                </c:pt>
                <c:pt idx="2213">
                  <c:v>14217</c:v>
                </c:pt>
                <c:pt idx="2214">
                  <c:v>14158</c:v>
                </c:pt>
                <c:pt idx="2215">
                  <c:v>14404</c:v>
                </c:pt>
                <c:pt idx="2216">
                  <c:v>14767</c:v>
                </c:pt>
                <c:pt idx="2217">
                  <c:v>15299</c:v>
                </c:pt>
                <c:pt idx="2218">
                  <c:v>16423</c:v>
                </c:pt>
                <c:pt idx="2219">
                  <c:v>16591</c:v>
                </c:pt>
                <c:pt idx="2220">
                  <c:v>16444</c:v>
                </c:pt>
                <c:pt idx="2221">
                  <c:v>16176</c:v>
                </c:pt>
                <c:pt idx="2222">
                  <c:v>15995</c:v>
                </c:pt>
                <c:pt idx="2223">
                  <c:v>15577</c:v>
                </c:pt>
                <c:pt idx="2224">
                  <c:v>15368</c:v>
                </c:pt>
                <c:pt idx="2225">
                  <c:v>15308</c:v>
                </c:pt>
                <c:pt idx="2226">
                  <c:v>15391</c:v>
                </c:pt>
                <c:pt idx="2227">
                  <c:v>15451</c:v>
                </c:pt>
                <c:pt idx="2228">
                  <c:v>15560</c:v>
                </c:pt>
                <c:pt idx="2229">
                  <c:v>15685</c:v>
                </c:pt>
                <c:pt idx="2230">
                  <c:v>16143</c:v>
                </c:pt>
                <c:pt idx="2231">
                  <c:v>15708</c:v>
                </c:pt>
                <c:pt idx="2232">
                  <c:v>15441</c:v>
                </c:pt>
                <c:pt idx="2233">
                  <c:v>14634</c:v>
                </c:pt>
                <c:pt idx="2234">
                  <c:v>14244</c:v>
                </c:pt>
                <c:pt idx="2235">
                  <c:v>13936</c:v>
                </c:pt>
                <c:pt idx="2236">
                  <c:v>13747</c:v>
                </c:pt>
                <c:pt idx="2237">
                  <c:v>13668</c:v>
                </c:pt>
                <c:pt idx="2238">
                  <c:v>13794</c:v>
                </c:pt>
                <c:pt idx="2239">
                  <c:v>14044</c:v>
                </c:pt>
                <c:pt idx="2240">
                  <c:v>14213</c:v>
                </c:pt>
                <c:pt idx="2241">
                  <c:v>14630</c:v>
                </c:pt>
                <c:pt idx="2242">
                  <c:v>15471</c:v>
                </c:pt>
                <c:pt idx="2243">
                  <c:v>16040</c:v>
                </c:pt>
                <c:pt idx="2244">
                  <c:v>15895</c:v>
                </c:pt>
                <c:pt idx="2245">
                  <c:v>15612</c:v>
                </c:pt>
                <c:pt idx="2246">
                  <c:v>15408</c:v>
                </c:pt>
                <c:pt idx="2247">
                  <c:v>15311</c:v>
                </c:pt>
                <c:pt idx="2248">
                  <c:v>15003</c:v>
                </c:pt>
                <c:pt idx="2249">
                  <c:v>14822</c:v>
                </c:pt>
                <c:pt idx="2250">
                  <c:v>14905</c:v>
                </c:pt>
                <c:pt idx="2251">
                  <c:v>15056</c:v>
                </c:pt>
                <c:pt idx="2252">
                  <c:v>15021</c:v>
                </c:pt>
                <c:pt idx="2253">
                  <c:v>15285</c:v>
                </c:pt>
                <c:pt idx="2254">
                  <c:v>15761</c:v>
                </c:pt>
                <c:pt idx="2255">
                  <c:v>15489</c:v>
                </c:pt>
                <c:pt idx="2256">
                  <c:v>14889</c:v>
                </c:pt>
                <c:pt idx="2257">
                  <c:v>14617</c:v>
                </c:pt>
                <c:pt idx="2258">
                  <c:v>14207</c:v>
                </c:pt>
                <c:pt idx="2259">
                  <c:v>13780</c:v>
                </c:pt>
                <c:pt idx="2260">
                  <c:v>13703</c:v>
                </c:pt>
                <c:pt idx="2261">
                  <c:v>13690</c:v>
                </c:pt>
                <c:pt idx="2262">
                  <c:v>13891</c:v>
                </c:pt>
                <c:pt idx="2263">
                  <c:v>14053</c:v>
                </c:pt>
                <c:pt idx="2264">
                  <c:v>14052</c:v>
                </c:pt>
                <c:pt idx="2265">
                  <c:v>14372</c:v>
                </c:pt>
                <c:pt idx="2266">
                  <c:v>14808</c:v>
                </c:pt>
                <c:pt idx="2267">
                  <c:v>15198</c:v>
                </c:pt>
                <c:pt idx="2268">
                  <c:v>15245</c:v>
                </c:pt>
                <c:pt idx="2269">
                  <c:v>15051</c:v>
                </c:pt>
                <c:pt idx="2270">
                  <c:v>14884</c:v>
                </c:pt>
                <c:pt idx="2271">
                  <c:v>14780</c:v>
                </c:pt>
                <c:pt idx="2272">
                  <c:v>14544</c:v>
                </c:pt>
                <c:pt idx="2273">
                  <c:v>14232</c:v>
                </c:pt>
                <c:pt idx="2274">
                  <c:v>14393</c:v>
                </c:pt>
                <c:pt idx="2275">
                  <c:v>14654</c:v>
                </c:pt>
                <c:pt idx="2276">
                  <c:v>14936</c:v>
                </c:pt>
                <c:pt idx="2277">
                  <c:v>15298</c:v>
                </c:pt>
                <c:pt idx="2278">
                  <c:v>15721</c:v>
                </c:pt>
                <c:pt idx="2279">
                  <c:v>15434</c:v>
                </c:pt>
                <c:pt idx="2280">
                  <c:v>14731</c:v>
                </c:pt>
                <c:pt idx="2281">
                  <c:v>14078</c:v>
                </c:pt>
                <c:pt idx="2282">
                  <c:v>13742</c:v>
                </c:pt>
                <c:pt idx="2283">
                  <c:v>13628</c:v>
                </c:pt>
                <c:pt idx="2284">
                  <c:v>13788</c:v>
                </c:pt>
                <c:pt idx="2285">
                  <c:v>14041</c:v>
                </c:pt>
                <c:pt idx="2286">
                  <c:v>14131</c:v>
                </c:pt>
                <c:pt idx="2287">
                  <c:v>14373</c:v>
                </c:pt>
                <c:pt idx="2288">
                  <c:v>14686</c:v>
                </c:pt>
                <c:pt idx="2289">
                  <c:v>15115</c:v>
                </c:pt>
                <c:pt idx="2290">
                  <c:v>15832</c:v>
                </c:pt>
                <c:pt idx="2291">
                  <c:v>15885</c:v>
                </c:pt>
                <c:pt idx="2292">
                  <c:v>16102</c:v>
                </c:pt>
                <c:pt idx="2293">
                  <c:v>15765</c:v>
                </c:pt>
                <c:pt idx="2294">
                  <c:v>15502</c:v>
                </c:pt>
                <c:pt idx="2295">
                  <c:v>15133</c:v>
                </c:pt>
                <c:pt idx="2296">
                  <c:v>14742</c:v>
                </c:pt>
                <c:pt idx="2297">
                  <c:v>14583</c:v>
                </c:pt>
                <c:pt idx="2298">
                  <c:v>14650</c:v>
                </c:pt>
                <c:pt idx="2299">
                  <c:v>14904</c:v>
                </c:pt>
                <c:pt idx="2300">
                  <c:v>15238</c:v>
                </c:pt>
                <c:pt idx="2301">
                  <c:v>15621</c:v>
                </c:pt>
                <c:pt idx="2302">
                  <c:v>15841</c:v>
                </c:pt>
                <c:pt idx="2303">
                  <c:v>15275</c:v>
                </c:pt>
                <c:pt idx="2304">
                  <c:v>14474</c:v>
                </c:pt>
                <c:pt idx="2305">
                  <c:v>13762</c:v>
                </c:pt>
                <c:pt idx="2306">
                  <c:v>13482</c:v>
                </c:pt>
                <c:pt idx="2307">
                  <c:v>13385</c:v>
                </c:pt>
                <c:pt idx="2308">
                  <c:v>13375</c:v>
                </c:pt>
                <c:pt idx="2309">
                  <c:v>13315</c:v>
                </c:pt>
                <c:pt idx="2310">
                  <c:v>13596</c:v>
                </c:pt>
                <c:pt idx="2311">
                  <c:v>14402</c:v>
                </c:pt>
                <c:pt idx="2312">
                  <c:v>16279</c:v>
                </c:pt>
                <c:pt idx="2313">
                  <c:v>17649</c:v>
                </c:pt>
                <c:pt idx="2314">
                  <c:v>18265</c:v>
                </c:pt>
                <c:pt idx="2315">
                  <c:v>18273</c:v>
                </c:pt>
                <c:pt idx="2316">
                  <c:v>17557</c:v>
                </c:pt>
                <c:pt idx="2317">
                  <c:v>17241</c:v>
                </c:pt>
                <c:pt idx="2318">
                  <c:v>17398</c:v>
                </c:pt>
                <c:pt idx="2319">
                  <c:v>17022</c:v>
                </c:pt>
                <c:pt idx="2320">
                  <c:v>16829</c:v>
                </c:pt>
                <c:pt idx="2321">
                  <c:v>16696</c:v>
                </c:pt>
                <c:pt idx="2322">
                  <c:v>16054</c:v>
                </c:pt>
                <c:pt idx="2323">
                  <c:v>16240</c:v>
                </c:pt>
                <c:pt idx="2324">
                  <c:v>16375</c:v>
                </c:pt>
                <c:pt idx="2325">
                  <c:v>16426</c:v>
                </c:pt>
                <c:pt idx="2326">
                  <c:v>16871</c:v>
                </c:pt>
                <c:pt idx="2327">
                  <c:v>16128</c:v>
                </c:pt>
                <c:pt idx="2328">
                  <c:v>15240</c:v>
                </c:pt>
                <c:pt idx="2329">
                  <c:v>14388</c:v>
                </c:pt>
                <c:pt idx="2330">
                  <c:v>13817</c:v>
                </c:pt>
                <c:pt idx="2331">
                  <c:v>13562</c:v>
                </c:pt>
                <c:pt idx="2332">
                  <c:v>13673</c:v>
                </c:pt>
                <c:pt idx="2333">
                  <c:v>13828</c:v>
                </c:pt>
                <c:pt idx="2334">
                  <c:v>13893</c:v>
                </c:pt>
                <c:pt idx="2335">
                  <c:v>14589</c:v>
                </c:pt>
                <c:pt idx="2336">
                  <c:v>15889</c:v>
                </c:pt>
                <c:pt idx="2337">
                  <c:v>17420</c:v>
                </c:pt>
                <c:pt idx="2338">
                  <c:v>17942</c:v>
                </c:pt>
                <c:pt idx="2339">
                  <c:v>18062</c:v>
                </c:pt>
                <c:pt idx="2340">
                  <c:v>17869</c:v>
                </c:pt>
                <c:pt idx="2341">
                  <c:v>17701</c:v>
                </c:pt>
                <c:pt idx="2342">
                  <c:v>17510</c:v>
                </c:pt>
                <c:pt idx="2343">
                  <c:v>17437</c:v>
                </c:pt>
                <c:pt idx="2344">
                  <c:v>17259</c:v>
                </c:pt>
                <c:pt idx="2345">
                  <c:v>17049</c:v>
                </c:pt>
                <c:pt idx="2346">
                  <c:v>16599</c:v>
                </c:pt>
                <c:pt idx="2347">
                  <c:v>16517</c:v>
                </c:pt>
                <c:pt idx="2348">
                  <c:v>16504</c:v>
                </c:pt>
                <c:pt idx="2349">
                  <c:v>16833</c:v>
                </c:pt>
                <c:pt idx="2350">
                  <c:v>17291</c:v>
                </c:pt>
                <c:pt idx="2351">
                  <c:v>16767</c:v>
                </c:pt>
                <c:pt idx="2352">
                  <c:v>15904</c:v>
                </c:pt>
                <c:pt idx="2353">
                  <c:v>15061</c:v>
                </c:pt>
                <c:pt idx="2354">
                  <c:v>14445</c:v>
                </c:pt>
                <c:pt idx="2355">
                  <c:v>14061</c:v>
                </c:pt>
                <c:pt idx="2356">
                  <c:v>13683</c:v>
                </c:pt>
                <c:pt idx="2357">
                  <c:v>13711</c:v>
                </c:pt>
                <c:pt idx="2358">
                  <c:v>13856</c:v>
                </c:pt>
                <c:pt idx="2359">
                  <c:v>14629</c:v>
                </c:pt>
                <c:pt idx="2360">
                  <c:v>15787</c:v>
                </c:pt>
                <c:pt idx="2361">
                  <c:v>17413</c:v>
                </c:pt>
                <c:pt idx="2362">
                  <c:v>17708</c:v>
                </c:pt>
                <c:pt idx="2363">
                  <c:v>17630</c:v>
                </c:pt>
                <c:pt idx="2364">
                  <c:v>17368</c:v>
                </c:pt>
                <c:pt idx="2365">
                  <c:v>17252</c:v>
                </c:pt>
                <c:pt idx="2366">
                  <c:v>16955</c:v>
                </c:pt>
                <c:pt idx="2367">
                  <c:v>16666</c:v>
                </c:pt>
                <c:pt idx="2368">
                  <c:v>16702</c:v>
                </c:pt>
                <c:pt idx="2369">
                  <c:v>16559</c:v>
                </c:pt>
                <c:pt idx="2370">
                  <c:v>16403</c:v>
                </c:pt>
                <c:pt idx="2371">
                  <c:v>16588</c:v>
                </c:pt>
                <c:pt idx="2372">
                  <c:v>16605</c:v>
                </c:pt>
                <c:pt idx="2373">
                  <c:v>16550</c:v>
                </c:pt>
                <c:pt idx="2374">
                  <c:v>16895</c:v>
                </c:pt>
                <c:pt idx="2375">
                  <c:v>16715</c:v>
                </c:pt>
                <c:pt idx="2376">
                  <c:v>16076</c:v>
                </c:pt>
                <c:pt idx="2377">
                  <c:v>14987</c:v>
                </c:pt>
                <c:pt idx="2378">
                  <c:v>13991</c:v>
                </c:pt>
                <c:pt idx="2379">
                  <c:v>13535</c:v>
                </c:pt>
                <c:pt idx="2380">
                  <c:v>13132</c:v>
                </c:pt>
                <c:pt idx="2381">
                  <c:v>13218</c:v>
                </c:pt>
                <c:pt idx="2382">
                  <c:v>13354</c:v>
                </c:pt>
                <c:pt idx="2383">
                  <c:v>14085</c:v>
                </c:pt>
                <c:pt idx="2384">
                  <c:v>15673</c:v>
                </c:pt>
                <c:pt idx="2385">
                  <c:v>17241</c:v>
                </c:pt>
                <c:pt idx="2386">
                  <c:v>17311</c:v>
                </c:pt>
                <c:pt idx="2387">
                  <c:v>17586</c:v>
                </c:pt>
                <c:pt idx="2388">
                  <c:v>17709</c:v>
                </c:pt>
                <c:pt idx="2389">
                  <c:v>17355</c:v>
                </c:pt>
                <c:pt idx="2390">
                  <c:v>17155</c:v>
                </c:pt>
                <c:pt idx="2391">
                  <c:v>16855</c:v>
                </c:pt>
                <c:pt idx="2392">
                  <c:v>16352</c:v>
                </c:pt>
                <c:pt idx="2393">
                  <c:v>16063</c:v>
                </c:pt>
                <c:pt idx="2394">
                  <c:v>15764</c:v>
                </c:pt>
                <c:pt idx="2395">
                  <c:v>15932</c:v>
                </c:pt>
                <c:pt idx="2396">
                  <c:v>15739</c:v>
                </c:pt>
                <c:pt idx="2397">
                  <c:v>16024</c:v>
                </c:pt>
                <c:pt idx="2398">
                  <c:v>16136</c:v>
                </c:pt>
                <c:pt idx="2399">
                  <c:v>15623</c:v>
                </c:pt>
                <c:pt idx="2400">
                  <c:v>15066</c:v>
                </c:pt>
                <c:pt idx="2401">
                  <c:v>14562</c:v>
                </c:pt>
                <c:pt idx="2402">
                  <c:v>13543</c:v>
                </c:pt>
                <c:pt idx="2403">
                  <c:v>13618</c:v>
                </c:pt>
                <c:pt idx="2404">
                  <c:v>13665</c:v>
                </c:pt>
                <c:pt idx="2405">
                  <c:v>13686</c:v>
                </c:pt>
                <c:pt idx="2406">
                  <c:v>13610</c:v>
                </c:pt>
                <c:pt idx="2407">
                  <c:v>13527</c:v>
                </c:pt>
                <c:pt idx="2408">
                  <c:v>13647</c:v>
                </c:pt>
                <c:pt idx="2409">
                  <c:v>14099</c:v>
                </c:pt>
                <c:pt idx="2410">
                  <c:v>14826</c:v>
                </c:pt>
                <c:pt idx="2411">
                  <c:v>15464</c:v>
                </c:pt>
                <c:pt idx="2412">
                  <c:v>15769</c:v>
                </c:pt>
                <c:pt idx="2413">
                  <c:v>15204</c:v>
                </c:pt>
                <c:pt idx="2414">
                  <c:v>14496</c:v>
                </c:pt>
                <c:pt idx="2415">
                  <c:v>14368</c:v>
                </c:pt>
                <c:pt idx="2416">
                  <c:v>14125</c:v>
                </c:pt>
                <c:pt idx="2417">
                  <c:v>13861</c:v>
                </c:pt>
                <c:pt idx="2418">
                  <c:v>13940</c:v>
                </c:pt>
                <c:pt idx="2419">
                  <c:v>14403</c:v>
                </c:pt>
                <c:pt idx="2420">
                  <c:v>14403</c:v>
                </c:pt>
                <c:pt idx="2421">
                  <c:v>14316</c:v>
                </c:pt>
                <c:pt idx="2422">
                  <c:v>14239</c:v>
                </c:pt>
                <c:pt idx="2423">
                  <c:v>14162</c:v>
                </c:pt>
                <c:pt idx="2424">
                  <c:v>13298</c:v>
                </c:pt>
                <c:pt idx="2425">
                  <c:v>13290</c:v>
                </c:pt>
                <c:pt idx="2426">
                  <c:v>12623</c:v>
                </c:pt>
                <c:pt idx="2427">
                  <c:v>12552</c:v>
                </c:pt>
                <c:pt idx="2428">
                  <c:v>12622</c:v>
                </c:pt>
                <c:pt idx="2429">
                  <c:v>12599</c:v>
                </c:pt>
                <c:pt idx="2430">
                  <c:v>12798</c:v>
                </c:pt>
                <c:pt idx="2431">
                  <c:v>13021</c:v>
                </c:pt>
                <c:pt idx="2432">
                  <c:v>12789</c:v>
                </c:pt>
                <c:pt idx="2433">
                  <c:v>13162</c:v>
                </c:pt>
                <c:pt idx="2434">
                  <c:v>13797</c:v>
                </c:pt>
                <c:pt idx="2435">
                  <c:v>14553</c:v>
                </c:pt>
                <c:pt idx="2436">
                  <c:v>14915</c:v>
                </c:pt>
                <c:pt idx="2437">
                  <c:v>15036</c:v>
                </c:pt>
                <c:pt idx="2438">
                  <c:v>14941</c:v>
                </c:pt>
                <c:pt idx="2439">
                  <c:v>14815</c:v>
                </c:pt>
                <c:pt idx="2440">
                  <c:v>14832</c:v>
                </c:pt>
                <c:pt idx="2441">
                  <c:v>15061</c:v>
                </c:pt>
                <c:pt idx="2442">
                  <c:v>15070</c:v>
                </c:pt>
                <c:pt idx="2443">
                  <c:v>15624</c:v>
                </c:pt>
                <c:pt idx="2444">
                  <c:v>15823</c:v>
                </c:pt>
                <c:pt idx="2445">
                  <c:v>16154</c:v>
                </c:pt>
                <c:pt idx="2446">
                  <c:v>16397</c:v>
                </c:pt>
                <c:pt idx="2447">
                  <c:v>16370</c:v>
                </c:pt>
                <c:pt idx="2448">
                  <c:v>15486</c:v>
                </c:pt>
                <c:pt idx="2449">
                  <c:v>14584</c:v>
                </c:pt>
                <c:pt idx="2450">
                  <c:v>13451</c:v>
                </c:pt>
                <c:pt idx="2451">
                  <c:v>13413</c:v>
                </c:pt>
                <c:pt idx="2452">
                  <c:v>13572</c:v>
                </c:pt>
                <c:pt idx="2453">
                  <c:v>13340</c:v>
                </c:pt>
                <c:pt idx="2454">
                  <c:v>13599</c:v>
                </c:pt>
                <c:pt idx="2455">
                  <c:v>14180</c:v>
                </c:pt>
                <c:pt idx="2456">
                  <c:v>15463</c:v>
                </c:pt>
                <c:pt idx="2457">
                  <c:v>17281</c:v>
                </c:pt>
                <c:pt idx="2458">
                  <c:v>17483</c:v>
                </c:pt>
                <c:pt idx="2459">
                  <c:v>17649</c:v>
                </c:pt>
                <c:pt idx="2460">
                  <c:v>17451</c:v>
                </c:pt>
                <c:pt idx="2461">
                  <c:v>17462</c:v>
                </c:pt>
                <c:pt idx="2462">
                  <c:v>17156</c:v>
                </c:pt>
                <c:pt idx="2463">
                  <c:v>16874</c:v>
                </c:pt>
                <c:pt idx="2464">
                  <c:v>16507</c:v>
                </c:pt>
                <c:pt idx="2465">
                  <c:v>16395</c:v>
                </c:pt>
                <c:pt idx="2466">
                  <c:v>16637</c:v>
                </c:pt>
                <c:pt idx="2467">
                  <c:v>16645</c:v>
                </c:pt>
                <c:pt idx="2468">
                  <c:v>16502</c:v>
                </c:pt>
                <c:pt idx="2469">
                  <c:v>16684</c:v>
                </c:pt>
                <c:pt idx="2470">
                  <c:v>17044</c:v>
                </c:pt>
                <c:pt idx="2471">
                  <c:v>16810</c:v>
                </c:pt>
                <c:pt idx="2472">
                  <c:v>15696</c:v>
                </c:pt>
                <c:pt idx="2473">
                  <c:v>14874</c:v>
                </c:pt>
                <c:pt idx="2474">
                  <c:v>14330</c:v>
                </c:pt>
                <c:pt idx="2475">
                  <c:v>14125</c:v>
                </c:pt>
                <c:pt idx="2476">
                  <c:v>14287</c:v>
                </c:pt>
                <c:pt idx="2477">
                  <c:v>14326</c:v>
                </c:pt>
                <c:pt idx="2478">
                  <c:v>14644</c:v>
                </c:pt>
                <c:pt idx="2479">
                  <c:v>15326</c:v>
                </c:pt>
                <c:pt idx="2480">
                  <c:v>16756</c:v>
                </c:pt>
                <c:pt idx="2481">
                  <c:v>18414</c:v>
                </c:pt>
                <c:pt idx="2482">
                  <c:v>18803</c:v>
                </c:pt>
                <c:pt idx="2483">
                  <c:v>18426</c:v>
                </c:pt>
                <c:pt idx="2484">
                  <c:v>18178</c:v>
                </c:pt>
                <c:pt idx="2485">
                  <c:v>18017</c:v>
                </c:pt>
                <c:pt idx="2486">
                  <c:v>17778</c:v>
                </c:pt>
                <c:pt idx="2487">
                  <c:v>17682</c:v>
                </c:pt>
                <c:pt idx="2488">
                  <c:v>17580</c:v>
                </c:pt>
                <c:pt idx="2489">
                  <c:v>17526</c:v>
                </c:pt>
                <c:pt idx="2490">
                  <c:v>17569</c:v>
                </c:pt>
                <c:pt idx="2491">
                  <c:v>17723</c:v>
                </c:pt>
                <c:pt idx="2492">
                  <c:v>17672</c:v>
                </c:pt>
                <c:pt idx="2493">
                  <c:v>17744</c:v>
                </c:pt>
                <c:pt idx="2494">
                  <c:v>17508</c:v>
                </c:pt>
                <c:pt idx="2495">
                  <c:v>16912</c:v>
                </c:pt>
                <c:pt idx="2496">
                  <c:v>15940</c:v>
                </c:pt>
                <c:pt idx="2497">
                  <c:v>15114</c:v>
                </c:pt>
                <c:pt idx="2498">
                  <c:v>14626</c:v>
                </c:pt>
                <c:pt idx="2499">
                  <c:v>14306</c:v>
                </c:pt>
                <c:pt idx="2500">
                  <c:v>14110</c:v>
                </c:pt>
                <c:pt idx="2501">
                  <c:v>14159</c:v>
                </c:pt>
                <c:pt idx="2502">
                  <c:v>14368</c:v>
                </c:pt>
                <c:pt idx="2503">
                  <c:v>14859</c:v>
                </c:pt>
                <c:pt idx="2504">
                  <c:v>16701</c:v>
                </c:pt>
                <c:pt idx="2505">
                  <c:v>18039</c:v>
                </c:pt>
                <c:pt idx="2506">
                  <c:v>18617</c:v>
                </c:pt>
                <c:pt idx="2507">
                  <c:v>18401</c:v>
                </c:pt>
                <c:pt idx="2508">
                  <c:v>18564</c:v>
                </c:pt>
                <c:pt idx="2509">
                  <c:v>18282</c:v>
                </c:pt>
                <c:pt idx="2510">
                  <c:v>17855</c:v>
                </c:pt>
                <c:pt idx="2511">
                  <c:v>17467</c:v>
                </c:pt>
                <c:pt idx="2512">
                  <c:v>17357</c:v>
                </c:pt>
                <c:pt idx="2513">
                  <c:v>17178</c:v>
                </c:pt>
                <c:pt idx="2514">
                  <c:v>17082</c:v>
                </c:pt>
                <c:pt idx="2515">
                  <c:v>17146</c:v>
                </c:pt>
                <c:pt idx="2516">
                  <c:v>16894</c:v>
                </c:pt>
                <c:pt idx="2517">
                  <c:v>16962</c:v>
                </c:pt>
                <c:pt idx="2518">
                  <c:v>17129</c:v>
                </c:pt>
                <c:pt idx="2519">
                  <c:v>16631</c:v>
                </c:pt>
                <c:pt idx="2520">
                  <c:v>15626</c:v>
                </c:pt>
                <c:pt idx="2521">
                  <c:v>14722</c:v>
                </c:pt>
                <c:pt idx="2522">
                  <c:v>14213</c:v>
                </c:pt>
                <c:pt idx="2523">
                  <c:v>13842</c:v>
                </c:pt>
                <c:pt idx="2524">
                  <c:v>13706</c:v>
                </c:pt>
                <c:pt idx="2525">
                  <c:v>13909</c:v>
                </c:pt>
                <c:pt idx="2526">
                  <c:v>14128</c:v>
                </c:pt>
                <c:pt idx="2527">
                  <c:v>14936</c:v>
                </c:pt>
                <c:pt idx="2528">
                  <c:v>16241</c:v>
                </c:pt>
                <c:pt idx="2529">
                  <c:v>17772</c:v>
                </c:pt>
                <c:pt idx="2530">
                  <c:v>18039</c:v>
                </c:pt>
                <c:pt idx="2531">
                  <c:v>17717</c:v>
                </c:pt>
                <c:pt idx="2532">
                  <c:v>17710</c:v>
                </c:pt>
                <c:pt idx="2533">
                  <c:v>17166</c:v>
                </c:pt>
                <c:pt idx="2534">
                  <c:v>16899</c:v>
                </c:pt>
                <c:pt idx="2535">
                  <c:v>16756</c:v>
                </c:pt>
                <c:pt idx="2536">
                  <c:v>16581</c:v>
                </c:pt>
                <c:pt idx="2537">
                  <c:v>16554</c:v>
                </c:pt>
                <c:pt idx="2538">
                  <c:v>16362</c:v>
                </c:pt>
                <c:pt idx="2539">
                  <c:v>16567</c:v>
                </c:pt>
                <c:pt idx="2540">
                  <c:v>16662</c:v>
                </c:pt>
                <c:pt idx="2541">
                  <c:v>16460</c:v>
                </c:pt>
                <c:pt idx="2542">
                  <c:v>16910</c:v>
                </c:pt>
                <c:pt idx="2543">
                  <c:v>16562</c:v>
                </c:pt>
                <c:pt idx="2544">
                  <c:v>15616</c:v>
                </c:pt>
                <c:pt idx="2545">
                  <c:v>14508</c:v>
                </c:pt>
                <c:pt idx="2546">
                  <c:v>14096</c:v>
                </c:pt>
                <c:pt idx="2547">
                  <c:v>13911</c:v>
                </c:pt>
                <c:pt idx="2548">
                  <c:v>13917</c:v>
                </c:pt>
                <c:pt idx="2549">
                  <c:v>13982</c:v>
                </c:pt>
                <c:pt idx="2550">
                  <c:v>13975</c:v>
                </c:pt>
                <c:pt idx="2551">
                  <c:v>14855</c:v>
                </c:pt>
                <c:pt idx="2552">
                  <c:v>16465</c:v>
                </c:pt>
                <c:pt idx="2553">
                  <c:v>18095</c:v>
                </c:pt>
                <c:pt idx="2554">
                  <c:v>18428</c:v>
                </c:pt>
                <c:pt idx="2555">
                  <c:v>18399</c:v>
                </c:pt>
                <c:pt idx="2556">
                  <c:v>18185</c:v>
                </c:pt>
                <c:pt idx="2557">
                  <c:v>17870</c:v>
                </c:pt>
                <c:pt idx="2558">
                  <c:v>17449</c:v>
                </c:pt>
                <c:pt idx="2559">
                  <c:v>17127</c:v>
                </c:pt>
                <c:pt idx="2560">
                  <c:v>16814</c:v>
                </c:pt>
                <c:pt idx="2561">
                  <c:v>16521</c:v>
                </c:pt>
                <c:pt idx="2562">
                  <c:v>16261</c:v>
                </c:pt>
                <c:pt idx="2563">
                  <c:v>16271</c:v>
                </c:pt>
                <c:pt idx="2564">
                  <c:v>16128</c:v>
                </c:pt>
                <c:pt idx="2565">
                  <c:v>15974</c:v>
                </c:pt>
                <c:pt idx="2566">
                  <c:v>16079</c:v>
                </c:pt>
                <c:pt idx="2567">
                  <c:v>15980</c:v>
                </c:pt>
                <c:pt idx="2568">
                  <c:v>15110</c:v>
                </c:pt>
                <c:pt idx="2569">
                  <c:v>14438</c:v>
                </c:pt>
                <c:pt idx="2570">
                  <c:v>13982</c:v>
                </c:pt>
                <c:pt idx="2571">
                  <c:v>13809</c:v>
                </c:pt>
                <c:pt idx="2572">
                  <c:v>13788</c:v>
                </c:pt>
                <c:pt idx="2573">
                  <c:v>13802</c:v>
                </c:pt>
                <c:pt idx="2574">
                  <c:v>13994</c:v>
                </c:pt>
                <c:pt idx="2575">
                  <c:v>13704</c:v>
                </c:pt>
                <c:pt idx="2576">
                  <c:v>13956</c:v>
                </c:pt>
                <c:pt idx="2577">
                  <c:v>14633</c:v>
                </c:pt>
                <c:pt idx="2578">
                  <c:v>15245</c:v>
                </c:pt>
                <c:pt idx="2579">
                  <c:v>15618</c:v>
                </c:pt>
                <c:pt idx="2580">
                  <c:v>15249</c:v>
                </c:pt>
                <c:pt idx="2581">
                  <c:v>15010</c:v>
                </c:pt>
                <c:pt idx="2582">
                  <c:v>14511</c:v>
                </c:pt>
                <c:pt idx="2583">
                  <c:v>14414</c:v>
                </c:pt>
                <c:pt idx="2584">
                  <c:v>14058</c:v>
                </c:pt>
                <c:pt idx="2585">
                  <c:v>14055</c:v>
                </c:pt>
                <c:pt idx="2586">
                  <c:v>14320</c:v>
                </c:pt>
                <c:pt idx="2587">
                  <c:v>14646</c:v>
                </c:pt>
                <c:pt idx="2588">
                  <c:v>14928</c:v>
                </c:pt>
                <c:pt idx="2589">
                  <c:v>14945</c:v>
                </c:pt>
                <c:pt idx="2590">
                  <c:v>14943</c:v>
                </c:pt>
                <c:pt idx="2591">
                  <c:v>14604</c:v>
                </c:pt>
                <c:pt idx="2592">
                  <c:v>14026</c:v>
                </c:pt>
                <c:pt idx="2593">
                  <c:v>13683</c:v>
                </c:pt>
                <c:pt idx="2594">
                  <c:v>12757</c:v>
                </c:pt>
                <c:pt idx="2595">
                  <c:v>12546</c:v>
                </c:pt>
                <c:pt idx="2596">
                  <c:v>12244</c:v>
                </c:pt>
                <c:pt idx="2597">
                  <c:v>12192</c:v>
                </c:pt>
                <c:pt idx="2598">
                  <c:v>12420</c:v>
                </c:pt>
                <c:pt idx="2599">
                  <c:v>12443</c:v>
                </c:pt>
                <c:pt idx="2600">
                  <c:v>12576</c:v>
                </c:pt>
                <c:pt idx="2601">
                  <c:v>12916</c:v>
                </c:pt>
                <c:pt idx="2602">
                  <c:v>13554</c:v>
                </c:pt>
                <c:pt idx="2603">
                  <c:v>14083</c:v>
                </c:pt>
                <c:pt idx="2604">
                  <c:v>14483</c:v>
                </c:pt>
                <c:pt idx="2605">
                  <c:v>14429</c:v>
                </c:pt>
                <c:pt idx="2606">
                  <c:v>14217</c:v>
                </c:pt>
                <c:pt idx="2607">
                  <c:v>13893</c:v>
                </c:pt>
                <c:pt idx="2608">
                  <c:v>13520</c:v>
                </c:pt>
                <c:pt idx="2609">
                  <c:v>13357</c:v>
                </c:pt>
                <c:pt idx="2610">
                  <c:v>13467</c:v>
                </c:pt>
                <c:pt idx="2611">
                  <c:v>13612</c:v>
                </c:pt>
                <c:pt idx="2612">
                  <c:v>13955</c:v>
                </c:pt>
                <c:pt idx="2613">
                  <c:v>14287</c:v>
                </c:pt>
                <c:pt idx="2614">
                  <c:v>14524</c:v>
                </c:pt>
                <c:pt idx="2615">
                  <c:v>14413</c:v>
                </c:pt>
                <c:pt idx="2616">
                  <c:v>13551</c:v>
                </c:pt>
                <c:pt idx="2617">
                  <c:v>13003</c:v>
                </c:pt>
                <c:pt idx="2618">
                  <c:v>12836</c:v>
                </c:pt>
                <c:pt idx="2619">
                  <c:v>12730</c:v>
                </c:pt>
                <c:pt idx="2620">
                  <c:v>12576</c:v>
                </c:pt>
                <c:pt idx="2621">
                  <c:v>12828</c:v>
                </c:pt>
                <c:pt idx="2622">
                  <c:v>13021</c:v>
                </c:pt>
                <c:pt idx="2623">
                  <c:v>13494</c:v>
                </c:pt>
                <c:pt idx="2624">
                  <c:v>15100</c:v>
                </c:pt>
                <c:pt idx="2625">
                  <c:v>16786</c:v>
                </c:pt>
                <c:pt idx="2626">
                  <c:v>17360</c:v>
                </c:pt>
                <c:pt idx="2627">
                  <c:v>17309</c:v>
                </c:pt>
                <c:pt idx="2628">
                  <c:v>16975</c:v>
                </c:pt>
                <c:pt idx="2629">
                  <c:v>16768</c:v>
                </c:pt>
                <c:pt idx="2630">
                  <c:v>16602</c:v>
                </c:pt>
                <c:pt idx="2631">
                  <c:v>15873</c:v>
                </c:pt>
                <c:pt idx="2632">
                  <c:v>15576</c:v>
                </c:pt>
                <c:pt idx="2633">
                  <c:v>15624</c:v>
                </c:pt>
                <c:pt idx="2634">
                  <c:v>15072</c:v>
                </c:pt>
                <c:pt idx="2635">
                  <c:v>15057</c:v>
                </c:pt>
                <c:pt idx="2636">
                  <c:v>14838</c:v>
                </c:pt>
                <c:pt idx="2637">
                  <c:v>14829</c:v>
                </c:pt>
                <c:pt idx="2638">
                  <c:v>14809</c:v>
                </c:pt>
                <c:pt idx="2639">
                  <c:v>14502</c:v>
                </c:pt>
                <c:pt idx="2640">
                  <c:v>13690</c:v>
                </c:pt>
                <c:pt idx="2641">
                  <c:v>12978</c:v>
                </c:pt>
                <c:pt idx="2642">
                  <c:v>12644</c:v>
                </c:pt>
                <c:pt idx="2643">
                  <c:v>12351</c:v>
                </c:pt>
                <c:pt idx="2644">
                  <c:v>12138</c:v>
                </c:pt>
                <c:pt idx="2645">
                  <c:v>12162</c:v>
                </c:pt>
                <c:pt idx="2646">
                  <c:v>12355</c:v>
                </c:pt>
                <c:pt idx="2647">
                  <c:v>12840</c:v>
                </c:pt>
                <c:pt idx="2648">
                  <c:v>14301</c:v>
                </c:pt>
                <c:pt idx="2649">
                  <c:v>16041</c:v>
                </c:pt>
                <c:pt idx="2650">
                  <c:v>16794</c:v>
                </c:pt>
                <c:pt idx="2651">
                  <c:v>16458</c:v>
                </c:pt>
                <c:pt idx="2652">
                  <c:v>16580</c:v>
                </c:pt>
                <c:pt idx="2653">
                  <c:v>16199</c:v>
                </c:pt>
                <c:pt idx="2654">
                  <c:v>15694</c:v>
                </c:pt>
                <c:pt idx="2655">
                  <c:v>15475</c:v>
                </c:pt>
                <c:pt idx="2656">
                  <c:v>15122</c:v>
                </c:pt>
                <c:pt idx="2657">
                  <c:v>15177</c:v>
                </c:pt>
                <c:pt idx="2658">
                  <c:v>15010</c:v>
                </c:pt>
                <c:pt idx="2659">
                  <c:v>14925</c:v>
                </c:pt>
                <c:pt idx="2660">
                  <c:v>14705</c:v>
                </c:pt>
                <c:pt idx="2661">
                  <c:v>14573</c:v>
                </c:pt>
                <c:pt idx="2662">
                  <c:v>14641</c:v>
                </c:pt>
                <c:pt idx="2663">
                  <c:v>14534</c:v>
                </c:pt>
                <c:pt idx="2664">
                  <c:v>13851</c:v>
                </c:pt>
                <c:pt idx="2665">
                  <c:v>13129</c:v>
                </c:pt>
                <c:pt idx="2666">
                  <c:v>12629</c:v>
                </c:pt>
                <c:pt idx="2667">
                  <c:v>12412</c:v>
                </c:pt>
                <c:pt idx="2668">
                  <c:v>12349</c:v>
                </c:pt>
                <c:pt idx="2669">
                  <c:v>12558</c:v>
                </c:pt>
                <c:pt idx="2670">
                  <c:v>12751</c:v>
                </c:pt>
                <c:pt idx="2671">
                  <c:v>13265</c:v>
                </c:pt>
                <c:pt idx="2672">
                  <c:v>14960</c:v>
                </c:pt>
                <c:pt idx="2673">
                  <c:v>16480</c:v>
                </c:pt>
                <c:pt idx="2674">
                  <c:v>16744</c:v>
                </c:pt>
                <c:pt idx="2675">
                  <c:v>16734</c:v>
                </c:pt>
                <c:pt idx="2676">
                  <c:v>16387</c:v>
                </c:pt>
                <c:pt idx="2677">
                  <c:v>16251</c:v>
                </c:pt>
                <c:pt idx="2678">
                  <c:v>15981</c:v>
                </c:pt>
                <c:pt idx="2679">
                  <c:v>15836</c:v>
                </c:pt>
                <c:pt idx="2680">
                  <c:v>15746</c:v>
                </c:pt>
                <c:pt idx="2681">
                  <c:v>15531</c:v>
                </c:pt>
                <c:pt idx="2682">
                  <c:v>15600</c:v>
                </c:pt>
                <c:pt idx="2683">
                  <c:v>15465</c:v>
                </c:pt>
                <c:pt idx="2684">
                  <c:v>15214</c:v>
                </c:pt>
                <c:pt idx="2685">
                  <c:v>14845</c:v>
                </c:pt>
                <c:pt idx="2686">
                  <c:v>14766</c:v>
                </c:pt>
                <c:pt idx="2687">
                  <c:v>14712</c:v>
                </c:pt>
                <c:pt idx="2688">
                  <c:v>13748</c:v>
                </c:pt>
                <c:pt idx="2689">
                  <c:v>12869</c:v>
                </c:pt>
                <c:pt idx="2690">
                  <c:v>12694</c:v>
                </c:pt>
                <c:pt idx="2691">
                  <c:v>12460</c:v>
                </c:pt>
                <c:pt idx="2692">
                  <c:v>12386</c:v>
                </c:pt>
                <c:pt idx="2693">
                  <c:v>12445</c:v>
                </c:pt>
                <c:pt idx="2694">
                  <c:v>12677</c:v>
                </c:pt>
                <c:pt idx="2695">
                  <c:v>13162</c:v>
                </c:pt>
                <c:pt idx="2696">
                  <c:v>14764</c:v>
                </c:pt>
                <c:pt idx="2697">
                  <c:v>16519</c:v>
                </c:pt>
                <c:pt idx="2698">
                  <c:v>16807</c:v>
                </c:pt>
                <c:pt idx="2699">
                  <c:v>16584</c:v>
                </c:pt>
                <c:pt idx="2700">
                  <c:v>16511</c:v>
                </c:pt>
                <c:pt idx="2701">
                  <c:v>16224</c:v>
                </c:pt>
                <c:pt idx="2702">
                  <c:v>16071</c:v>
                </c:pt>
                <c:pt idx="2703">
                  <c:v>15952</c:v>
                </c:pt>
                <c:pt idx="2704">
                  <c:v>15746</c:v>
                </c:pt>
                <c:pt idx="2705">
                  <c:v>15476</c:v>
                </c:pt>
                <c:pt idx="2706">
                  <c:v>15201</c:v>
                </c:pt>
                <c:pt idx="2707">
                  <c:v>15384</c:v>
                </c:pt>
                <c:pt idx="2708">
                  <c:v>15124</c:v>
                </c:pt>
                <c:pt idx="2709">
                  <c:v>15365</c:v>
                </c:pt>
                <c:pt idx="2710">
                  <c:v>15414</c:v>
                </c:pt>
                <c:pt idx="2711">
                  <c:v>15386</c:v>
                </c:pt>
                <c:pt idx="2712">
                  <c:v>14216</c:v>
                </c:pt>
                <c:pt idx="2713">
                  <c:v>13384</c:v>
                </c:pt>
                <c:pt idx="2714">
                  <c:v>12821</c:v>
                </c:pt>
                <c:pt idx="2715">
                  <c:v>12456</c:v>
                </c:pt>
                <c:pt idx="2716">
                  <c:v>12555</c:v>
                </c:pt>
                <c:pt idx="2717">
                  <c:v>12614</c:v>
                </c:pt>
                <c:pt idx="2718">
                  <c:v>12644</c:v>
                </c:pt>
                <c:pt idx="2719">
                  <c:v>13306</c:v>
                </c:pt>
                <c:pt idx="2720">
                  <c:v>14994</c:v>
                </c:pt>
                <c:pt idx="2721">
                  <c:v>16612</c:v>
                </c:pt>
                <c:pt idx="2722">
                  <c:v>16920</c:v>
                </c:pt>
                <c:pt idx="2723">
                  <c:v>16682</c:v>
                </c:pt>
                <c:pt idx="2724">
                  <c:v>16582</c:v>
                </c:pt>
                <c:pt idx="2725">
                  <c:v>16282</c:v>
                </c:pt>
                <c:pt idx="2726">
                  <c:v>16075</c:v>
                </c:pt>
                <c:pt idx="2727">
                  <c:v>15546</c:v>
                </c:pt>
                <c:pt idx="2728">
                  <c:v>15014</c:v>
                </c:pt>
                <c:pt idx="2729">
                  <c:v>15145</c:v>
                </c:pt>
                <c:pt idx="2730">
                  <c:v>15037</c:v>
                </c:pt>
                <c:pt idx="2731">
                  <c:v>15270</c:v>
                </c:pt>
                <c:pt idx="2732">
                  <c:v>15326</c:v>
                </c:pt>
                <c:pt idx="2733">
                  <c:v>15001</c:v>
                </c:pt>
                <c:pt idx="2734">
                  <c:v>15101</c:v>
                </c:pt>
                <c:pt idx="2735">
                  <c:v>15250</c:v>
                </c:pt>
                <c:pt idx="2736">
                  <c:v>14758</c:v>
                </c:pt>
                <c:pt idx="2737">
                  <c:v>13957</c:v>
                </c:pt>
                <c:pt idx="2738">
                  <c:v>13083</c:v>
                </c:pt>
                <c:pt idx="2739">
                  <c:v>12678</c:v>
                </c:pt>
                <c:pt idx="2740">
                  <c:v>12398</c:v>
                </c:pt>
                <c:pt idx="2741">
                  <c:v>12373</c:v>
                </c:pt>
                <c:pt idx="2742">
                  <c:v>12204</c:v>
                </c:pt>
                <c:pt idx="2743">
                  <c:v>12021</c:v>
                </c:pt>
                <c:pt idx="2744">
                  <c:v>12211</c:v>
                </c:pt>
                <c:pt idx="2745">
                  <c:v>12927</c:v>
                </c:pt>
                <c:pt idx="2746">
                  <c:v>13751</c:v>
                </c:pt>
                <c:pt idx="2747">
                  <c:v>14480</c:v>
                </c:pt>
                <c:pt idx="2748">
                  <c:v>14545</c:v>
                </c:pt>
                <c:pt idx="2749">
                  <c:v>14374</c:v>
                </c:pt>
                <c:pt idx="2750">
                  <c:v>14052</c:v>
                </c:pt>
                <c:pt idx="2751">
                  <c:v>13607</c:v>
                </c:pt>
                <c:pt idx="2752">
                  <c:v>13525</c:v>
                </c:pt>
                <c:pt idx="2753">
                  <c:v>13543</c:v>
                </c:pt>
                <c:pt idx="2754">
                  <c:v>13611</c:v>
                </c:pt>
                <c:pt idx="2755">
                  <c:v>14135</c:v>
                </c:pt>
                <c:pt idx="2756">
                  <c:v>14225</c:v>
                </c:pt>
                <c:pt idx="2757">
                  <c:v>14171</c:v>
                </c:pt>
                <c:pt idx="2758">
                  <c:v>14167</c:v>
                </c:pt>
                <c:pt idx="2759">
                  <c:v>14021</c:v>
                </c:pt>
                <c:pt idx="2760">
                  <c:v>13482</c:v>
                </c:pt>
                <c:pt idx="2761">
                  <c:v>12741</c:v>
                </c:pt>
                <c:pt idx="2762">
                  <c:v>12246</c:v>
                </c:pt>
                <c:pt idx="2763">
                  <c:v>11919</c:v>
                </c:pt>
                <c:pt idx="2764">
                  <c:v>11946</c:v>
                </c:pt>
                <c:pt idx="2765">
                  <c:v>12202</c:v>
                </c:pt>
                <c:pt idx="2766">
                  <c:v>12136</c:v>
                </c:pt>
                <c:pt idx="2767">
                  <c:v>11878</c:v>
                </c:pt>
                <c:pt idx="2768">
                  <c:v>12108</c:v>
                </c:pt>
                <c:pt idx="2769">
                  <c:v>12391</c:v>
                </c:pt>
                <c:pt idx="2770">
                  <c:v>12908</c:v>
                </c:pt>
                <c:pt idx="2771">
                  <c:v>13517</c:v>
                </c:pt>
                <c:pt idx="2772">
                  <c:v>14013</c:v>
                </c:pt>
                <c:pt idx="2773">
                  <c:v>14189</c:v>
                </c:pt>
                <c:pt idx="2774">
                  <c:v>13929</c:v>
                </c:pt>
                <c:pt idx="2775">
                  <c:v>13818</c:v>
                </c:pt>
                <c:pt idx="2776">
                  <c:v>13676</c:v>
                </c:pt>
                <c:pt idx="2777">
                  <c:v>13611</c:v>
                </c:pt>
                <c:pt idx="2778">
                  <c:v>13730</c:v>
                </c:pt>
                <c:pt idx="2779">
                  <c:v>14035</c:v>
                </c:pt>
                <c:pt idx="2780">
                  <c:v>14264</c:v>
                </c:pt>
                <c:pt idx="2781">
                  <c:v>14589</c:v>
                </c:pt>
                <c:pt idx="2782">
                  <c:v>14780</c:v>
                </c:pt>
                <c:pt idx="2783">
                  <c:v>14885</c:v>
                </c:pt>
                <c:pt idx="2784">
                  <c:v>14279</c:v>
                </c:pt>
                <c:pt idx="2785">
                  <c:v>13458</c:v>
                </c:pt>
                <c:pt idx="2786">
                  <c:v>12918</c:v>
                </c:pt>
                <c:pt idx="2787">
                  <c:v>12672</c:v>
                </c:pt>
                <c:pt idx="2788">
                  <c:v>12810</c:v>
                </c:pt>
                <c:pt idx="2789">
                  <c:v>13019</c:v>
                </c:pt>
                <c:pt idx="2790">
                  <c:v>13238</c:v>
                </c:pt>
                <c:pt idx="2791">
                  <c:v>13796</c:v>
                </c:pt>
                <c:pt idx="2792">
                  <c:v>15436</c:v>
                </c:pt>
                <c:pt idx="2793">
                  <c:v>16956</c:v>
                </c:pt>
                <c:pt idx="2794">
                  <c:v>17194</c:v>
                </c:pt>
                <c:pt idx="2795">
                  <c:v>17057</c:v>
                </c:pt>
                <c:pt idx="2796">
                  <c:v>16850</c:v>
                </c:pt>
                <c:pt idx="2797">
                  <c:v>16719</c:v>
                </c:pt>
                <c:pt idx="2798">
                  <c:v>16544</c:v>
                </c:pt>
                <c:pt idx="2799">
                  <c:v>16339</c:v>
                </c:pt>
                <c:pt idx="2800">
                  <c:v>16090</c:v>
                </c:pt>
                <c:pt idx="2801">
                  <c:v>16026</c:v>
                </c:pt>
                <c:pt idx="2802">
                  <c:v>15576</c:v>
                </c:pt>
                <c:pt idx="2803">
                  <c:v>15836</c:v>
                </c:pt>
                <c:pt idx="2804">
                  <c:v>15475</c:v>
                </c:pt>
                <c:pt idx="2805">
                  <c:v>15499</c:v>
                </c:pt>
                <c:pt idx="2806">
                  <c:v>15611</c:v>
                </c:pt>
                <c:pt idx="2807">
                  <c:v>15586</c:v>
                </c:pt>
                <c:pt idx="2808">
                  <c:v>14726</c:v>
                </c:pt>
                <c:pt idx="2809">
                  <c:v>13834</c:v>
                </c:pt>
                <c:pt idx="2810">
                  <c:v>13326</c:v>
                </c:pt>
                <c:pt idx="2811">
                  <c:v>13208</c:v>
                </c:pt>
                <c:pt idx="2812">
                  <c:v>13274</c:v>
                </c:pt>
                <c:pt idx="2813">
                  <c:v>13468</c:v>
                </c:pt>
                <c:pt idx="2814">
                  <c:v>13427</c:v>
                </c:pt>
                <c:pt idx="2815">
                  <c:v>14056</c:v>
                </c:pt>
                <c:pt idx="2816">
                  <c:v>15694</c:v>
                </c:pt>
                <c:pt idx="2817">
                  <c:v>17107</c:v>
                </c:pt>
                <c:pt idx="2818">
                  <c:v>16988</c:v>
                </c:pt>
                <c:pt idx="2819">
                  <c:v>16932</c:v>
                </c:pt>
                <c:pt idx="2820">
                  <c:v>16870</c:v>
                </c:pt>
                <c:pt idx="2821">
                  <c:v>16692</c:v>
                </c:pt>
                <c:pt idx="2822">
                  <c:v>16364</c:v>
                </c:pt>
                <c:pt idx="2823">
                  <c:v>16086</c:v>
                </c:pt>
                <c:pt idx="2824">
                  <c:v>15837</c:v>
                </c:pt>
                <c:pt idx="2825">
                  <c:v>15642</c:v>
                </c:pt>
                <c:pt idx="2826">
                  <c:v>15585</c:v>
                </c:pt>
                <c:pt idx="2827">
                  <c:v>15619</c:v>
                </c:pt>
                <c:pt idx="2828">
                  <c:v>15340</c:v>
                </c:pt>
                <c:pt idx="2829">
                  <c:v>15415</c:v>
                </c:pt>
                <c:pt idx="2830">
                  <c:v>15572</c:v>
                </c:pt>
                <c:pt idx="2831">
                  <c:v>15547</c:v>
                </c:pt>
                <c:pt idx="2832">
                  <c:v>14715</c:v>
                </c:pt>
                <c:pt idx="2833">
                  <c:v>13731</c:v>
                </c:pt>
                <c:pt idx="2834">
                  <c:v>13012</c:v>
                </c:pt>
                <c:pt idx="2835">
                  <c:v>12755</c:v>
                </c:pt>
                <c:pt idx="2836">
                  <c:v>12744</c:v>
                </c:pt>
                <c:pt idx="2837">
                  <c:v>12806</c:v>
                </c:pt>
                <c:pt idx="2838">
                  <c:v>13041</c:v>
                </c:pt>
                <c:pt idx="2839">
                  <c:v>13508</c:v>
                </c:pt>
                <c:pt idx="2840">
                  <c:v>15220</c:v>
                </c:pt>
                <c:pt idx="2841">
                  <c:v>17015</c:v>
                </c:pt>
                <c:pt idx="2842">
                  <c:v>17171</c:v>
                </c:pt>
                <c:pt idx="2843">
                  <c:v>16852</c:v>
                </c:pt>
                <c:pt idx="2844">
                  <c:v>16739</c:v>
                </c:pt>
                <c:pt idx="2845">
                  <c:v>16676</c:v>
                </c:pt>
                <c:pt idx="2846">
                  <c:v>16547</c:v>
                </c:pt>
                <c:pt idx="2847">
                  <c:v>16488</c:v>
                </c:pt>
                <c:pt idx="2848">
                  <c:v>16299</c:v>
                </c:pt>
                <c:pt idx="2849">
                  <c:v>16156</c:v>
                </c:pt>
                <c:pt idx="2850">
                  <c:v>15964</c:v>
                </c:pt>
                <c:pt idx="2851">
                  <c:v>15898</c:v>
                </c:pt>
                <c:pt idx="2852">
                  <c:v>15842</c:v>
                </c:pt>
                <c:pt idx="2853">
                  <c:v>15822</c:v>
                </c:pt>
                <c:pt idx="2854">
                  <c:v>16187</c:v>
                </c:pt>
                <c:pt idx="2855">
                  <c:v>15816</c:v>
                </c:pt>
                <c:pt idx="2856">
                  <c:v>14962</c:v>
                </c:pt>
                <c:pt idx="2857">
                  <c:v>14053</c:v>
                </c:pt>
                <c:pt idx="2858">
                  <c:v>13386</c:v>
                </c:pt>
                <c:pt idx="2859">
                  <c:v>13190</c:v>
                </c:pt>
                <c:pt idx="2860">
                  <c:v>13090</c:v>
                </c:pt>
                <c:pt idx="2861">
                  <c:v>13041</c:v>
                </c:pt>
                <c:pt idx="2862">
                  <c:v>13260</c:v>
                </c:pt>
                <c:pt idx="2863">
                  <c:v>13727</c:v>
                </c:pt>
                <c:pt idx="2864">
                  <c:v>15294</c:v>
                </c:pt>
                <c:pt idx="2865">
                  <c:v>16974</c:v>
                </c:pt>
                <c:pt idx="2866">
                  <c:v>17330</c:v>
                </c:pt>
                <c:pt idx="2867">
                  <c:v>16808</c:v>
                </c:pt>
                <c:pt idx="2868">
                  <c:v>16585</c:v>
                </c:pt>
                <c:pt idx="2869">
                  <c:v>16612</c:v>
                </c:pt>
                <c:pt idx="2870">
                  <c:v>16615</c:v>
                </c:pt>
                <c:pt idx="2871">
                  <c:v>16250</c:v>
                </c:pt>
                <c:pt idx="2872">
                  <c:v>15953</c:v>
                </c:pt>
                <c:pt idx="2873">
                  <c:v>15803</c:v>
                </c:pt>
                <c:pt idx="2874">
                  <c:v>15606</c:v>
                </c:pt>
                <c:pt idx="2875">
                  <c:v>15678</c:v>
                </c:pt>
                <c:pt idx="2876">
                  <c:v>15344</c:v>
                </c:pt>
                <c:pt idx="2877">
                  <c:v>15056</c:v>
                </c:pt>
                <c:pt idx="2878">
                  <c:v>15040</c:v>
                </c:pt>
                <c:pt idx="2879">
                  <c:v>15032</c:v>
                </c:pt>
                <c:pt idx="2880">
                  <c:v>14391</c:v>
                </c:pt>
                <c:pt idx="2881">
                  <c:v>13607</c:v>
                </c:pt>
                <c:pt idx="2882">
                  <c:v>13172</c:v>
                </c:pt>
                <c:pt idx="2883">
                  <c:v>12880</c:v>
                </c:pt>
                <c:pt idx="2884">
                  <c:v>12759</c:v>
                </c:pt>
                <c:pt idx="2885">
                  <c:v>12639</c:v>
                </c:pt>
                <c:pt idx="2886">
                  <c:v>12601</c:v>
                </c:pt>
                <c:pt idx="2887">
                  <c:v>12436</c:v>
                </c:pt>
                <c:pt idx="2888">
                  <c:v>12781</c:v>
                </c:pt>
                <c:pt idx="2889">
                  <c:v>13255</c:v>
                </c:pt>
                <c:pt idx="2890">
                  <c:v>13951</c:v>
                </c:pt>
                <c:pt idx="2891">
                  <c:v>14482</c:v>
                </c:pt>
                <c:pt idx="2892">
                  <c:v>14800</c:v>
                </c:pt>
                <c:pt idx="2893">
                  <c:v>14894</c:v>
                </c:pt>
                <c:pt idx="2894">
                  <c:v>14815</c:v>
                </c:pt>
                <c:pt idx="2895">
                  <c:v>14737</c:v>
                </c:pt>
                <c:pt idx="2896">
                  <c:v>14573</c:v>
                </c:pt>
                <c:pt idx="2897">
                  <c:v>14399</c:v>
                </c:pt>
                <c:pt idx="2898">
                  <c:v>14366</c:v>
                </c:pt>
                <c:pt idx="2899">
                  <c:v>14623</c:v>
                </c:pt>
                <c:pt idx="2900">
                  <c:v>14425</c:v>
                </c:pt>
                <c:pt idx="2901">
                  <c:v>14252</c:v>
                </c:pt>
                <c:pt idx="2902">
                  <c:v>14086</c:v>
                </c:pt>
                <c:pt idx="2903">
                  <c:v>14108</c:v>
                </c:pt>
                <c:pt idx="2904">
                  <c:v>13486</c:v>
                </c:pt>
                <c:pt idx="2905">
                  <c:v>12860</c:v>
                </c:pt>
                <c:pt idx="2906">
                  <c:v>12435</c:v>
                </c:pt>
                <c:pt idx="2907">
                  <c:v>12321</c:v>
                </c:pt>
                <c:pt idx="2908">
                  <c:v>12223</c:v>
                </c:pt>
                <c:pt idx="2909">
                  <c:v>12337</c:v>
                </c:pt>
                <c:pt idx="2910">
                  <c:v>12438</c:v>
                </c:pt>
                <c:pt idx="2911">
                  <c:v>11995</c:v>
                </c:pt>
                <c:pt idx="2912">
                  <c:v>12709</c:v>
                </c:pt>
                <c:pt idx="2913">
                  <c:v>13287</c:v>
                </c:pt>
                <c:pt idx="2914">
                  <c:v>13853</c:v>
                </c:pt>
                <c:pt idx="2915">
                  <c:v>14498</c:v>
                </c:pt>
                <c:pt idx="2916">
                  <c:v>14651</c:v>
                </c:pt>
                <c:pt idx="2917">
                  <c:v>14705</c:v>
                </c:pt>
                <c:pt idx="2918">
                  <c:v>14653</c:v>
                </c:pt>
                <c:pt idx="2919">
                  <c:v>14397</c:v>
                </c:pt>
                <c:pt idx="2920">
                  <c:v>14360</c:v>
                </c:pt>
                <c:pt idx="2921">
                  <c:v>14246</c:v>
                </c:pt>
                <c:pt idx="2922">
                  <c:v>14272</c:v>
                </c:pt>
                <c:pt idx="2923">
                  <c:v>14509</c:v>
                </c:pt>
                <c:pt idx="2924">
                  <c:v>14538</c:v>
                </c:pt>
                <c:pt idx="2925">
                  <c:v>14435</c:v>
                </c:pt>
                <c:pt idx="2926">
                  <c:v>14312</c:v>
                </c:pt>
                <c:pt idx="2927">
                  <c:v>14421</c:v>
                </c:pt>
                <c:pt idx="2928">
                  <c:v>13975</c:v>
                </c:pt>
                <c:pt idx="2929">
                  <c:v>13378</c:v>
                </c:pt>
                <c:pt idx="2930">
                  <c:v>12801</c:v>
                </c:pt>
                <c:pt idx="2931">
                  <c:v>12574</c:v>
                </c:pt>
                <c:pt idx="2932">
                  <c:v>12493</c:v>
                </c:pt>
                <c:pt idx="2933">
                  <c:v>12553</c:v>
                </c:pt>
                <c:pt idx="2934">
                  <c:v>12590</c:v>
                </c:pt>
                <c:pt idx="2935">
                  <c:v>12350</c:v>
                </c:pt>
                <c:pt idx="2936">
                  <c:v>12529</c:v>
                </c:pt>
                <c:pt idx="2937">
                  <c:v>12527</c:v>
                </c:pt>
                <c:pt idx="2938">
                  <c:v>12810</c:v>
                </c:pt>
                <c:pt idx="2939">
                  <c:v>13113</c:v>
                </c:pt>
                <c:pt idx="2940">
                  <c:v>13186</c:v>
                </c:pt>
                <c:pt idx="2941">
                  <c:v>13400</c:v>
                </c:pt>
                <c:pt idx="2942">
                  <c:v>13902</c:v>
                </c:pt>
                <c:pt idx="2943">
                  <c:v>13624</c:v>
                </c:pt>
                <c:pt idx="2944">
                  <c:v>13312</c:v>
                </c:pt>
                <c:pt idx="2945">
                  <c:v>13186</c:v>
                </c:pt>
                <c:pt idx="2946">
                  <c:v>13199</c:v>
                </c:pt>
                <c:pt idx="2947">
                  <c:v>13333</c:v>
                </c:pt>
                <c:pt idx="2948">
                  <c:v>13521</c:v>
                </c:pt>
                <c:pt idx="2949">
                  <c:v>13546</c:v>
                </c:pt>
                <c:pt idx="2950">
                  <c:v>13491</c:v>
                </c:pt>
                <c:pt idx="2951">
                  <c:v>13518</c:v>
                </c:pt>
                <c:pt idx="2952">
                  <c:v>13155</c:v>
                </c:pt>
                <c:pt idx="2953">
                  <c:v>12715</c:v>
                </c:pt>
                <c:pt idx="2954">
                  <c:v>12523</c:v>
                </c:pt>
                <c:pt idx="2955">
                  <c:v>12421</c:v>
                </c:pt>
                <c:pt idx="2956">
                  <c:v>12386</c:v>
                </c:pt>
                <c:pt idx="2957">
                  <c:v>12554</c:v>
                </c:pt>
                <c:pt idx="2958">
                  <c:v>12587</c:v>
                </c:pt>
                <c:pt idx="2959">
                  <c:v>13279</c:v>
                </c:pt>
                <c:pt idx="2960">
                  <c:v>14759</c:v>
                </c:pt>
                <c:pt idx="2961">
                  <c:v>16605</c:v>
                </c:pt>
                <c:pt idx="2962">
                  <c:v>17001</c:v>
                </c:pt>
                <c:pt idx="2963">
                  <c:v>16947</c:v>
                </c:pt>
                <c:pt idx="2964">
                  <c:v>16968</c:v>
                </c:pt>
                <c:pt idx="2965">
                  <c:v>17045</c:v>
                </c:pt>
                <c:pt idx="2966">
                  <c:v>16806</c:v>
                </c:pt>
                <c:pt idx="2967">
                  <c:v>16680</c:v>
                </c:pt>
                <c:pt idx="2968">
                  <c:v>16715</c:v>
                </c:pt>
                <c:pt idx="2969">
                  <c:v>16664</c:v>
                </c:pt>
                <c:pt idx="2970">
                  <c:v>16509</c:v>
                </c:pt>
                <c:pt idx="2971">
                  <c:v>16603</c:v>
                </c:pt>
                <c:pt idx="2972">
                  <c:v>16455</c:v>
                </c:pt>
                <c:pt idx="2973">
                  <c:v>16284</c:v>
                </c:pt>
                <c:pt idx="2974">
                  <c:v>16215</c:v>
                </c:pt>
                <c:pt idx="2975">
                  <c:v>16141</c:v>
                </c:pt>
                <c:pt idx="2976">
                  <c:v>15020</c:v>
                </c:pt>
                <c:pt idx="2977">
                  <c:v>13868</c:v>
                </c:pt>
                <c:pt idx="2978">
                  <c:v>12964</c:v>
                </c:pt>
                <c:pt idx="2979">
                  <c:v>12622</c:v>
                </c:pt>
                <c:pt idx="2980">
                  <c:v>12431</c:v>
                </c:pt>
                <c:pt idx="2981">
                  <c:v>12413</c:v>
                </c:pt>
                <c:pt idx="2982">
                  <c:v>12406</c:v>
                </c:pt>
                <c:pt idx="2983">
                  <c:v>12739</c:v>
                </c:pt>
                <c:pt idx="2984">
                  <c:v>14432</c:v>
                </c:pt>
                <c:pt idx="2985">
                  <c:v>15949</c:v>
                </c:pt>
                <c:pt idx="2986">
                  <c:v>16528</c:v>
                </c:pt>
                <c:pt idx="2987">
                  <c:v>16584</c:v>
                </c:pt>
                <c:pt idx="2988">
                  <c:v>16379</c:v>
                </c:pt>
                <c:pt idx="2989">
                  <c:v>16348</c:v>
                </c:pt>
                <c:pt idx="2990">
                  <c:v>16034</c:v>
                </c:pt>
                <c:pt idx="2991">
                  <c:v>15684</c:v>
                </c:pt>
                <c:pt idx="2992">
                  <c:v>15613</c:v>
                </c:pt>
                <c:pt idx="2993">
                  <c:v>15724</c:v>
                </c:pt>
                <c:pt idx="2994">
                  <c:v>15521</c:v>
                </c:pt>
                <c:pt idx="2995">
                  <c:v>15876</c:v>
                </c:pt>
                <c:pt idx="2996">
                  <c:v>15663</c:v>
                </c:pt>
                <c:pt idx="2997">
                  <c:v>15617</c:v>
                </c:pt>
                <c:pt idx="2998">
                  <c:v>15625</c:v>
                </c:pt>
                <c:pt idx="2999">
                  <c:v>15264</c:v>
                </c:pt>
                <c:pt idx="3000">
                  <c:v>14121</c:v>
                </c:pt>
                <c:pt idx="3001">
                  <c:v>13148</c:v>
                </c:pt>
                <c:pt idx="3002">
                  <c:v>12420</c:v>
                </c:pt>
                <c:pt idx="3003">
                  <c:v>12190</c:v>
                </c:pt>
                <c:pt idx="3004">
                  <c:v>12173</c:v>
                </c:pt>
                <c:pt idx="3005">
                  <c:v>11968</c:v>
                </c:pt>
                <c:pt idx="3006">
                  <c:v>12069</c:v>
                </c:pt>
                <c:pt idx="3007">
                  <c:v>12284</c:v>
                </c:pt>
                <c:pt idx="3008">
                  <c:v>14335</c:v>
                </c:pt>
                <c:pt idx="3009">
                  <c:v>15922</c:v>
                </c:pt>
                <c:pt idx="3010">
                  <c:v>16444</c:v>
                </c:pt>
                <c:pt idx="3011">
                  <c:v>16360</c:v>
                </c:pt>
                <c:pt idx="3012">
                  <c:v>16403</c:v>
                </c:pt>
                <c:pt idx="3013">
                  <c:v>15978</c:v>
                </c:pt>
                <c:pt idx="3014">
                  <c:v>15833</c:v>
                </c:pt>
                <c:pt idx="3015">
                  <c:v>15560</c:v>
                </c:pt>
                <c:pt idx="3016">
                  <c:v>15265</c:v>
                </c:pt>
                <c:pt idx="3017">
                  <c:v>15297</c:v>
                </c:pt>
                <c:pt idx="3018">
                  <c:v>15100</c:v>
                </c:pt>
                <c:pt idx="3019">
                  <c:v>14983</c:v>
                </c:pt>
                <c:pt idx="3020">
                  <c:v>14750</c:v>
                </c:pt>
                <c:pt idx="3021">
                  <c:v>14821</c:v>
                </c:pt>
                <c:pt idx="3022">
                  <c:v>14413</c:v>
                </c:pt>
                <c:pt idx="3023">
                  <c:v>14273</c:v>
                </c:pt>
                <c:pt idx="3024">
                  <c:v>13638</c:v>
                </c:pt>
                <c:pt idx="3025">
                  <c:v>12717</c:v>
                </c:pt>
                <c:pt idx="3026">
                  <c:v>12185</c:v>
                </c:pt>
                <c:pt idx="3027">
                  <c:v>11634</c:v>
                </c:pt>
                <c:pt idx="3028">
                  <c:v>11697</c:v>
                </c:pt>
                <c:pt idx="3029">
                  <c:v>11761</c:v>
                </c:pt>
                <c:pt idx="3030">
                  <c:v>11769</c:v>
                </c:pt>
                <c:pt idx="3031">
                  <c:v>12147</c:v>
                </c:pt>
                <c:pt idx="3032">
                  <c:v>13708</c:v>
                </c:pt>
                <c:pt idx="3033">
                  <c:v>15398</c:v>
                </c:pt>
                <c:pt idx="3034">
                  <c:v>15689</c:v>
                </c:pt>
                <c:pt idx="3035">
                  <c:v>15665</c:v>
                </c:pt>
                <c:pt idx="3036">
                  <c:v>15699</c:v>
                </c:pt>
                <c:pt idx="3037">
                  <c:v>15467</c:v>
                </c:pt>
                <c:pt idx="3038">
                  <c:v>15580</c:v>
                </c:pt>
                <c:pt idx="3039">
                  <c:v>15670</c:v>
                </c:pt>
                <c:pt idx="3040">
                  <c:v>15369</c:v>
                </c:pt>
                <c:pt idx="3041">
                  <c:v>15475</c:v>
                </c:pt>
                <c:pt idx="3042">
                  <c:v>15182</c:v>
                </c:pt>
                <c:pt idx="3043">
                  <c:v>15177</c:v>
                </c:pt>
                <c:pt idx="3044">
                  <c:v>14893</c:v>
                </c:pt>
                <c:pt idx="3045">
                  <c:v>14668</c:v>
                </c:pt>
                <c:pt idx="3046">
                  <c:v>14823</c:v>
                </c:pt>
                <c:pt idx="3047">
                  <c:v>14689</c:v>
                </c:pt>
                <c:pt idx="3048">
                  <c:v>13733</c:v>
                </c:pt>
                <c:pt idx="3049">
                  <c:v>13269</c:v>
                </c:pt>
                <c:pt idx="3050">
                  <c:v>12515</c:v>
                </c:pt>
                <c:pt idx="3051">
                  <c:v>12067</c:v>
                </c:pt>
                <c:pt idx="3052">
                  <c:v>12043</c:v>
                </c:pt>
                <c:pt idx="3053">
                  <c:v>12093</c:v>
                </c:pt>
                <c:pt idx="3054">
                  <c:v>12244</c:v>
                </c:pt>
                <c:pt idx="3055">
                  <c:v>12588</c:v>
                </c:pt>
                <c:pt idx="3056">
                  <c:v>14199</c:v>
                </c:pt>
                <c:pt idx="3057">
                  <c:v>15879</c:v>
                </c:pt>
                <c:pt idx="3058">
                  <c:v>16361</c:v>
                </c:pt>
                <c:pt idx="3059">
                  <c:v>16184</c:v>
                </c:pt>
                <c:pt idx="3060">
                  <c:v>16119</c:v>
                </c:pt>
                <c:pt idx="3061">
                  <c:v>16300</c:v>
                </c:pt>
                <c:pt idx="3062">
                  <c:v>16122</c:v>
                </c:pt>
                <c:pt idx="3063">
                  <c:v>15275</c:v>
                </c:pt>
                <c:pt idx="3064">
                  <c:v>14792</c:v>
                </c:pt>
                <c:pt idx="3065">
                  <c:v>14543</c:v>
                </c:pt>
                <c:pt idx="3066">
                  <c:v>14059</c:v>
                </c:pt>
                <c:pt idx="3067">
                  <c:v>14470</c:v>
                </c:pt>
                <c:pt idx="3068">
                  <c:v>14064</c:v>
                </c:pt>
                <c:pt idx="3069">
                  <c:v>13834</c:v>
                </c:pt>
                <c:pt idx="3070">
                  <c:v>13660</c:v>
                </c:pt>
                <c:pt idx="3071">
                  <c:v>13870</c:v>
                </c:pt>
                <c:pt idx="3072">
                  <c:v>13495</c:v>
                </c:pt>
                <c:pt idx="3073">
                  <c:v>12959</c:v>
                </c:pt>
                <c:pt idx="3074">
                  <c:v>12458</c:v>
                </c:pt>
                <c:pt idx="3075">
                  <c:v>12236</c:v>
                </c:pt>
                <c:pt idx="3076">
                  <c:v>12180</c:v>
                </c:pt>
                <c:pt idx="3077">
                  <c:v>12144</c:v>
                </c:pt>
                <c:pt idx="3078">
                  <c:v>12059</c:v>
                </c:pt>
                <c:pt idx="3079">
                  <c:v>11786</c:v>
                </c:pt>
                <c:pt idx="3080">
                  <c:v>12215</c:v>
                </c:pt>
                <c:pt idx="3081">
                  <c:v>12772</c:v>
                </c:pt>
                <c:pt idx="3082">
                  <c:v>13451</c:v>
                </c:pt>
                <c:pt idx="3083">
                  <c:v>13855</c:v>
                </c:pt>
                <c:pt idx="3084">
                  <c:v>13861</c:v>
                </c:pt>
                <c:pt idx="3085">
                  <c:v>13597</c:v>
                </c:pt>
                <c:pt idx="3086">
                  <c:v>13617</c:v>
                </c:pt>
                <c:pt idx="3087">
                  <c:v>13474</c:v>
                </c:pt>
                <c:pt idx="3088">
                  <c:v>13309</c:v>
                </c:pt>
                <c:pt idx="3089">
                  <c:v>13322</c:v>
                </c:pt>
                <c:pt idx="3090">
                  <c:v>13424</c:v>
                </c:pt>
                <c:pt idx="3091">
                  <c:v>13641</c:v>
                </c:pt>
                <c:pt idx="3092">
                  <c:v>13690</c:v>
                </c:pt>
                <c:pt idx="3093">
                  <c:v>13660</c:v>
                </c:pt>
                <c:pt idx="3094">
                  <c:v>13367</c:v>
                </c:pt>
                <c:pt idx="3095">
                  <c:v>13298</c:v>
                </c:pt>
                <c:pt idx="3096">
                  <c:v>12849</c:v>
                </c:pt>
                <c:pt idx="3097">
                  <c:v>12425</c:v>
                </c:pt>
                <c:pt idx="3098">
                  <c:v>12269</c:v>
                </c:pt>
                <c:pt idx="3099">
                  <c:v>12130</c:v>
                </c:pt>
                <c:pt idx="3100">
                  <c:v>11763</c:v>
                </c:pt>
                <c:pt idx="3101">
                  <c:v>11620</c:v>
                </c:pt>
                <c:pt idx="3102">
                  <c:v>11385</c:v>
                </c:pt>
                <c:pt idx="3103">
                  <c:v>11358</c:v>
                </c:pt>
                <c:pt idx="3104">
                  <c:v>11793</c:v>
                </c:pt>
                <c:pt idx="3105">
                  <c:v>12472</c:v>
                </c:pt>
                <c:pt idx="3106">
                  <c:v>13066</c:v>
                </c:pt>
                <c:pt idx="3107">
                  <c:v>13220</c:v>
                </c:pt>
                <c:pt idx="3108">
                  <c:v>14109</c:v>
                </c:pt>
                <c:pt idx="3109">
                  <c:v>13984</c:v>
                </c:pt>
                <c:pt idx="3110">
                  <c:v>14175</c:v>
                </c:pt>
                <c:pt idx="3111">
                  <c:v>14296</c:v>
                </c:pt>
                <c:pt idx="3112">
                  <c:v>14281</c:v>
                </c:pt>
                <c:pt idx="3113">
                  <c:v>14184</c:v>
                </c:pt>
                <c:pt idx="3114">
                  <c:v>14268</c:v>
                </c:pt>
                <c:pt idx="3115">
                  <c:v>14449</c:v>
                </c:pt>
                <c:pt idx="3116">
                  <c:v>14475</c:v>
                </c:pt>
                <c:pt idx="3117">
                  <c:v>14886</c:v>
                </c:pt>
                <c:pt idx="3118">
                  <c:v>14823</c:v>
                </c:pt>
                <c:pt idx="3119">
                  <c:v>14899</c:v>
                </c:pt>
                <c:pt idx="3120">
                  <c:v>14489</c:v>
                </c:pt>
                <c:pt idx="3121">
                  <c:v>13523</c:v>
                </c:pt>
                <c:pt idx="3122">
                  <c:v>12727</c:v>
                </c:pt>
                <c:pt idx="3123">
                  <c:v>12524</c:v>
                </c:pt>
                <c:pt idx="3124">
                  <c:v>12532</c:v>
                </c:pt>
                <c:pt idx="3125">
                  <c:v>12917</c:v>
                </c:pt>
                <c:pt idx="3126">
                  <c:v>12904</c:v>
                </c:pt>
                <c:pt idx="3127">
                  <c:v>13423</c:v>
                </c:pt>
                <c:pt idx="3128">
                  <c:v>14635</c:v>
                </c:pt>
                <c:pt idx="3129">
                  <c:v>16095</c:v>
                </c:pt>
                <c:pt idx="3130">
                  <c:v>16185</c:v>
                </c:pt>
                <c:pt idx="3131">
                  <c:v>15685</c:v>
                </c:pt>
                <c:pt idx="3132">
                  <c:v>15660</c:v>
                </c:pt>
                <c:pt idx="3133">
                  <c:v>15388</c:v>
                </c:pt>
                <c:pt idx="3134">
                  <c:v>15300</c:v>
                </c:pt>
                <c:pt idx="3135">
                  <c:v>15302</c:v>
                </c:pt>
                <c:pt idx="3136">
                  <c:v>15038</c:v>
                </c:pt>
                <c:pt idx="3137">
                  <c:v>14961</c:v>
                </c:pt>
                <c:pt idx="3138">
                  <c:v>14741</c:v>
                </c:pt>
                <c:pt idx="3139">
                  <c:v>14707</c:v>
                </c:pt>
                <c:pt idx="3140">
                  <c:v>14533</c:v>
                </c:pt>
                <c:pt idx="3141">
                  <c:v>14569</c:v>
                </c:pt>
                <c:pt idx="3142">
                  <c:v>14489</c:v>
                </c:pt>
                <c:pt idx="3143">
                  <c:v>14326</c:v>
                </c:pt>
                <c:pt idx="3144">
                  <c:v>13509</c:v>
                </c:pt>
                <c:pt idx="3145">
                  <c:v>12593</c:v>
                </c:pt>
                <c:pt idx="3146">
                  <c:v>12100</c:v>
                </c:pt>
                <c:pt idx="3147">
                  <c:v>11967</c:v>
                </c:pt>
                <c:pt idx="3148">
                  <c:v>11985</c:v>
                </c:pt>
                <c:pt idx="3149">
                  <c:v>11902</c:v>
                </c:pt>
                <c:pt idx="3150">
                  <c:v>12070</c:v>
                </c:pt>
                <c:pt idx="3151">
                  <c:v>12509</c:v>
                </c:pt>
                <c:pt idx="3152">
                  <c:v>13963</c:v>
                </c:pt>
                <c:pt idx="3153">
                  <c:v>15647</c:v>
                </c:pt>
                <c:pt idx="3154">
                  <c:v>16074</c:v>
                </c:pt>
                <c:pt idx="3155">
                  <c:v>16150</c:v>
                </c:pt>
                <c:pt idx="3156">
                  <c:v>16269</c:v>
                </c:pt>
                <c:pt idx="3157">
                  <c:v>16280</c:v>
                </c:pt>
                <c:pt idx="3158">
                  <c:v>16097</c:v>
                </c:pt>
                <c:pt idx="3159">
                  <c:v>16069</c:v>
                </c:pt>
                <c:pt idx="3160">
                  <c:v>15873</c:v>
                </c:pt>
                <c:pt idx="3161">
                  <c:v>16080</c:v>
                </c:pt>
                <c:pt idx="3162">
                  <c:v>16034</c:v>
                </c:pt>
                <c:pt idx="3163">
                  <c:v>15842</c:v>
                </c:pt>
                <c:pt idx="3164">
                  <c:v>15688</c:v>
                </c:pt>
                <c:pt idx="3165">
                  <c:v>15496</c:v>
                </c:pt>
                <c:pt idx="3166">
                  <c:v>15072</c:v>
                </c:pt>
                <c:pt idx="3167">
                  <c:v>14828</c:v>
                </c:pt>
                <c:pt idx="3168">
                  <c:v>14136</c:v>
                </c:pt>
                <c:pt idx="3169">
                  <c:v>13189</c:v>
                </c:pt>
                <c:pt idx="3170">
                  <c:v>12750</c:v>
                </c:pt>
                <c:pt idx="3171">
                  <c:v>12369</c:v>
                </c:pt>
                <c:pt idx="3172">
                  <c:v>12207</c:v>
                </c:pt>
                <c:pt idx="3173">
                  <c:v>12309</c:v>
                </c:pt>
                <c:pt idx="3174">
                  <c:v>12260</c:v>
                </c:pt>
                <c:pt idx="3175">
                  <c:v>12800</c:v>
                </c:pt>
                <c:pt idx="3176">
                  <c:v>14319</c:v>
                </c:pt>
                <c:pt idx="3177">
                  <c:v>15908</c:v>
                </c:pt>
                <c:pt idx="3178">
                  <c:v>16597</c:v>
                </c:pt>
                <c:pt idx="3179">
                  <c:v>16460</c:v>
                </c:pt>
                <c:pt idx="3180">
                  <c:v>16337</c:v>
                </c:pt>
                <c:pt idx="3181">
                  <c:v>16122</c:v>
                </c:pt>
                <c:pt idx="3182">
                  <c:v>16123</c:v>
                </c:pt>
                <c:pt idx="3183">
                  <c:v>16116</c:v>
                </c:pt>
                <c:pt idx="3184">
                  <c:v>15970</c:v>
                </c:pt>
                <c:pt idx="3185">
                  <c:v>15567</c:v>
                </c:pt>
                <c:pt idx="3186">
                  <c:v>15191</c:v>
                </c:pt>
                <c:pt idx="3187">
                  <c:v>15371</c:v>
                </c:pt>
                <c:pt idx="3188">
                  <c:v>15543</c:v>
                </c:pt>
                <c:pt idx="3189">
                  <c:v>15382</c:v>
                </c:pt>
                <c:pt idx="3190">
                  <c:v>15059</c:v>
                </c:pt>
                <c:pt idx="3191">
                  <c:v>14837</c:v>
                </c:pt>
                <c:pt idx="3192">
                  <c:v>14273</c:v>
                </c:pt>
                <c:pt idx="3193">
                  <c:v>13356</c:v>
                </c:pt>
                <c:pt idx="3194">
                  <c:v>12599</c:v>
                </c:pt>
                <c:pt idx="3195">
                  <c:v>12175</c:v>
                </c:pt>
                <c:pt idx="3196">
                  <c:v>12154</c:v>
                </c:pt>
                <c:pt idx="3197">
                  <c:v>12309</c:v>
                </c:pt>
                <c:pt idx="3198">
                  <c:v>12167</c:v>
                </c:pt>
                <c:pt idx="3199">
                  <c:v>12234</c:v>
                </c:pt>
                <c:pt idx="3200">
                  <c:v>12486</c:v>
                </c:pt>
                <c:pt idx="3201">
                  <c:v>13135</c:v>
                </c:pt>
                <c:pt idx="3202">
                  <c:v>13731</c:v>
                </c:pt>
                <c:pt idx="3203">
                  <c:v>14244</c:v>
                </c:pt>
                <c:pt idx="3204">
                  <c:v>14445</c:v>
                </c:pt>
                <c:pt idx="3205">
                  <c:v>14436</c:v>
                </c:pt>
                <c:pt idx="3206">
                  <c:v>14321</c:v>
                </c:pt>
                <c:pt idx="3207">
                  <c:v>13974</c:v>
                </c:pt>
                <c:pt idx="3208">
                  <c:v>13718</c:v>
                </c:pt>
                <c:pt idx="3209">
                  <c:v>13829</c:v>
                </c:pt>
                <c:pt idx="3210">
                  <c:v>13835</c:v>
                </c:pt>
                <c:pt idx="3211">
                  <c:v>14337</c:v>
                </c:pt>
                <c:pt idx="3212">
                  <c:v>14278</c:v>
                </c:pt>
                <c:pt idx="3213">
                  <c:v>14250</c:v>
                </c:pt>
                <c:pt idx="3214">
                  <c:v>14244</c:v>
                </c:pt>
                <c:pt idx="3215">
                  <c:v>14269</c:v>
                </c:pt>
                <c:pt idx="3216">
                  <c:v>14027</c:v>
                </c:pt>
                <c:pt idx="3217">
                  <c:v>13429</c:v>
                </c:pt>
                <c:pt idx="3218">
                  <c:v>12659</c:v>
                </c:pt>
                <c:pt idx="3219">
                  <c:v>12363</c:v>
                </c:pt>
                <c:pt idx="3220">
                  <c:v>12229</c:v>
                </c:pt>
                <c:pt idx="3221">
                  <c:v>12312</c:v>
                </c:pt>
                <c:pt idx="3222">
                  <c:v>12178</c:v>
                </c:pt>
                <c:pt idx="3223">
                  <c:v>12346</c:v>
                </c:pt>
                <c:pt idx="3224">
                  <c:v>13648</c:v>
                </c:pt>
                <c:pt idx="3225">
                  <c:v>14657</c:v>
                </c:pt>
                <c:pt idx="3226">
                  <c:v>15390</c:v>
                </c:pt>
                <c:pt idx="3227">
                  <c:v>15710</c:v>
                </c:pt>
                <c:pt idx="3228">
                  <c:v>15361</c:v>
                </c:pt>
                <c:pt idx="3229">
                  <c:v>15385</c:v>
                </c:pt>
                <c:pt idx="3230">
                  <c:v>15246</c:v>
                </c:pt>
                <c:pt idx="3231">
                  <c:v>15104</c:v>
                </c:pt>
                <c:pt idx="3232">
                  <c:v>15096</c:v>
                </c:pt>
                <c:pt idx="3233">
                  <c:v>15088</c:v>
                </c:pt>
                <c:pt idx="3234">
                  <c:v>14950</c:v>
                </c:pt>
                <c:pt idx="3235">
                  <c:v>15085</c:v>
                </c:pt>
                <c:pt idx="3236">
                  <c:v>14768</c:v>
                </c:pt>
                <c:pt idx="3237">
                  <c:v>14512</c:v>
                </c:pt>
                <c:pt idx="3238">
                  <c:v>14048</c:v>
                </c:pt>
                <c:pt idx="3239">
                  <c:v>13922</c:v>
                </c:pt>
                <c:pt idx="3240">
                  <c:v>13911</c:v>
                </c:pt>
                <c:pt idx="3241">
                  <c:v>13363</c:v>
                </c:pt>
                <c:pt idx="3242">
                  <c:v>12760</c:v>
                </c:pt>
                <c:pt idx="3243">
                  <c:v>12545</c:v>
                </c:pt>
                <c:pt idx="3244">
                  <c:v>12513</c:v>
                </c:pt>
                <c:pt idx="3245">
                  <c:v>12433</c:v>
                </c:pt>
                <c:pt idx="3246">
                  <c:v>12234</c:v>
                </c:pt>
                <c:pt idx="3247">
                  <c:v>12013</c:v>
                </c:pt>
                <c:pt idx="3248">
                  <c:v>12157</c:v>
                </c:pt>
                <c:pt idx="3249">
                  <c:v>12643</c:v>
                </c:pt>
                <c:pt idx="3250">
                  <c:v>13204</c:v>
                </c:pt>
                <c:pt idx="3251">
                  <c:v>13672</c:v>
                </c:pt>
                <c:pt idx="3252">
                  <c:v>13762</c:v>
                </c:pt>
                <c:pt idx="3253">
                  <c:v>13799</c:v>
                </c:pt>
                <c:pt idx="3254">
                  <c:v>13696</c:v>
                </c:pt>
                <c:pt idx="3255">
                  <c:v>13507</c:v>
                </c:pt>
                <c:pt idx="3256">
                  <c:v>13395</c:v>
                </c:pt>
                <c:pt idx="3257">
                  <c:v>13468</c:v>
                </c:pt>
                <c:pt idx="3258">
                  <c:v>13396</c:v>
                </c:pt>
                <c:pt idx="3259">
                  <c:v>13981</c:v>
                </c:pt>
                <c:pt idx="3260">
                  <c:v>13768</c:v>
                </c:pt>
                <c:pt idx="3261">
                  <c:v>13897</c:v>
                </c:pt>
                <c:pt idx="3262">
                  <c:v>13619</c:v>
                </c:pt>
                <c:pt idx="3263">
                  <c:v>13702</c:v>
                </c:pt>
                <c:pt idx="3264">
                  <c:v>13440</c:v>
                </c:pt>
                <c:pt idx="3265">
                  <c:v>12744</c:v>
                </c:pt>
                <c:pt idx="3266">
                  <c:v>12175</c:v>
                </c:pt>
                <c:pt idx="3267">
                  <c:v>11867</c:v>
                </c:pt>
                <c:pt idx="3268">
                  <c:v>12215</c:v>
                </c:pt>
                <c:pt idx="3269">
                  <c:v>12147</c:v>
                </c:pt>
                <c:pt idx="3270">
                  <c:v>12078</c:v>
                </c:pt>
                <c:pt idx="3271">
                  <c:v>11891</c:v>
                </c:pt>
                <c:pt idx="3272">
                  <c:v>12061</c:v>
                </c:pt>
                <c:pt idx="3273">
                  <c:v>12685</c:v>
                </c:pt>
                <c:pt idx="3274">
                  <c:v>13300</c:v>
                </c:pt>
                <c:pt idx="3275">
                  <c:v>13769</c:v>
                </c:pt>
                <c:pt idx="3276">
                  <c:v>14290</c:v>
                </c:pt>
                <c:pt idx="3277">
                  <c:v>14567</c:v>
                </c:pt>
                <c:pt idx="3278">
                  <c:v>14502</c:v>
                </c:pt>
                <c:pt idx="3279">
                  <c:v>14357</c:v>
                </c:pt>
                <c:pt idx="3280">
                  <c:v>14246</c:v>
                </c:pt>
                <c:pt idx="3281">
                  <c:v>14329</c:v>
                </c:pt>
                <c:pt idx="3282">
                  <c:v>14580</c:v>
                </c:pt>
                <c:pt idx="3283">
                  <c:v>14872</c:v>
                </c:pt>
                <c:pt idx="3284">
                  <c:v>14747</c:v>
                </c:pt>
                <c:pt idx="3285">
                  <c:v>14915</c:v>
                </c:pt>
                <c:pt idx="3286">
                  <c:v>14933</c:v>
                </c:pt>
                <c:pt idx="3287">
                  <c:v>14788</c:v>
                </c:pt>
                <c:pt idx="3288">
                  <c:v>14361</c:v>
                </c:pt>
                <c:pt idx="3289">
                  <c:v>13575</c:v>
                </c:pt>
                <c:pt idx="3290">
                  <c:v>12825</c:v>
                </c:pt>
                <c:pt idx="3291">
                  <c:v>12527</c:v>
                </c:pt>
                <c:pt idx="3292">
                  <c:v>12492</c:v>
                </c:pt>
                <c:pt idx="3293">
                  <c:v>12467</c:v>
                </c:pt>
                <c:pt idx="3294">
                  <c:v>12370</c:v>
                </c:pt>
                <c:pt idx="3295">
                  <c:v>12873</c:v>
                </c:pt>
                <c:pt idx="3296">
                  <c:v>14915</c:v>
                </c:pt>
                <c:pt idx="3297">
                  <c:v>16388</c:v>
                </c:pt>
                <c:pt idx="3298">
                  <c:v>16716</c:v>
                </c:pt>
                <c:pt idx="3299">
                  <c:v>16612</c:v>
                </c:pt>
                <c:pt idx="3300">
                  <c:v>16512</c:v>
                </c:pt>
                <c:pt idx="3301">
                  <c:v>16454</c:v>
                </c:pt>
                <c:pt idx="3302">
                  <c:v>16297</c:v>
                </c:pt>
                <c:pt idx="3303">
                  <c:v>16097</c:v>
                </c:pt>
                <c:pt idx="3304">
                  <c:v>15801</c:v>
                </c:pt>
                <c:pt idx="3305">
                  <c:v>15548</c:v>
                </c:pt>
                <c:pt idx="3306">
                  <c:v>15429</c:v>
                </c:pt>
                <c:pt idx="3307">
                  <c:v>15427</c:v>
                </c:pt>
                <c:pt idx="3308">
                  <c:v>15343</c:v>
                </c:pt>
                <c:pt idx="3309">
                  <c:v>15114</c:v>
                </c:pt>
                <c:pt idx="3310">
                  <c:v>14894</c:v>
                </c:pt>
                <c:pt idx="3311">
                  <c:v>14462</c:v>
                </c:pt>
                <c:pt idx="3312">
                  <c:v>13911</c:v>
                </c:pt>
                <c:pt idx="3313">
                  <c:v>13015</c:v>
                </c:pt>
                <c:pt idx="3314">
                  <c:v>12554</c:v>
                </c:pt>
                <c:pt idx="3315">
                  <c:v>12275</c:v>
                </c:pt>
                <c:pt idx="3316">
                  <c:v>12303</c:v>
                </c:pt>
                <c:pt idx="3317">
                  <c:v>12355</c:v>
                </c:pt>
                <c:pt idx="3318">
                  <c:v>12409</c:v>
                </c:pt>
                <c:pt idx="3319">
                  <c:v>12667</c:v>
                </c:pt>
                <c:pt idx="3320">
                  <c:v>14169</c:v>
                </c:pt>
                <c:pt idx="3321">
                  <c:v>16122</c:v>
                </c:pt>
                <c:pt idx="3322">
                  <c:v>16372</c:v>
                </c:pt>
                <c:pt idx="3323">
                  <c:v>16574</c:v>
                </c:pt>
                <c:pt idx="3324">
                  <c:v>16934</c:v>
                </c:pt>
                <c:pt idx="3325">
                  <c:v>16762</c:v>
                </c:pt>
                <c:pt idx="3326">
                  <c:v>16561</c:v>
                </c:pt>
                <c:pt idx="3327">
                  <c:v>16375</c:v>
                </c:pt>
                <c:pt idx="3328">
                  <c:v>16420</c:v>
                </c:pt>
                <c:pt idx="3329">
                  <c:v>16028</c:v>
                </c:pt>
                <c:pt idx="3330">
                  <c:v>15815</c:v>
                </c:pt>
                <c:pt idx="3331">
                  <c:v>15923</c:v>
                </c:pt>
                <c:pt idx="3332">
                  <c:v>15618</c:v>
                </c:pt>
                <c:pt idx="3333">
                  <c:v>15565</c:v>
                </c:pt>
                <c:pt idx="3334">
                  <c:v>15047</c:v>
                </c:pt>
                <c:pt idx="3335">
                  <c:v>14893</c:v>
                </c:pt>
                <c:pt idx="3336">
                  <c:v>14402</c:v>
                </c:pt>
                <c:pt idx="3337">
                  <c:v>13389</c:v>
                </c:pt>
                <c:pt idx="3338">
                  <c:v>12717</c:v>
                </c:pt>
                <c:pt idx="3339">
                  <c:v>12683</c:v>
                </c:pt>
                <c:pt idx="3340">
                  <c:v>12781</c:v>
                </c:pt>
                <c:pt idx="3341">
                  <c:v>12566</c:v>
                </c:pt>
                <c:pt idx="3342">
                  <c:v>12567</c:v>
                </c:pt>
                <c:pt idx="3343">
                  <c:v>13096</c:v>
                </c:pt>
                <c:pt idx="3344">
                  <c:v>14400</c:v>
                </c:pt>
                <c:pt idx="3345">
                  <c:v>16203</c:v>
                </c:pt>
                <c:pt idx="3346">
                  <c:v>16338</c:v>
                </c:pt>
                <c:pt idx="3347">
                  <c:v>16194</c:v>
                </c:pt>
                <c:pt idx="3348">
                  <c:v>16041</c:v>
                </c:pt>
                <c:pt idx="3349">
                  <c:v>15999</c:v>
                </c:pt>
                <c:pt idx="3350">
                  <c:v>15861</c:v>
                </c:pt>
                <c:pt idx="3351">
                  <c:v>15747</c:v>
                </c:pt>
                <c:pt idx="3352">
                  <c:v>15591</c:v>
                </c:pt>
                <c:pt idx="3353">
                  <c:v>15563</c:v>
                </c:pt>
                <c:pt idx="3354">
                  <c:v>15295</c:v>
                </c:pt>
                <c:pt idx="3355">
                  <c:v>15454</c:v>
                </c:pt>
                <c:pt idx="3356">
                  <c:v>15158</c:v>
                </c:pt>
                <c:pt idx="3357">
                  <c:v>14957</c:v>
                </c:pt>
                <c:pt idx="3358">
                  <c:v>14746</c:v>
                </c:pt>
                <c:pt idx="3359">
                  <c:v>14757</c:v>
                </c:pt>
                <c:pt idx="3360">
                  <c:v>14407</c:v>
                </c:pt>
                <c:pt idx="3361">
                  <c:v>13422</c:v>
                </c:pt>
                <c:pt idx="3362">
                  <c:v>12787</c:v>
                </c:pt>
                <c:pt idx="3363">
                  <c:v>12658</c:v>
                </c:pt>
                <c:pt idx="3364">
                  <c:v>12508</c:v>
                </c:pt>
                <c:pt idx="3365">
                  <c:v>12533</c:v>
                </c:pt>
                <c:pt idx="3366">
                  <c:v>12549</c:v>
                </c:pt>
                <c:pt idx="3367">
                  <c:v>12847</c:v>
                </c:pt>
                <c:pt idx="3368">
                  <c:v>14206</c:v>
                </c:pt>
                <c:pt idx="3369">
                  <c:v>15824</c:v>
                </c:pt>
                <c:pt idx="3370">
                  <c:v>16067</c:v>
                </c:pt>
                <c:pt idx="3371">
                  <c:v>15807</c:v>
                </c:pt>
                <c:pt idx="3372">
                  <c:v>15720</c:v>
                </c:pt>
                <c:pt idx="3373">
                  <c:v>15757</c:v>
                </c:pt>
                <c:pt idx="3374">
                  <c:v>15509</c:v>
                </c:pt>
                <c:pt idx="3375">
                  <c:v>15135</c:v>
                </c:pt>
                <c:pt idx="3376">
                  <c:v>15193</c:v>
                </c:pt>
                <c:pt idx="3377">
                  <c:v>14999</c:v>
                </c:pt>
                <c:pt idx="3378">
                  <c:v>14418</c:v>
                </c:pt>
                <c:pt idx="3379">
                  <c:v>14590</c:v>
                </c:pt>
                <c:pt idx="3380">
                  <c:v>14350</c:v>
                </c:pt>
                <c:pt idx="3381">
                  <c:v>14165</c:v>
                </c:pt>
                <c:pt idx="3382">
                  <c:v>14069</c:v>
                </c:pt>
                <c:pt idx="3383">
                  <c:v>13600</c:v>
                </c:pt>
                <c:pt idx="3384">
                  <c:v>12991</c:v>
                </c:pt>
                <c:pt idx="3385">
                  <c:v>12496</c:v>
                </c:pt>
                <c:pt idx="3386">
                  <c:v>12124</c:v>
                </c:pt>
                <c:pt idx="3387">
                  <c:v>11918</c:v>
                </c:pt>
                <c:pt idx="3388">
                  <c:v>11853</c:v>
                </c:pt>
                <c:pt idx="3389">
                  <c:v>11969</c:v>
                </c:pt>
                <c:pt idx="3390">
                  <c:v>11763</c:v>
                </c:pt>
                <c:pt idx="3391">
                  <c:v>12028</c:v>
                </c:pt>
                <c:pt idx="3392">
                  <c:v>13503</c:v>
                </c:pt>
                <c:pt idx="3393">
                  <c:v>15075</c:v>
                </c:pt>
                <c:pt idx="3394">
                  <c:v>15313</c:v>
                </c:pt>
                <c:pt idx="3395">
                  <c:v>15307</c:v>
                </c:pt>
                <c:pt idx="3396">
                  <c:v>15541</c:v>
                </c:pt>
                <c:pt idx="3397">
                  <c:v>15339</c:v>
                </c:pt>
                <c:pt idx="3398">
                  <c:v>15332</c:v>
                </c:pt>
                <c:pt idx="3399">
                  <c:v>15136</c:v>
                </c:pt>
                <c:pt idx="3400">
                  <c:v>14902</c:v>
                </c:pt>
                <c:pt idx="3401">
                  <c:v>14583</c:v>
                </c:pt>
                <c:pt idx="3402">
                  <c:v>14341</c:v>
                </c:pt>
                <c:pt idx="3403">
                  <c:v>14581</c:v>
                </c:pt>
                <c:pt idx="3404">
                  <c:v>14226</c:v>
                </c:pt>
                <c:pt idx="3405">
                  <c:v>13974</c:v>
                </c:pt>
                <c:pt idx="3406">
                  <c:v>13659</c:v>
                </c:pt>
                <c:pt idx="3407">
                  <c:v>13355</c:v>
                </c:pt>
                <c:pt idx="3408">
                  <c:v>12825</c:v>
                </c:pt>
                <c:pt idx="3409">
                  <c:v>12101</c:v>
                </c:pt>
                <c:pt idx="3410">
                  <c:v>11597</c:v>
                </c:pt>
                <c:pt idx="3411">
                  <c:v>11391</c:v>
                </c:pt>
                <c:pt idx="3412">
                  <c:v>11208</c:v>
                </c:pt>
                <c:pt idx="3413">
                  <c:v>11020</c:v>
                </c:pt>
                <c:pt idx="3414">
                  <c:v>10617</c:v>
                </c:pt>
                <c:pt idx="3415">
                  <c:v>10469</c:v>
                </c:pt>
                <c:pt idx="3416">
                  <c:v>10867</c:v>
                </c:pt>
                <c:pt idx="3417">
                  <c:v>11298</c:v>
                </c:pt>
                <c:pt idx="3418">
                  <c:v>11811</c:v>
                </c:pt>
                <c:pt idx="3419">
                  <c:v>12280</c:v>
                </c:pt>
                <c:pt idx="3420">
                  <c:v>12729</c:v>
                </c:pt>
                <c:pt idx="3421">
                  <c:v>12891</c:v>
                </c:pt>
                <c:pt idx="3422">
                  <c:v>13108</c:v>
                </c:pt>
                <c:pt idx="3423">
                  <c:v>12873</c:v>
                </c:pt>
                <c:pt idx="3424">
                  <c:v>12683</c:v>
                </c:pt>
                <c:pt idx="3425">
                  <c:v>12593</c:v>
                </c:pt>
                <c:pt idx="3426">
                  <c:v>12475</c:v>
                </c:pt>
                <c:pt idx="3427">
                  <c:v>12640</c:v>
                </c:pt>
                <c:pt idx="3428">
                  <c:v>13082</c:v>
                </c:pt>
                <c:pt idx="3429">
                  <c:v>12922</c:v>
                </c:pt>
                <c:pt idx="3430">
                  <c:v>12685</c:v>
                </c:pt>
                <c:pt idx="3431">
                  <c:v>12528</c:v>
                </c:pt>
                <c:pt idx="3432">
                  <c:v>12533</c:v>
                </c:pt>
                <c:pt idx="3433">
                  <c:v>11755</c:v>
                </c:pt>
                <c:pt idx="3434">
                  <c:v>11419</c:v>
                </c:pt>
                <c:pt idx="3435">
                  <c:v>11315</c:v>
                </c:pt>
                <c:pt idx="3436">
                  <c:v>11202</c:v>
                </c:pt>
                <c:pt idx="3437">
                  <c:v>11039</c:v>
                </c:pt>
                <c:pt idx="3438">
                  <c:v>10871</c:v>
                </c:pt>
                <c:pt idx="3439">
                  <c:v>10836</c:v>
                </c:pt>
                <c:pt idx="3440">
                  <c:v>11024</c:v>
                </c:pt>
                <c:pt idx="3441">
                  <c:v>11328</c:v>
                </c:pt>
                <c:pt idx="3442">
                  <c:v>11834</c:v>
                </c:pt>
                <c:pt idx="3443">
                  <c:v>12439</c:v>
                </c:pt>
                <c:pt idx="3444">
                  <c:v>12760</c:v>
                </c:pt>
                <c:pt idx="3445">
                  <c:v>12848</c:v>
                </c:pt>
                <c:pt idx="3446">
                  <c:v>12654</c:v>
                </c:pt>
                <c:pt idx="3447">
                  <c:v>12484</c:v>
                </c:pt>
                <c:pt idx="3448">
                  <c:v>12148</c:v>
                </c:pt>
                <c:pt idx="3449">
                  <c:v>12189</c:v>
                </c:pt>
                <c:pt idx="3450">
                  <c:v>12300</c:v>
                </c:pt>
                <c:pt idx="3451">
                  <c:v>12568</c:v>
                </c:pt>
                <c:pt idx="3452">
                  <c:v>12886</c:v>
                </c:pt>
                <c:pt idx="3453">
                  <c:v>13108</c:v>
                </c:pt>
                <c:pt idx="3454">
                  <c:v>12993</c:v>
                </c:pt>
                <c:pt idx="3455">
                  <c:v>12735</c:v>
                </c:pt>
                <c:pt idx="3456">
                  <c:v>12418</c:v>
                </c:pt>
                <c:pt idx="3457">
                  <c:v>11750</c:v>
                </c:pt>
                <c:pt idx="3458">
                  <c:v>11247</c:v>
                </c:pt>
                <c:pt idx="3459">
                  <c:v>11082</c:v>
                </c:pt>
                <c:pt idx="3460">
                  <c:v>11105</c:v>
                </c:pt>
                <c:pt idx="3461">
                  <c:v>11127</c:v>
                </c:pt>
                <c:pt idx="3462">
                  <c:v>11119</c:v>
                </c:pt>
                <c:pt idx="3463">
                  <c:v>11636</c:v>
                </c:pt>
                <c:pt idx="3464">
                  <c:v>13449</c:v>
                </c:pt>
                <c:pt idx="3465">
                  <c:v>15424</c:v>
                </c:pt>
                <c:pt idx="3466">
                  <c:v>15746</c:v>
                </c:pt>
                <c:pt idx="3467">
                  <c:v>15944</c:v>
                </c:pt>
                <c:pt idx="3468">
                  <c:v>16049</c:v>
                </c:pt>
                <c:pt idx="3469">
                  <c:v>16187</c:v>
                </c:pt>
                <c:pt idx="3470">
                  <c:v>15944</c:v>
                </c:pt>
                <c:pt idx="3471">
                  <c:v>15775</c:v>
                </c:pt>
                <c:pt idx="3472">
                  <c:v>15730</c:v>
                </c:pt>
                <c:pt idx="3473">
                  <c:v>15593</c:v>
                </c:pt>
                <c:pt idx="3474">
                  <c:v>15376</c:v>
                </c:pt>
                <c:pt idx="3475">
                  <c:v>15429</c:v>
                </c:pt>
                <c:pt idx="3476">
                  <c:v>15213</c:v>
                </c:pt>
                <c:pt idx="3477">
                  <c:v>15071</c:v>
                </c:pt>
                <c:pt idx="3478">
                  <c:v>14533</c:v>
                </c:pt>
                <c:pt idx="3479">
                  <c:v>14303</c:v>
                </c:pt>
                <c:pt idx="3480">
                  <c:v>13767</c:v>
                </c:pt>
                <c:pt idx="3481">
                  <c:v>13050</c:v>
                </c:pt>
                <c:pt idx="3482">
                  <c:v>12616</c:v>
                </c:pt>
                <c:pt idx="3483">
                  <c:v>12265</c:v>
                </c:pt>
                <c:pt idx="3484">
                  <c:v>12087</c:v>
                </c:pt>
                <c:pt idx="3485">
                  <c:v>12105</c:v>
                </c:pt>
                <c:pt idx="3486">
                  <c:v>11876</c:v>
                </c:pt>
                <c:pt idx="3487">
                  <c:v>12284</c:v>
                </c:pt>
                <c:pt idx="3488">
                  <c:v>14002</c:v>
                </c:pt>
                <c:pt idx="3489">
                  <c:v>15663</c:v>
                </c:pt>
                <c:pt idx="3490">
                  <c:v>15997</c:v>
                </c:pt>
                <c:pt idx="3491">
                  <c:v>15911</c:v>
                </c:pt>
                <c:pt idx="3492">
                  <c:v>15877</c:v>
                </c:pt>
                <c:pt idx="3493">
                  <c:v>15918</c:v>
                </c:pt>
                <c:pt idx="3494">
                  <c:v>15736</c:v>
                </c:pt>
                <c:pt idx="3495">
                  <c:v>15566</c:v>
                </c:pt>
                <c:pt idx="3496">
                  <c:v>15425</c:v>
                </c:pt>
                <c:pt idx="3497">
                  <c:v>15355</c:v>
                </c:pt>
                <c:pt idx="3498">
                  <c:v>15141</c:v>
                </c:pt>
                <c:pt idx="3499">
                  <c:v>14911</c:v>
                </c:pt>
                <c:pt idx="3500">
                  <c:v>14687</c:v>
                </c:pt>
                <c:pt idx="3501">
                  <c:v>14537</c:v>
                </c:pt>
                <c:pt idx="3502">
                  <c:v>14271</c:v>
                </c:pt>
                <c:pt idx="3503">
                  <c:v>14104</c:v>
                </c:pt>
                <c:pt idx="3504">
                  <c:v>13663</c:v>
                </c:pt>
                <c:pt idx="3505">
                  <c:v>13003</c:v>
                </c:pt>
                <c:pt idx="3506">
                  <c:v>12368</c:v>
                </c:pt>
                <c:pt idx="3507">
                  <c:v>12184</c:v>
                </c:pt>
                <c:pt idx="3508">
                  <c:v>12072</c:v>
                </c:pt>
                <c:pt idx="3509">
                  <c:v>12016</c:v>
                </c:pt>
                <c:pt idx="3510">
                  <c:v>11948</c:v>
                </c:pt>
                <c:pt idx="3511">
                  <c:v>12445</c:v>
                </c:pt>
                <c:pt idx="3512">
                  <c:v>13874</c:v>
                </c:pt>
                <c:pt idx="3513">
                  <c:v>15197</c:v>
                </c:pt>
                <c:pt idx="3514">
                  <c:v>15947</c:v>
                </c:pt>
                <c:pt idx="3515">
                  <c:v>15994</c:v>
                </c:pt>
                <c:pt idx="3516">
                  <c:v>16053</c:v>
                </c:pt>
                <c:pt idx="3517">
                  <c:v>16057</c:v>
                </c:pt>
                <c:pt idx="3518">
                  <c:v>15891</c:v>
                </c:pt>
                <c:pt idx="3519">
                  <c:v>15883</c:v>
                </c:pt>
                <c:pt idx="3520">
                  <c:v>15749</c:v>
                </c:pt>
                <c:pt idx="3521">
                  <c:v>15348</c:v>
                </c:pt>
                <c:pt idx="3522">
                  <c:v>14994</c:v>
                </c:pt>
                <c:pt idx="3523">
                  <c:v>15077</c:v>
                </c:pt>
                <c:pt idx="3524">
                  <c:v>14638</c:v>
                </c:pt>
                <c:pt idx="3525">
                  <c:v>14561</c:v>
                </c:pt>
                <c:pt idx="3526">
                  <c:v>14509</c:v>
                </c:pt>
                <c:pt idx="3527">
                  <c:v>14191</c:v>
                </c:pt>
                <c:pt idx="3528">
                  <c:v>13897</c:v>
                </c:pt>
                <c:pt idx="3529">
                  <c:v>13058</c:v>
                </c:pt>
                <c:pt idx="3530">
                  <c:v>12389</c:v>
                </c:pt>
                <c:pt idx="3531">
                  <c:v>12265</c:v>
                </c:pt>
                <c:pt idx="3532">
                  <c:v>12216</c:v>
                </c:pt>
                <c:pt idx="3533">
                  <c:v>12140</c:v>
                </c:pt>
                <c:pt idx="3534">
                  <c:v>12161</c:v>
                </c:pt>
                <c:pt idx="3535">
                  <c:v>12603</c:v>
                </c:pt>
                <c:pt idx="3536">
                  <c:v>14269</c:v>
                </c:pt>
                <c:pt idx="3537">
                  <c:v>15667</c:v>
                </c:pt>
                <c:pt idx="3538">
                  <c:v>15913</c:v>
                </c:pt>
                <c:pt idx="3539">
                  <c:v>15798</c:v>
                </c:pt>
                <c:pt idx="3540">
                  <c:v>15931</c:v>
                </c:pt>
                <c:pt idx="3541">
                  <c:v>15729</c:v>
                </c:pt>
                <c:pt idx="3542">
                  <c:v>15542</c:v>
                </c:pt>
                <c:pt idx="3543">
                  <c:v>15405</c:v>
                </c:pt>
                <c:pt idx="3544">
                  <c:v>15446</c:v>
                </c:pt>
                <c:pt idx="3545">
                  <c:v>15750</c:v>
                </c:pt>
                <c:pt idx="3546">
                  <c:v>15339</c:v>
                </c:pt>
                <c:pt idx="3547">
                  <c:v>15245</c:v>
                </c:pt>
                <c:pt idx="3548">
                  <c:v>15049</c:v>
                </c:pt>
                <c:pt idx="3549">
                  <c:v>14999</c:v>
                </c:pt>
                <c:pt idx="3550">
                  <c:v>14654</c:v>
                </c:pt>
                <c:pt idx="3551">
                  <c:v>14352</c:v>
                </c:pt>
                <c:pt idx="3552">
                  <c:v>13771</c:v>
                </c:pt>
                <c:pt idx="3553">
                  <c:v>13065</c:v>
                </c:pt>
                <c:pt idx="3554">
                  <c:v>12337</c:v>
                </c:pt>
                <c:pt idx="3555">
                  <c:v>12085</c:v>
                </c:pt>
                <c:pt idx="3556">
                  <c:v>11902</c:v>
                </c:pt>
                <c:pt idx="3557">
                  <c:v>11852</c:v>
                </c:pt>
                <c:pt idx="3558">
                  <c:v>11707</c:v>
                </c:pt>
                <c:pt idx="3559">
                  <c:v>12231</c:v>
                </c:pt>
                <c:pt idx="3560">
                  <c:v>13788</c:v>
                </c:pt>
                <c:pt idx="3561">
                  <c:v>15274</c:v>
                </c:pt>
                <c:pt idx="3562">
                  <c:v>15747</c:v>
                </c:pt>
                <c:pt idx="3563">
                  <c:v>15731</c:v>
                </c:pt>
                <c:pt idx="3564">
                  <c:v>15659</c:v>
                </c:pt>
                <c:pt idx="3565">
                  <c:v>15472</c:v>
                </c:pt>
                <c:pt idx="3566">
                  <c:v>15292</c:v>
                </c:pt>
                <c:pt idx="3567">
                  <c:v>14860</c:v>
                </c:pt>
                <c:pt idx="3568">
                  <c:v>14903</c:v>
                </c:pt>
                <c:pt idx="3569">
                  <c:v>14698</c:v>
                </c:pt>
                <c:pt idx="3570">
                  <c:v>14579</c:v>
                </c:pt>
                <c:pt idx="3571">
                  <c:v>14551</c:v>
                </c:pt>
                <c:pt idx="3572">
                  <c:v>14445</c:v>
                </c:pt>
                <c:pt idx="3573">
                  <c:v>14241</c:v>
                </c:pt>
                <c:pt idx="3574">
                  <c:v>13911</c:v>
                </c:pt>
                <c:pt idx="3575">
                  <c:v>13493</c:v>
                </c:pt>
                <c:pt idx="3576">
                  <c:v>13158</c:v>
                </c:pt>
                <c:pt idx="3577">
                  <c:v>12458</c:v>
                </c:pt>
                <c:pt idx="3578">
                  <c:v>12098</c:v>
                </c:pt>
                <c:pt idx="3579">
                  <c:v>11823</c:v>
                </c:pt>
                <c:pt idx="3580">
                  <c:v>11541</c:v>
                </c:pt>
                <c:pt idx="3581">
                  <c:v>11477</c:v>
                </c:pt>
                <c:pt idx="3582">
                  <c:v>11456</c:v>
                </c:pt>
                <c:pt idx="3583">
                  <c:v>11330</c:v>
                </c:pt>
                <c:pt idx="3584">
                  <c:v>11594</c:v>
                </c:pt>
                <c:pt idx="3585">
                  <c:v>12025</c:v>
                </c:pt>
                <c:pt idx="3586">
                  <c:v>12829</c:v>
                </c:pt>
                <c:pt idx="3587">
                  <c:v>13599</c:v>
                </c:pt>
                <c:pt idx="3588">
                  <c:v>13930</c:v>
                </c:pt>
                <c:pt idx="3589">
                  <c:v>14153</c:v>
                </c:pt>
                <c:pt idx="3590">
                  <c:v>14117</c:v>
                </c:pt>
                <c:pt idx="3591">
                  <c:v>14139</c:v>
                </c:pt>
                <c:pt idx="3592">
                  <c:v>14040</c:v>
                </c:pt>
                <c:pt idx="3593">
                  <c:v>13825</c:v>
                </c:pt>
                <c:pt idx="3594">
                  <c:v>13734</c:v>
                </c:pt>
                <c:pt idx="3595">
                  <c:v>13936</c:v>
                </c:pt>
                <c:pt idx="3596">
                  <c:v>13839</c:v>
                </c:pt>
                <c:pt idx="3597">
                  <c:v>13707</c:v>
                </c:pt>
                <c:pt idx="3598">
                  <c:v>13532</c:v>
                </c:pt>
                <c:pt idx="3599">
                  <c:v>13461</c:v>
                </c:pt>
                <c:pt idx="3600">
                  <c:v>13208</c:v>
                </c:pt>
                <c:pt idx="3601">
                  <c:v>12693</c:v>
                </c:pt>
                <c:pt idx="3602">
                  <c:v>12051</c:v>
                </c:pt>
                <c:pt idx="3603">
                  <c:v>11767</c:v>
                </c:pt>
                <c:pt idx="3604">
                  <c:v>11510</c:v>
                </c:pt>
                <c:pt idx="3605">
                  <c:v>11388</c:v>
                </c:pt>
                <c:pt idx="3606">
                  <c:v>11215</c:v>
                </c:pt>
                <c:pt idx="3607">
                  <c:v>11424</c:v>
                </c:pt>
                <c:pt idx="3608">
                  <c:v>11755</c:v>
                </c:pt>
                <c:pt idx="3609">
                  <c:v>12096</c:v>
                </c:pt>
                <c:pt idx="3610">
                  <c:v>12680</c:v>
                </c:pt>
                <c:pt idx="3611">
                  <c:v>13239</c:v>
                </c:pt>
                <c:pt idx="3612">
                  <c:v>13696</c:v>
                </c:pt>
                <c:pt idx="3613">
                  <c:v>13709</c:v>
                </c:pt>
                <c:pt idx="3614">
                  <c:v>13703</c:v>
                </c:pt>
                <c:pt idx="3615">
                  <c:v>13670</c:v>
                </c:pt>
                <c:pt idx="3616">
                  <c:v>13321</c:v>
                </c:pt>
                <c:pt idx="3617">
                  <c:v>13256</c:v>
                </c:pt>
                <c:pt idx="3618">
                  <c:v>13319</c:v>
                </c:pt>
                <c:pt idx="3619">
                  <c:v>13617</c:v>
                </c:pt>
                <c:pt idx="3620">
                  <c:v>13553</c:v>
                </c:pt>
                <c:pt idx="3621">
                  <c:v>13720</c:v>
                </c:pt>
                <c:pt idx="3622">
                  <c:v>13799</c:v>
                </c:pt>
                <c:pt idx="3623">
                  <c:v>13574</c:v>
                </c:pt>
                <c:pt idx="3624">
                  <c:v>13345</c:v>
                </c:pt>
                <c:pt idx="3625">
                  <c:v>12699</c:v>
                </c:pt>
                <c:pt idx="3626">
                  <c:v>12047</c:v>
                </c:pt>
                <c:pt idx="3627">
                  <c:v>11701</c:v>
                </c:pt>
                <c:pt idx="3628">
                  <c:v>11619</c:v>
                </c:pt>
                <c:pt idx="3629">
                  <c:v>11612</c:v>
                </c:pt>
                <c:pt idx="3630">
                  <c:v>11568</c:v>
                </c:pt>
                <c:pt idx="3631">
                  <c:v>12355</c:v>
                </c:pt>
                <c:pt idx="3632">
                  <c:v>13771</c:v>
                </c:pt>
                <c:pt idx="3633">
                  <c:v>15354</c:v>
                </c:pt>
                <c:pt idx="3634">
                  <c:v>15900</c:v>
                </c:pt>
                <c:pt idx="3635">
                  <c:v>16020</c:v>
                </c:pt>
                <c:pt idx="3636">
                  <c:v>15971</c:v>
                </c:pt>
                <c:pt idx="3637">
                  <c:v>16027</c:v>
                </c:pt>
                <c:pt idx="3638">
                  <c:v>16063</c:v>
                </c:pt>
                <c:pt idx="3639">
                  <c:v>15908</c:v>
                </c:pt>
                <c:pt idx="3640">
                  <c:v>15936</c:v>
                </c:pt>
                <c:pt idx="3641">
                  <c:v>15662</c:v>
                </c:pt>
                <c:pt idx="3642">
                  <c:v>15233</c:v>
                </c:pt>
                <c:pt idx="3643">
                  <c:v>15054</c:v>
                </c:pt>
                <c:pt idx="3644">
                  <c:v>14844</c:v>
                </c:pt>
                <c:pt idx="3645">
                  <c:v>14841</c:v>
                </c:pt>
                <c:pt idx="3646">
                  <c:v>14577</c:v>
                </c:pt>
                <c:pt idx="3647">
                  <c:v>14395</c:v>
                </c:pt>
                <c:pt idx="3648">
                  <c:v>13918</c:v>
                </c:pt>
                <c:pt idx="3649">
                  <c:v>13088</c:v>
                </c:pt>
                <c:pt idx="3650">
                  <c:v>12568</c:v>
                </c:pt>
                <c:pt idx="3651">
                  <c:v>12396</c:v>
                </c:pt>
                <c:pt idx="3652">
                  <c:v>12224</c:v>
                </c:pt>
                <c:pt idx="3653">
                  <c:v>12065</c:v>
                </c:pt>
                <c:pt idx="3654">
                  <c:v>12098</c:v>
                </c:pt>
                <c:pt idx="3655">
                  <c:v>12552</c:v>
                </c:pt>
                <c:pt idx="3656">
                  <c:v>14123</c:v>
                </c:pt>
                <c:pt idx="3657">
                  <c:v>16032</c:v>
                </c:pt>
                <c:pt idx="3658">
                  <c:v>16322</c:v>
                </c:pt>
                <c:pt idx="3659">
                  <c:v>16411</c:v>
                </c:pt>
                <c:pt idx="3660">
                  <c:v>16146</c:v>
                </c:pt>
                <c:pt idx="3661">
                  <c:v>15975</c:v>
                </c:pt>
                <c:pt idx="3662">
                  <c:v>15767</c:v>
                </c:pt>
                <c:pt idx="3663">
                  <c:v>15750</c:v>
                </c:pt>
                <c:pt idx="3664">
                  <c:v>15673</c:v>
                </c:pt>
                <c:pt idx="3665">
                  <c:v>15876</c:v>
                </c:pt>
                <c:pt idx="3666">
                  <c:v>15633</c:v>
                </c:pt>
                <c:pt idx="3667">
                  <c:v>15636</c:v>
                </c:pt>
                <c:pt idx="3668">
                  <c:v>15517</c:v>
                </c:pt>
                <c:pt idx="3669">
                  <c:v>15366</c:v>
                </c:pt>
                <c:pt idx="3670">
                  <c:v>15231</c:v>
                </c:pt>
                <c:pt idx="3671">
                  <c:v>14761</c:v>
                </c:pt>
                <c:pt idx="3672">
                  <c:v>13913</c:v>
                </c:pt>
                <c:pt idx="3673">
                  <c:v>13295</c:v>
                </c:pt>
                <c:pt idx="3674">
                  <c:v>12651</c:v>
                </c:pt>
                <c:pt idx="3675">
                  <c:v>12443</c:v>
                </c:pt>
                <c:pt idx="3676">
                  <c:v>12373</c:v>
                </c:pt>
                <c:pt idx="3677">
                  <c:v>12135</c:v>
                </c:pt>
                <c:pt idx="3678">
                  <c:v>11969</c:v>
                </c:pt>
                <c:pt idx="3679">
                  <c:v>12512</c:v>
                </c:pt>
                <c:pt idx="3680">
                  <c:v>14260</c:v>
                </c:pt>
                <c:pt idx="3681">
                  <c:v>15614</c:v>
                </c:pt>
                <c:pt idx="3682">
                  <c:v>16252</c:v>
                </c:pt>
                <c:pt idx="3683">
                  <c:v>16428</c:v>
                </c:pt>
                <c:pt idx="3684">
                  <c:v>16470</c:v>
                </c:pt>
                <c:pt idx="3685">
                  <c:v>16301</c:v>
                </c:pt>
                <c:pt idx="3686">
                  <c:v>16269</c:v>
                </c:pt>
                <c:pt idx="3687">
                  <c:v>16047</c:v>
                </c:pt>
                <c:pt idx="3688">
                  <c:v>15856</c:v>
                </c:pt>
                <c:pt idx="3689">
                  <c:v>15893</c:v>
                </c:pt>
                <c:pt idx="3690">
                  <c:v>15657</c:v>
                </c:pt>
                <c:pt idx="3691">
                  <c:v>15587</c:v>
                </c:pt>
                <c:pt idx="3692">
                  <c:v>15130</c:v>
                </c:pt>
                <c:pt idx="3693">
                  <c:v>14975</c:v>
                </c:pt>
                <c:pt idx="3694">
                  <c:v>14674</c:v>
                </c:pt>
                <c:pt idx="3695">
                  <c:v>14297</c:v>
                </c:pt>
                <c:pt idx="3696">
                  <c:v>13886</c:v>
                </c:pt>
                <c:pt idx="3697">
                  <c:v>13207</c:v>
                </c:pt>
                <c:pt idx="3698">
                  <c:v>12689</c:v>
                </c:pt>
                <c:pt idx="3699">
                  <c:v>12378</c:v>
                </c:pt>
                <c:pt idx="3700">
                  <c:v>12249</c:v>
                </c:pt>
                <c:pt idx="3701">
                  <c:v>12253</c:v>
                </c:pt>
                <c:pt idx="3702">
                  <c:v>12176</c:v>
                </c:pt>
                <c:pt idx="3703">
                  <c:v>12763</c:v>
                </c:pt>
                <c:pt idx="3704">
                  <c:v>14140</c:v>
                </c:pt>
                <c:pt idx="3705">
                  <c:v>15429</c:v>
                </c:pt>
                <c:pt idx="3706">
                  <c:v>15760</c:v>
                </c:pt>
                <c:pt idx="3707">
                  <c:v>15677</c:v>
                </c:pt>
                <c:pt idx="3708">
                  <c:v>15610</c:v>
                </c:pt>
                <c:pt idx="3709">
                  <c:v>15580</c:v>
                </c:pt>
                <c:pt idx="3710">
                  <c:v>15394</c:v>
                </c:pt>
                <c:pt idx="3711">
                  <c:v>15347</c:v>
                </c:pt>
                <c:pt idx="3712">
                  <c:v>15131</c:v>
                </c:pt>
                <c:pt idx="3713">
                  <c:v>14973</c:v>
                </c:pt>
                <c:pt idx="3714">
                  <c:v>14949</c:v>
                </c:pt>
                <c:pt idx="3715">
                  <c:v>14558</c:v>
                </c:pt>
                <c:pt idx="3716">
                  <c:v>14241</c:v>
                </c:pt>
                <c:pt idx="3717">
                  <c:v>13942</c:v>
                </c:pt>
                <c:pt idx="3718">
                  <c:v>13854</c:v>
                </c:pt>
                <c:pt idx="3719">
                  <c:v>13580</c:v>
                </c:pt>
                <c:pt idx="3720">
                  <c:v>13224</c:v>
                </c:pt>
                <c:pt idx="3721">
                  <c:v>12532</c:v>
                </c:pt>
                <c:pt idx="3722">
                  <c:v>11973</c:v>
                </c:pt>
                <c:pt idx="3723">
                  <c:v>11693</c:v>
                </c:pt>
                <c:pt idx="3724">
                  <c:v>11770</c:v>
                </c:pt>
                <c:pt idx="3725">
                  <c:v>11698</c:v>
                </c:pt>
                <c:pt idx="3726">
                  <c:v>11547</c:v>
                </c:pt>
                <c:pt idx="3727">
                  <c:v>11869</c:v>
                </c:pt>
                <c:pt idx="3728">
                  <c:v>13590</c:v>
                </c:pt>
                <c:pt idx="3729">
                  <c:v>14894</c:v>
                </c:pt>
                <c:pt idx="3730">
                  <c:v>15249</c:v>
                </c:pt>
                <c:pt idx="3731">
                  <c:v>15188</c:v>
                </c:pt>
                <c:pt idx="3732">
                  <c:v>15281</c:v>
                </c:pt>
                <c:pt idx="3733">
                  <c:v>14953</c:v>
                </c:pt>
                <c:pt idx="3734">
                  <c:v>14843</c:v>
                </c:pt>
                <c:pt idx="3735">
                  <c:v>14365</c:v>
                </c:pt>
                <c:pt idx="3736">
                  <c:v>13852</c:v>
                </c:pt>
                <c:pt idx="3737">
                  <c:v>13549</c:v>
                </c:pt>
                <c:pt idx="3738">
                  <c:v>13456</c:v>
                </c:pt>
                <c:pt idx="3739">
                  <c:v>13386</c:v>
                </c:pt>
                <c:pt idx="3740">
                  <c:v>13262</c:v>
                </c:pt>
                <c:pt idx="3741">
                  <c:v>12962</c:v>
                </c:pt>
                <c:pt idx="3742">
                  <c:v>12436</c:v>
                </c:pt>
                <c:pt idx="3743">
                  <c:v>12059</c:v>
                </c:pt>
                <c:pt idx="3744">
                  <c:v>12084</c:v>
                </c:pt>
                <c:pt idx="3745">
                  <c:v>11540</c:v>
                </c:pt>
                <c:pt idx="3746">
                  <c:v>10955</c:v>
                </c:pt>
                <c:pt idx="3747">
                  <c:v>10880</c:v>
                </c:pt>
                <c:pt idx="3748">
                  <c:v>10632</c:v>
                </c:pt>
                <c:pt idx="3749">
                  <c:v>10235</c:v>
                </c:pt>
                <c:pt idx="3750">
                  <c:v>9888</c:v>
                </c:pt>
                <c:pt idx="3751">
                  <c:v>9920</c:v>
                </c:pt>
                <c:pt idx="3752">
                  <c:v>10262</c:v>
                </c:pt>
                <c:pt idx="3753">
                  <c:v>11014</c:v>
                </c:pt>
                <c:pt idx="3754">
                  <c:v>11948</c:v>
                </c:pt>
                <c:pt idx="3755">
                  <c:v>12359</c:v>
                </c:pt>
                <c:pt idx="3756">
                  <c:v>12776</c:v>
                </c:pt>
                <c:pt idx="3757">
                  <c:v>12968</c:v>
                </c:pt>
                <c:pt idx="3758">
                  <c:v>12729</c:v>
                </c:pt>
                <c:pt idx="3759">
                  <c:v>12622</c:v>
                </c:pt>
                <c:pt idx="3760">
                  <c:v>12298</c:v>
                </c:pt>
                <c:pt idx="3761">
                  <c:v>11913</c:v>
                </c:pt>
                <c:pt idx="3762">
                  <c:v>11848</c:v>
                </c:pt>
                <c:pt idx="3763">
                  <c:v>12129</c:v>
                </c:pt>
                <c:pt idx="3764">
                  <c:v>12176</c:v>
                </c:pt>
                <c:pt idx="3765">
                  <c:v>11973</c:v>
                </c:pt>
                <c:pt idx="3766">
                  <c:v>11769</c:v>
                </c:pt>
                <c:pt idx="3767">
                  <c:v>11605</c:v>
                </c:pt>
                <c:pt idx="3768">
                  <c:v>11592</c:v>
                </c:pt>
                <c:pt idx="3769">
                  <c:v>11544</c:v>
                </c:pt>
                <c:pt idx="3770">
                  <c:v>11140</c:v>
                </c:pt>
                <c:pt idx="3771">
                  <c:v>10901</c:v>
                </c:pt>
                <c:pt idx="3772">
                  <c:v>10726</c:v>
                </c:pt>
                <c:pt idx="3773">
                  <c:v>10550</c:v>
                </c:pt>
                <c:pt idx="3774">
                  <c:v>10317</c:v>
                </c:pt>
                <c:pt idx="3775">
                  <c:v>10364</c:v>
                </c:pt>
                <c:pt idx="3776">
                  <c:v>10735</c:v>
                </c:pt>
                <c:pt idx="3777">
                  <c:v>11229</c:v>
                </c:pt>
                <c:pt idx="3778">
                  <c:v>11946</c:v>
                </c:pt>
                <c:pt idx="3779">
                  <c:v>12582</c:v>
                </c:pt>
                <c:pt idx="3780">
                  <c:v>13114</c:v>
                </c:pt>
                <c:pt idx="3781">
                  <c:v>13432</c:v>
                </c:pt>
                <c:pt idx="3782">
                  <c:v>13515</c:v>
                </c:pt>
                <c:pt idx="3783">
                  <c:v>13130</c:v>
                </c:pt>
                <c:pt idx="3784">
                  <c:v>13139</c:v>
                </c:pt>
                <c:pt idx="3785">
                  <c:v>13341</c:v>
                </c:pt>
                <c:pt idx="3786">
                  <c:v>13419</c:v>
                </c:pt>
                <c:pt idx="3787">
                  <c:v>13530</c:v>
                </c:pt>
                <c:pt idx="3788">
                  <c:v>13588</c:v>
                </c:pt>
                <c:pt idx="3789">
                  <c:v>13665</c:v>
                </c:pt>
                <c:pt idx="3790">
                  <c:v>13658</c:v>
                </c:pt>
                <c:pt idx="3791">
                  <c:v>13477</c:v>
                </c:pt>
                <c:pt idx="3792">
                  <c:v>13133</c:v>
                </c:pt>
                <c:pt idx="3793">
                  <c:v>12550</c:v>
                </c:pt>
                <c:pt idx="3794">
                  <c:v>11966</c:v>
                </c:pt>
                <c:pt idx="3795">
                  <c:v>11528</c:v>
                </c:pt>
                <c:pt idx="3796">
                  <c:v>11413</c:v>
                </c:pt>
                <c:pt idx="3797">
                  <c:v>11318</c:v>
                </c:pt>
                <c:pt idx="3798">
                  <c:v>11173</c:v>
                </c:pt>
                <c:pt idx="3799">
                  <c:v>11920</c:v>
                </c:pt>
                <c:pt idx="3800">
                  <c:v>13704</c:v>
                </c:pt>
                <c:pt idx="3801">
                  <c:v>15617</c:v>
                </c:pt>
                <c:pt idx="3802">
                  <c:v>16572</c:v>
                </c:pt>
                <c:pt idx="3803">
                  <c:v>16569</c:v>
                </c:pt>
                <c:pt idx="3804">
                  <c:v>16357</c:v>
                </c:pt>
                <c:pt idx="3805">
                  <c:v>16314</c:v>
                </c:pt>
                <c:pt idx="3806">
                  <c:v>16333</c:v>
                </c:pt>
                <c:pt idx="3807">
                  <c:v>16077</c:v>
                </c:pt>
                <c:pt idx="3808">
                  <c:v>16102</c:v>
                </c:pt>
                <c:pt idx="3809">
                  <c:v>15875</c:v>
                </c:pt>
                <c:pt idx="3810">
                  <c:v>15304</c:v>
                </c:pt>
                <c:pt idx="3811">
                  <c:v>15148</c:v>
                </c:pt>
                <c:pt idx="3812">
                  <c:v>14712</c:v>
                </c:pt>
                <c:pt idx="3813">
                  <c:v>14590</c:v>
                </c:pt>
                <c:pt idx="3814">
                  <c:v>14287</c:v>
                </c:pt>
                <c:pt idx="3815">
                  <c:v>13947</c:v>
                </c:pt>
                <c:pt idx="3816">
                  <c:v>13696</c:v>
                </c:pt>
                <c:pt idx="3817">
                  <c:v>12908</c:v>
                </c:pt>
                <c:pt idx="3818">
                  <c:v>12151</c:v>
                </c:pt>
                <c:pt idx="3819">
                  <c:v>11912</c:v>
                </c:pt>
                <c:pt idx="3820">
                  <c:v>12016</c:v>
                </c:pt>
                <c:pt idx="3821">
                  <c:v>11948</c:v>
                </c:pt>
                <c:pt idx="3822">
                  <c:v>12065</c:v>
                </c:pt>
                <c:pt idx="3823">
                  <c:v>12442</c:v>
                </c:pt>
                <c:pt idx="3824">
                  <c:v>14064</c:v>
                </c:pt>
                <c:pt idx="3825">
                  <c:v>15457</c:v>
                </c:pt>
                <c:pt idx="3826">
                  <c:v>16049</c:v>
                </c:pt>
                <c:pt idx="3827">
                  <c:v>15806</c:v>
                </c:pt>
                <c:pt idx="3828">
                  <c:v>15683</c:v>
                </c:pt>
                <c:pt idx="3829">
                  <c:v>15657</c:v>
                </c:pt>
                <c:pt idx="3830">
                  <c:v>15982</c:v>
                </c:pt>
                <c:pt idx="3831">
                  <c:v>15659</c:v>
                </c:pt>
                <c:pt idx="3832">
                  <c:v>15737</c:v>
                </c:pt>
                <c:pt idx="3833">
                  <c:v>15223</c:v>
                </c:pt>
                <c:pt idx="3834">
                  <c:v>14644</c:v>
                </c:pt>
                <c:pt idx="3835">
                  <c:v>14562</c:v>
                </c:pt>
                <c:pt idx="3836">
                  <c:v>14158</c:v>
                </c:pt>
                <c:pt idx="3837">
                  <c:v>14109</c:v>
                </c:pt>
                <c:pt idx="3838">
                  <c:v>14129</c:v>
                </c:pt>
                <c:pt idx="3839">
                  <c:v>13940</c:v>
                </c:pt>
                <c:pt idx="3840">
                  <c:v>13528</c:v>
                </c:pt>
                <c:pt idx="3841">
                  <c:v>12547</c:v>
                </c:pt>
                <c:pt idx="3842">
                  <c:v>11636</c:v>
                </c:pt>
                <c:pt idx="3843">
                  <c:v>11366</c:v>
                </c:pt>
                <c:pt idx="3844">
                  <c:v>11320</c:v>
                </c:pt>
                <c:pt idx="3845">
                  <c:v>11471</c:v>
                </c:pt>
                <c:pt idx="3846">
                  <c:v>11332</c:v>
                </c:pt>
                <c:pt idx="3847">
                  <c:v>11871</c:v>
                </c:pt>
                <c:pt idx="3848">
                  <c:v>13719</c:v>
                </c:pt>
                <c:pt idx="3849">
                  <c:v>15324</c:v>
                </c:pt>
                <c:pt idx="3850">
                  <c:v>15750</c:v>
                </c:pt>
                <c:pt idx="3851">
                  <c:v>15556</c:v>
                </c:pt>
                <c:pt idx="3852">
                  <c:v>15803</c:v>
                </c:pt>
                <c:pt idx="3853">
                  <c:v>15599</c:v>
                </c:pt>
                <c:pt idx="3854">
                  <c:v>15665</c:v>
                </c:pt>
                <c:pt idx="3855">
                  <c:v>15605</c:v>
                </c:pt>
                <c:pt idx="3856">
                  <c:v>15541</c:v>
                </c:pt>
                <c:pt idx="3857">
                  <c:v>14945</c:v>
                </c:pt>
                <c:pt idx="3858">
                  <c:v>14736</c:v>
                </c:pt>
                <c:pt idx="3859">
                  <c:v>14573</c:v>
                </c:pt>
                <c:pt idx="3860">
                  <c:v>14125</c:v>
                </c:pt>
                <c:pt idx="3861">
                  <c:v>13908</c:v>
                </c:pt>
                <c:pt idx="3862">
                  <c:v>13881</c:v>
                </c:pt>
                <c:pt idx="3863">
                  <c:v>13318</c:v>
                </c:pt>
                <c:pt idx="3864">
                  <c:v>13058</c:v>
                </c:pt>
                <c:pt idx="3865">
                  <c:v>12496</c:v>
                </c:pt>
                <c:pt idx="3866">
                  <c:v>11882</c:v>
                </c:pt>
                <c:pt idx="3867">
                  <c:v>11432</c:v>
                </c:pt>
                <c:pt idx="3868">
                  <c:v>11488</c:v>
                </c:pt>
                <c:pt idx="3869">
                  <c:v>11473</c:v>
                </c:pt>
                <c:pt idx="3870">
                  <c:v>11283</c:v>
                </c:pt>
                <c:pt idx="3871">
                  <c:v>11970</c:v>
                </c:pt>
                <c:pt idx="3872">
                  <c:v>13684</c:v>
                </c:pt>
                <c:pt idx="3873">
                  <c:v>15177</c:v>
                </c:pt>
                <c:pt idx="3874">
                  <c:v>15454</c:v>
                </c:pt>
                <c:pt idx="3875">
                  <c:v>15630</c:v>
                </c:pt>
                <c:pt idx="3876">
                  <c:v>15519</c:v>
                </c:pt>
                <c:pt idx="3877">
                  <c:v>15477</c:v>
                </c:pt>
                <c:pt idx="3878">
                  <c:v>15421</c:v>
                </c:pt>
                <c:pt idx="3879">
                  <c:v>15467</c:v>
                </c:pt>
                <c:pt idx="3880">
                  <c:v>15509</c:v>
                </c:pt>
                <c:pt idx="3881">
                  <c:v>15186</c:v>
                </c:pt>
                <c:pt idx="3882">
                  <c:v>15118</c:v>
                </c:pt>
                <c:pt idx="3883">
                  <c:v>14914</c:v>
                </c:pt>
                <c:pt idx="3884">
                  <c:v>14447</c:v>
                </c:pt>
                <c:pt idx="3885">
                  <c:v>14105</c:v>
                </c:pt>
                <c:pt idx="3886">
                  <c:v>14077</c:v>
                </c:pt>
                <c:pt idx="3887">
                  <c:v>13740</c:v>
                </c:pt>
                <c:pt idx="3888">
                  <c:v>13128</c:v>
                </c:pt>
                <c:pt idx="3889">
                  <c:v>12466</c:v>
                </c:pt>
                <c:pt idx="3890">
                  <c:v>11797</c:v>
                </c:pt>
                <c:pt idx="3891">
                  <c:v>11441</c:v>
                </c:pt>
                <c:pt idx="3892">
                  <c:v>11423</c:v>
                </c:pt>
                <c:pt idx="3893">
                  <c:v>11281</c:v>
                </c:pt>
                <c:pt idx="3894">
                  <c:v>11382</c:v>
                </c:pt>
                <c:pt idx="3895">
                  <c:v>11800</c:v>
                </c:pt>
                <c:pt idx="3896">
                  <c:v>13324</c:v>
                </c:pt>
                <c:pt idx="3897">
                  <c:v>15084</c:v>
                </c:pt>
                <c:pt idx="3898">
                  <c:v>15492</c:v>
                </c:pt>
                <c:pt idx="3899">
                  <c:v>15579</c:v>
                </c:pt>
                <c:pt idx="3900">
                  <c:v>15559</c:v>
                </c:pt>
                <c:pt idx="3901">
                  <c:v>15232</c:v>
                </c:pt>
                <c:pt idx="3902">
                  <c:v>15119</c:v>
                </c:pt>
                <c:pt idx="3903">
                  <c:v>14867</c:v>
                </c:pt>
                <c:pt idx="3904">
                  <c:v>14670</c:v>
                </c:pt>
                <c:pt idx="3905">
                  <c:v>14242</c:v>
                </c:pt>
                <c:pt idx="3906">
                  <c:v>14115</c:v>
                </c:pt>
                <c:pt idx="3907">
                  <c:v>14102</c:v>
                </c:pt>
                <c:pt idx="3908">
                  <c:v>13694</c:v>
                </c:pt>
                <c:pt idx="3909">
                  <c:v>13328</c:v>
                </c:pt>
                <c:pt idx="3910">
                  <c:v>12980</c:v>
                </c:pt>
                <c:pt idx="3911">
                  <c:v>12658</c:v>
                </c:pt>
                <c:pt idx="3912">
                  <c:v>12433</c:v>
                </c:pt>
                <c:pt idx="3913">
                  <c:v>11949</c:v>
                </c:pt>
                <c:pt idx="3914">
                  <c:v>11299</c:v>
                </c:pt>
                <c:pt idx="3915">
                  <c:v>11003</c:v>
                </c:pt>
                <c:pt idx="3916">
                  <c:v>10792</c:v>
                </c:pt>
                <c:pt idx="3917">
                  <c:v>10487</c:v>
                </c:pt>
                <c:pt idx="3918">
                  <c:v>10210</c:v>
                </c:pt>
                <c:pt idx="3919">
                  <c:v>10425</c:v>
                </c:pt>
                <c:pt idx="3920">
                  <c:v>10891</c:v>
                </c:pt>
                <c:pt idx="3921">
                  <c:v>11474</c:v>
                </c:pt>
                <c:pt idx="3922">
                  <c:v>12225</c:v>
                </c:pt>
                <c:pt idx="3923">
                  <c:v>12760</c:v>
                </c:pt>
                <c:pt idx="3924">
                  <c:v>12959</c:v>
                </c:pt>
                <c:pt idx="3925">
                  <c:v>13079</c:v>
                </c:pt>
                <c:pt idx="3926">
                  <c:v>13023</c:v>
                </c:pt>
                <c:pt idx="3927">
                  <c:v>12959</c:v>
                </c:pt>
                <c:pt idx="3928">
                  <c:v>12848</c:v>
                </c:pt>
                <c:pt idx="3929">
                  <c:v>12713</c:v>
                </c:pt>
                <c:pt idx="3930">
                  <c:v>12468</c:v>
                </c:pt>
                <c:pt idx="3931">
                  <c:v>12675</c:v>
                </c:pt>
                <c:pt idx="3932">
                  <c:v>12763</c:v>
                </c:pt>
                <c:pt idx="3933">
                  <c:v>12485</c:v>
                </c:pt>
                <c:pt idx="3934">
                  <c:v>12323</c:v>
                </c:pt>
                <c:pt idx="3935">
                  <c:v>12198</c:v>
                </c:pt>
                <c:pt idx="3936">
                  <c:v>12096</c:v>
                </c:pt>
                <c:pt idx="3937">
                  <c:v>11614</c:v>
                </c:pt>
                <c:pt idx="3938">
                  <c:v>11097</c:v>
                </c:pt>
                <c:pt idx="3939">
                  <c:v>10707</c:v>
                </c:pt>
                <c:pt idx="3940">
                  <c:v>10622</c:v>
                </c:pt>
                <c:pt idx="3941">
                  <c:v>10452</c:v>
                </c:pt>
                <c:pt idx="3942">
                  <c:v>10121</c:v>
                </c:pt>
                <c:pt idx="3943">
                  <c:v>10030</c:v>
                </c:pt>
                <c:pt idx="3944">
                  <c:v>10388</c:v>
                </c:pt>
                <c:pt idx="3945">
                  <c:v>10783</c:v>
                </c:pt>
                <c:pt idx="3946">
                  <c:v>11478</c:v>
                </c:pt>
                <c:pt idx="3947">
                  <c:v>12159</c:v>
                </c:pt>
                <c:pt idx="3948">
                  <c:v>12823</c:v>
                </c:pt>
                <c:pt idx="3949">
                  <c:v>13483</c:v>
                </c:pt>
                <c:pt idx="3950">
                  <c:v>13438</c:v>
                </c:pt>
                <c:pt idx="3951">
                  <c:v>13508</c:v>
                </c:pt>
                <c:pt idx="3952">
                  <c:v>13029</c:v>
                </c:pt>
                <c:pt idx="3953">
                  <c:v>12916</c:v>
                </c:pt>
                <c:pt idx="3954">
                  <c:v>12809</c:v>
                </c:pt>
                <c:pt idx="3955">
                  <c:v>12772</c:v>
                </c:pt>
                <c:pt idx="3956">
                  <c:v>13348</c:v>
                </c:pt>
                <c:pt idx="3957">
                  <c:v>12979</c:v>
                </c:pt>
                <c:pt idx="3958">
                  <c:v>13030</c:v>
                </c:pt>
                <c:pt idx="3959">
                  <c:v>12601</c:v>
                </c:pt>
                <c:pt idx="3960">
                  <c:v>12145</c:v>
                </c:pt>
                <c:pt idx="3961">
                  <c:v>11662</c:v>
                </c:pt>
                <c:pt idx="3962">
                  <c:v>11601</c:v>
                </c:pt>
                <c:pt idx="3963">
                  <c:v>11651</c:v>
                </c:pt>
                <c:pt idx="3964">
                  <c:v>11537</c:v>
                </c:pt>
                <c:pt idx="3965">
                  <c:v>11456</c:v>
                </c:pt>
                <c:pt idx="3966">
                  <c:v>11353</c:v>
                </c:pt>
                <c:pt idx="3967">
                  <c:v>11983</c:v>
                </c:pt>
                <c:pt idx="3968">
                  <c:v>13692</c:v>
                </c:pt>
                <c:pt idx="3969">
                  <c:v>15129</c:v>
                </c:pt>
                <c:pt idx="3970">
                  <c:v>15612</c:v>
                </c:pt>
                <c:pt idx="3971">
                  <c:v>15490</c:v>
                </c:pt>
                <c:pt idx="3972">
                  <c:v>15618</c:v>
                </c:pt>
                <c:pt idx="3973">
                  <c:v>15672</c:v>
                </c:pt>
                <c:pt idx="3974">
                  <c:v>15634</c:v>
                </c:pt>
                <c:pt idx="3975">
                  <c:v>15754</c:v>
                </c:pt>
                <c:pt idx="3976">
                  <c:v>15736</c:v>
                </c:pt>
                <c:pt idx="3977">
                  <c:v>15465</c:v>
                </c:pt>
                <c:pt idx="3978">
                  <c:v>15225</c:v>
                </c:pt>
                <c:pt idx="3979">
                  <c:v>15047</c:v>
                </c:pt>
                <c:pt idx="3980">
                  <c:v>14757</c:v>
                </c:pt>
                <c:pt idx="3981">
                  <c:v>14642</c:v>
                </c:pt>
                <c:pt idx="3982">
                  <c:v>14379</c:v>
                </c:pt>
                <c:pt idx="3983">
                  <c:v>13973</c:v>
                </c:pt>
                <c:pt idx="3984">
                  <c:v>13450</c:v>
                </c:pt>
                <c:pt idx="3985">
                  <c:v>13019</c:v>
                </c:pt>
                <c:pt idx="3986">
                  <c:v>12223</c:v>
                </c:pt>
                <c:pt idx="3987">
                  <c:v>12060</c:v>
                </c:pt>
                <c:pt idx="3988">
                  <c:v>11948</c:v>
                </c:pt>
                <c:pt idx="3989">
                  <c:v>11593</c:v>
                </c:pt>
                <c:pt idx="3990">
                  <c:v>11448</c:v>
                </c:pt>
                <c:pt idx="3991">
                  <c:v>12189</c:v>
                </c:pt>
                <c:pt idx="3992">
                  <c:v>13618</c:v>
                </c:pt>
                <c:pt idx="3993">
                  <c:v>14867</c:v>
                </c:pt>
                <c:pt idx="3994">
                  <c:v>15213</c:v>
                </c:pt>
                <c:pt idx="3995">
                  <c:v>15005</c:v>
                </c:pt>
                <c:pt idx="3996">
                  <c:v>15570</c:v>
                </c:pt>
                <c:pt idx="3997">
                  <c:v>15785</c:v>
                </c:pt>
                <c:pt idx="3998">
                  <c:v>15805</c:v>
                </c:pt>
                <c:pt idx="3999">
                  <c:v>16025</c:v>
                </c:pt>
                <c:pt idx="4000">
                  <c:v>15867</c:v>
                </c:pt>
                <c:pt idx="4001">
                  <c:v>15600</c:v>
                </c:pt>
                <c:pt idx="4002">
                  <c:v>15341</c:v>
                </c:pt>
                <c:pt idx="4003">
                  <c:v>15122</c:v>
                </c:pt>
                <c:pt idx="4004">
                  <c:v>14857</c:v>
                </c:pt>
                <c:pt idx="4005">
                  <c:v>14500</c:v>
                </c:pt>
                <c:pt idx="4006">
                  <c:v>14274</c:v>
                </c:pt>
                <c:pt idx="4007">
                  <c:v>13974</c:v>
                </c:pt>
                <c:pt idx="4008">
                  <c:v>13643</c:v>
                </c:pt>
                <c:pt idx="4009">
                  <c:v>13095</c:v>
                </c:pt>
                <c:pt idx="4010">
                  <c:v>12335</c:v>
                </c:pt>
                <c:pt idx="4011">
                  <c:v>12114</c:v>
                </c:pt>
                <c:pt idx="4012">
                  <c:v>12038</c:v>
                </c:pt>
                <c:pt idx="4013">
                  <c:v>12353</c:v>
                </c:pt>
                <c:pt idx="4014">
                  <c:v>12548</c:v>
                </c:pt>
                <c:pt idx="4015">
                  <c:v>12795</c:v>
                </c:pt>
                <c:pt idx="4016">
                  <c:v>14249</c:v>
                </c:pt>
                <c:pt idx="4017">
                  <c:v>15606</c:v>
                </c:pt>
                <c:pt idx="4018">
                  <c:v>15783</c:v>
                </c:pt>
                <c:pt idx="4019">
                  <c:v>15911</c:v>
                </c:pt>
                <c:pt idx="4020">
                  <c:v>16194</c:v>
                </c:pt>
                <c:pt idx="4021">
                  <c:v>16255</c:v>
                </c:pt>
                <c:pt idx="4022">
                  <c:v>15964</c:v>
                </c:pt>
                <c:pt idx="4023">
                  <c:v>16011</c:v>
                </c:pt>
                <c:pt idx="4024">
                  <c:v>15874</c:v>
                </c:pt>
                <c:pt idx="4025">
                  <c:v>15698</c:v>
                </c:pt>
                <c:pt idx="4026">
                  <c:v>15548</c:v>
                </c:pt>
                <c:pt idx="4027">
                  <c:v>15367</c:v>
                </c:pt>
                <c:pt idx="4028">
                  <c:v>15090</c:v>
                </c:pt>
                <c:pt idx="4029">
                  <c:v>15094</c:v>
                </c:pt>
                <c:pt idx="4030">
                  <c:v>14867</c:v>
                </c:pt>
                <c:pt idx="4031">
                  <c:v>14478</c:v>
                </c:pt>
                <c:pt idx="4032">
                  <c:v>13882</c:v>
                </c:pt>
                <c:pt idx="4033">
                  <c:v>13107</c:v>
                </c:pt>
                <c:pt idx="4034">
                  <c:v>12565</c:v>
                </c:pt>
                <c:pt idx="4035">
                  <c:v>12406</c:v>
                </c:pt>
                <c:pt idx="4036">
                  <c:v>12344</c:v>
                </c:pt>
                <c:pt idx="4037">
                  <c:v>12190</c:v>
                </c:pt>
                <c:pt idx="4038">
                  <c:v>11975</c:v>
                </c:pt>
                <c:pt idx="4039">
                  <c:v>12331</c:v>
                </c:pt>
                <c:pt idx="4040">
                  <c:v>13893</c:v>
                </c:pt>
                <c:pt idx="4041">
                  <c:v>15437</c:v>
                </c:pt>
                <c:pt idx="4042">
                  <c:v>16474</c:v>
                </c:pt>
                <c:pt idx="4043">
                  <c:v>16343</c:v>
                </c:pt>
                <c:pt idx="4044">
                  <c:v>16351</c:v>
                </c:pt>
                <c:pt idx="4045">
                  <c:v>16369</c:v>
                </c:pt>
                <c:pt idx="4046">
                  <c:v>16244</c:v>
                </c:pt>
                <c:pt idx="4047">
                  <c:v>15901</c:v>
                </c:pt>
                <c:pt idx="4048">
                  <c:v>15559</c:v>
                </c:pt>
                <c:pt idx="4049">
                  <c:v>15389</c:v>
                </c:pt>
                <c:pt idx="4050">
                  <c:v>15037</c:v>
                </c:pt>
                <c:pt idx="4051">
                  <c:v>15208</c:v>
                </c:pt>
                <c:pt idx="4052">
                  <c:v>15110</c:v>
                </c:pt>
                <c:pt idx="4053">
                  <c:v>14616</c:v>
                </c:pt>
                <c:pt idx="4054">
                  <c:v>14031</c:v>
                </c:pt>
                <c:pt idx="4055">
                  <c:v>13596</c:v>
                </c:pt>
                <c:pt idx="4056">
                  <c:v>13068</c:v>
                </c:pt>
                <c:pt idx="4057">
                  <c:v>12396</c:v>
                </c:pt>
                <c:pt idx="4058">
                  <c:v>11577</c:v>
                </c:pt>
                <c:pt idx="4059">
                  <c:v>11199</c:v>
                </c:pt>
                <c:pt idx="4060">
                  <c:v>10843</c:v>
                </c:pt>
                <c:pt idx="4061">
                  <c:v>10585</c:v>
                </c:pt>
                <c:pt idx="4062">
                  <c:v>10310</c:v>
                </c:pt>
                <c:pt idx="4063">
                  <c:v>10576</c:v>
                </c:pt>
                <c:pt idx="4064">
                  <c:v>11163</c:v>
                </c:pt>
                <c:pt idx="4065">
                  <c:v>11881</c:v>
                </c:pt>
                <c:pt idx="4066">
                  <c:v>12676</c:v>
                </c:pt>
                <c:pt idx="4067">
                  <c:v>13220</c:v>
                </c:pt>
                <c:pt idx="4068">
                  <c:v>13499</c:v>
                </c:pt>
                <c:pt idx="4069">
                  <c:v>13389</c:v>
                </c:pt>
                <c:pt idx="4070">
                  <c:v>13445</c:v>
                </c:pt>
                <c:pt idx="4071">
                  <c:v>13024</c:v>
                </c:pt>
                <c:pt idx="4072">
                  <c:v>12750</c:v>
                </c:pt>
                <c:pt idx="4073">
                  <c:v>12470</c:v>
                </c:pt>
                <c:pt idx="4074">
                  <c:v>12534</c:v>
                </c:pt>
                <c:pt idx="4075">
                  <c:v>12447</c:v>
                </c:pt>
                <c:pt idx="4076">
                  <c:v>12164</c:v>
                </c:pt>
                <c:pt idx="4077">
                  <c:v>11956</c:v>
                </c:pt>
                <c:pt idx="4078">
                  <c:v>11723</c:v>
                </c:pt>
                <c:pt idx="4079">
                  <c:v>11606</c:v>
                </c:pt>
                <c:pt idx="4080">
                  <c:v>11583</c:v>
                </c:pt>
                <c:pt idx="4081">
                  <c:v>11337</c:v>
                </c:pt>
                <c:pt idx="4082">
                  <c:v>10992</c:v>
                </c:pt>
                <c:pt idx="4083">
                  <c:v>10875</c:v>
                </c:pt>
                <c:pt idx="4084">
                  <c:v>10667</c:v>
                </c:pt>
                <c:pt idx="4085">
                  <c:v>10436</c:v>
                </c:pt>
                <c:pt idx="4086">
                  <c:v>10133</c:v>
                </c:pt>
                <c:pt idx="4087">
                  <c:v>10079</c:v>
                </c:pt>
                <c:pt idx="4088">
                  <c:v>10429</c:v>
                </c:pt>
                <c:pt idx="4089">
                  <c:v>10852</c:v>
                </c:pt>
                <c:pt idx="4090">
                  <c:v>11149</c:v>
                </c:pt>
                <c:pt idx="4091">
                  <c:v>11328</c:v>
                </c:pt>
                <c:pt idx="4092">
                  <c:v>12147</c:v>
                </c:pt>
                <c:pt idx="4093">
                  <c:v>12280</c:v>
                </c:pt>
                <c:pt idx="4094">
                  <c:v>12121</c:v>
                </c:pt>
                <c:pt idx="4095">
                  <c:v>11914</c:v>
                </c:pt>
                <c:pt idx="4096">
                  <c:v>11815</c:v>
                </c:pt>
                <c:pt idx="4097">
                  <c:v>11676</c:v>
                </c:pt>
                <c:pt idx="4098">
                  <c:v>11814</c:v>
                </c:pt>
                <c:pt idx="4099">
                  <c:v>11841</c:v>
                </c:pt>
                <c:pt idx="4100">
                  <c:v>11903</c:v>
                </c:pt>
                <c:pt idx="4101">
                  <c:v>11899</c:v>
                </c:pt>
                <c:pt idx="4102">
                  <c:v>11767</c:v>
                </c:pt>
                <c:pt idx="4103">
                  <c:v>11694</c:v>
                </c:pt>
                <c:pt idx="4104">
                  <c:v>11745</c:v>
                </c:pt>
                <c:pt idx="4105">
                  <c:v>11730</c:v>
                </c:pt>
                <c:pt idx="4106">
                  <c:v>10771</c:v>
                </c:pt>
                <c:pt idx="4107">
                  <c:v>10498</c:v>
                </c:pt>
                <c:pt idx="4108">
                  <c:v>10458</c:v>
                </c:pt>
                <c:pt idx="4109">
                  <c:v>10376</c:v>
                </c:pt>
                <c:pt idx="4110">
                  <c:v>10150</c:v>
                </c:pt>
                <c:pt idx="4111">
                  <c:v>10190</c:v>
                </c:pt>
                <c:pt idx="4112">
                  <c:v>10387</c:v>
                </c:pt>
                <c:pt idx="4113">
                  <c:v>10701</c:v>
                </c:pt>
                <c:pt idx="4114">
                  <c:v>11372</c:v>
                </c:pt>
                <c:pt idx="4115">
                  <c:v>12103</c:v>
                </c:pt>
                <c:pt idx="4116">
                  <c:v>12471</c:v>
                </c:pt>
                <c:pt idx="4117">
                  <c:v>12638</c:v>
                </c:pt>
                <c:pt idx="4118">
                  <c:v>12587</c:v>
                </c:pt>
                <c:pt idx="4119">
                  <c:v>12552</c:v>
                </c:pt>
                <c:pt idx="4120">
                  <c:v>12261</c:v>
                </c:pt>
                <c:pt idx="4121">
                  <c:v>12164</c:v>
                </c:pt>
                <c:pt idx="4122">
                  <c:v>12273</c:v>
                </c:pt>
                <c:pt idx="4123">
                  <c:v>12627</c:v>
                </c:pt>
                <c:pt idx="4124">
                  <c:v>12595</c:v>
                </c:pt>
                <c:pt idx="4125">
                  <c:v>12713</c:v>
                </c:pt>
                <c:pt idx="4126">
                  <c:v>12562</c:v>
                </c:pt>
                <c:pt idx="4127">
                  <c:v>12433</c:v>
                </c:pt>
                <c:pt idx="4128">
                  <c:v>12243</c:v>
                </c:pt>
                <c:pt idx="4129">
                  <c:v>12027</c:v>
                </c:pt>
                <c:pt idx="4130">
                  <c:v>11418</c:v>
                </c:pt>
                <c:pt idx="4131">
                  <c:v>11168</c:v>
                </c:pt>
                <c:pt idx="4132">
                  <c:v>11032</c:v>
                </c:pt>
                <c:pt idx="4133">
                  <c:v>10961</c:v>
                </c:pt>
                <c:pt idx="4134">
                  <c:v>10844</c:v>
                </c:pt>
                <c:pt idx="4135">
                  <c:v>11501</c:v>
                </c:pt>
                <c:pt idx="4136">
                  <c:v>12898</c:v>
                </c:pt>
                <c:pt idx="4137">
                  <c:v>14743</c:v>
                </c:pt>
                <c:pt idx="4138">
                  <c:v>15240</c:v>
                </c:pt>
                <c:pt idx="4139">
                  <c:v>15376</c:v>
                </c:pt>
                <c:pt idx="4140">
                  <c:v>15772</c:v>
                </c:pt>
                <c:pt idx="4141">
                  <c:v>15885</c:v>
                </c:pt>
                <c:pt idx="4142">
                  <c:v>15735</c:v>
                </c:pt>
                <c:pt idx="4143">
                  <c:v>15613</c:v>
                </c:pt>
                <c:pt idx="4144">
                  <c:v>15551</c:v>
                </c:pt>
                <c:pt idx="4145">
                  <c:v>15561</c:v>
                </c:pt>
                <c:pt idx="4146">
                  <c:v>15352</c:v>
                </c:pt>
                <c:pt idx="4147">
                  <c:v>15070</c:v>
                </c:pt>
                <c:pt idx="4148">
                  <c:v>14660</c:v>
                </c:pt>
                <c:pt idx="4149">
                  <c:v>14509</c:v>
                </c:pt>
                <c:pt idx="4150">
                  <c:v>14220</c:v>
                </c:pt>
                <c:pt idx="4151">
                  <c:v>13859</c:v>
                </c:pt>
                <c:pt idx="4152">
                  <c:v>13622</c:v>
                </c:pt>
                <c:pt idx="4153">
                  <c:v>12914</c:v>
                </c:pt>
                <c:pt idx="4154">
                  <c:v>12271</c:v>
                </c:pt>
                <c:pt idx="4155">
                  <c:v>12029</c:v>
                </c:pt>
                <c:pt idx="4156">
                  <c:v>12012</c:v>
                </c:pt>
                <c:pt idx="4157">
                  <c:v>11765</c:v>
                </c:pt>
                <c:pt idx="4158">
                  <c:v>11554</c:v>
                </c:pt>
                <c:pt idx="4159">
                  <c:v>12037</c:v>
                </c:pt>
                <c:pt idx="4160">
                  <c:v>13454</c:v>
                </c:pt>
                <c:pt idx="4161">
                  <c:v>14849</c:v>
                </c:pt>
                <c:pt idx="4162">
                  <c:v>15357</c:v>
                </c:pt>
                <c:pt idx="4163">
                  <c:v>15602</c:v>
                </c:pt>
                <c:pt idx="4164">
                  <c:v>15772</c:v>
                </c:pt>
                <c:pt idx="4165">
                  <c:v>15755</c:v>
                </c:pt>
                <c:pt idx="4166">
                  <c:v>15612</c:v>
                </c:pt>
                <c:pt idx="4167">
                  <c:v>15536</c:v>
                </c:pt>
                <c:pt idx="4168">
                  <c:v>15229</c:v>
                </c:pt>
                <c:pt idx="4169">
                  <c:v>15124</c:v>
                </c:pt>
                <c:pt idx="4170">
                  <c:v>14876</c:v>
                </c:pt>
                <c:pt idx="4171">
                  <c:v>14987</c:v>
                </c:pt>
                <c:pt idx="4172">
                  <c:v>14598</c:v>
                </c:pt>
                <c:pt idx="4173">
                  <c:v>14401</c:v>
                </c:pt>
                <c:pt idx="4174">
                  <c:v>14112</c:v>
                </c:pt>
                <c:pt idx="4175">
                  <c:v>13564</c:v>
                </c:pt>
                <c:pt idx="4176">
                  <c:v>13247</c:v>
                </c:pt>
                <c:pt idx="4177">
                  <c:v>12668</c:v>
                </c:pt>
                <c:pt idx="4178">
                  <c:v>11919</c:v>
                </c:pt>
                <c:pt idx="4179">
                  <c:v>11519</c:v>
                </c:pt>
                <c:pt idx="4180">
                  <c:v>11324</c:v>
                </c:pt>
                <c:pt idx="4181">
                  <c:v>11167</c:v>
                </c:pt>
                <c:pt idx="4182">
                  <c:v>11056</c:v>
                </c:pt>
                <c:pt idx="4183">
                  <c:v>11604</c:v>
                </c:pt>
                <c:pt idx="4184">
                  <c:v>12821</c:v>
                </c:pt>
                <c:pt idx="4185">
                  <c:v>14597</c:v>
                </c:pt>
                <c:pt idx="4186">
                  <c:v>15151</c:v>
                </c:pt>
                <c:pt idx="4187">
                  <c:v>15307</c:v>
                </c:pt>
                <c:pt idx="4188">
                  <c:v>15408</c:v>
                </c:pt>
                <c:pt idx="4189">
                  <c:v>15397</c:v>
                </c:pt>
                <c:pt idx="4190">
                  <c:v>15373</c:v>
                </c:pt>
                <c:pt idx="4191">
                  <c:v>15339</c:v>
                </c:pt>
                <c:pt idx="4192">
                  <c:v>15171</c:v>
                </c:pt>
                <c:pt idx="4193">
                  <c:v>14983</c:v>
                </c:pt>
                <c:pt idx="4194">
                  <c:v>14459</c:v>
                </c:pt>
                <c:pt idx="4195">
                  <c:v>14738</c:v>
                </c:pt>
                <c:pt idx="4196">
                  <c:v>14557</c:v>
                </c:pt>
                <c:pt idx="4197">
                  <c:v>14387</c:v>
                </c:pt>
                <c:pt idx="4198">
                  <c:v>14159</c:v>
                </c:pt>
                <c:pt idx="4199">
                  <c:v>13939</c:v>
                </c:pt>
                <c:pt idx="4200">
                  <c:v>13961</c:v>
                </c:pt>
                <c:pt idx="4201">
                  <c:v>13426</c:v>
                </c:pt>
                <c:pt idx="4202">
                  <c:v>12867</c:v>
                </c:pt>
                <c:pt idx="4203">
                  <c:v>11691</c:v>
                </c:pt>
                <c:pt idx="4204">
                  <c:v>11653</c:v>
                </c:pt>
                <c:pt idx="4205">
                  <c:v>11571</c:v>
                </c:pt>
                <c:pt idx="4206">
                  <c:v>11393</c:v>
                </c:pt>
                <c:pt idx="4207">
                  <c:v>12068</c:v>
                </c:pt>
                <c:pt idx="4208">
                  <c:v>13462</c:v>
                </c:pt>
                <c:pt idx="4209">
                  <c:v>14947</c:v>
                </c:pt>
                <c:pt idx="4210">
                  <c:v>15766</c:v>
                </c:pt>
                <c:pt idx="4211">
                  <c:v>15899</c:v>
                </c:pt>
                <c:pt idx="4212">
                  <c:v>16025</c:v>
                </c:pt>
                <c:pt idx="4213">
                  <c:v>15985</c:v>
                </c:pt>
                <c:pt idx="4214">
                  <c:v>15889</c:v>
                </c:pt>
                <c:pt idx="4215">
                  <c:v>15817</c:v>
                </c:pt>
                <c:pt idx="4216">
                  <c:v>15538</c:v>
                </c:pt>
                <c:pt idx="4217">
                  <c:v>15455</c:v>
                </c:pt>
                <c:pt idx="4218">
                  <c:v>14965</c:v>
                </c:pt>
                <c:pt idx="4219">
                  <c:v>14877</c:v>
                </c:pt>
                <c:pt idx="4220">
                  <c:v>14623</c:v>
                </c:pt>
                <c:pt idx="4221">
                  <c:v>14411</c:v>
                </c:pt>
                <c:pt idx="4222">
                  <c:v>13901</c:v>
                </c:pt>
                <c:pt idx="4223">
                  <c:v>13615</c:v>
                </c:pt>
                <c:pt idx="4224">
                  <c:v>13361</c:v>
                </c:pt>
                <c:pt idx="4225">
                  <c:v>12930</c:v>
                </c:pt>
                <c:pt idx="4226">
                  <c:v>12186</c:v>
                </c:pt>
                <c:pt idx="4227">
                  <c:v>11824</c:v>
                </c:pt>
                <c:pt idx="4228">
                  <c:v>11674</c:v>
                </c:pt>
                <c:pt idx="4229">
                  <c:v>11458</c:v>
                </c:pt>
                <c:pt idx="4230">
                  <c:v>11126</c:v>
                </c:pt>
                <c:pt idx="4231">
                  <c:v>11857</c:v>
                </c:pt>
                <c:pt idx="4232">
                  <c:v>13502</c:v>
                </c:pt>
                <c:pt idx="4233">
                  <c:v>15025</c:v>
                </c:pt>
                <c:pt idx="4234">
                  <c:v>15602</c:v>
                </c:pt>
                <c:pt idx="4235">
                  <c:v>15647</c:v>
                </c:pt>
                <c:pt idx="4236">
                  <c:v>16063</c:v>
                </c:pt>
                <c:pt idx="4237">
                  <c:v>15832</c:v>
                </c:pt>
                <c:pt idx="4238">
                  <c:v>15521</c:v>
                </c:pt>
                <c:pt idx="4239">
                  <c:v>15276</c:v>
                </c:pt>
                <c:pt idx="4240">
                  <c:v>14931</c:v>
                </c:pt>
                <c:pt idx="4241">
                  <c:v>14576</c:v>
                </c:pt>
                <c:pt idx="4242">
                  <c:v>14433</c:v>
                </c:pt>
                <c:pt idx="4243">
                  <c:v>14282</c:v>
                </c:pt>
                <c:pt idx="4244">
                  <c:v>13980</c:v>
                </c:pt>
                <c:pt idx="4245">
                  <c:v>13595</c:v>
                </c:pt>
                <c:pt idx="4246">
                  <c:v>13106</c:v>
                </c:pt>
                <c:pt idx="4247">
                  <c:v>12719</c:v>
                </c:pt>
                <c:pt idx="4248">
                  <c:v>12368</c:v>
                </c:pt>
                <c:pt idx="4249">
                  <c:v>12184</c:v>
                </c:pt>
                <c:pt idx="4250">
                  <c:v>11680</c:v>
                </c:pt>
                <c:pt idx="4251">
                  <c:v>11387</c:v>
                </c:pt>
                <c:pt idx="4252">
                  <c:v>11034</c:v>
                </c:pt>
                <c:pt idx="4253">
                  <c:v>10614</c:v>
                </c:pt>
                <c:pt idx="4254">
                  <c:v>10549</c:v>
                </c:pt>
                <c:pt idx="4255">
                  <c:v>10947</c:v>
                </c:pt>
                <c:pt idx="4256">
                  <c:v>11393</c:v>
                </c:pt>
                <c:pt idx="4257">
                  <c:v>11600</c:v>
                </c:pt>
                <c:pt idx="4258">
                  <c:v>12184</c:v>
                </c:pt>
                <c:pt idx="4259">
                  <c:v>13005</c:v>
                </c:pt>
                <c:pt idx="4260">
                  <c:v>13414</c:v>
                </c:pt>
                <c:pt idx="4261">
                  <c:v>13402</c:v>
                </c:pt>
                <c:pt idx="4262">
                  <c:v>13316</c:v>
                </c:pt>
                <c:pt idx="4263">
                  <c:v>13101</c:v>
                </c:pt>
                <c:pt idx="4264">
                  <c:v>12746</c:v>
                </c:pt>
                <c:pt idx="4265">
                  <c:v>12613</c:v>
                </c:pt>
                <c:pt idx="4266">
                  <c:v>12618</c:v>
                </c:pt>
                <c:pt idx="4267">
                  <c:v>12745</c:v>
                </c:pt>
                <c:pt idx="4268">
                  <c:v>12732</c:v>
                </c:pt>
                <c:pt idx="4269">
                  <c:v>12551</c:v>
                </c:pt>
                <c:pt idx="4270">
                  <c:v>12239</c:v>
                </c:pt>
                <c:pt idx="4271">
                  <c:v>11983</c:v>
                </c:pt>
                <c:pt idx="4272">
                  <c:v>11787</c:v>
                </c:pt>
                <c:pt idx="4273">
                  <c:v>11492</c:v>
                </c:pt>
                <c:pt idx="4274">
                  <c:v>10946</c:v>
                </c:pt>
                <c:pt idx="4275">
                  <c:v>10556</c:v>
                </c:pt>
                <c:pt idx="4276">
                  <c:v>10414</c:v>
                </c:pt>
                <c:pt idx="4277">
                  <c:v>10077</c:v>
                </c:pt>
                <c:pt idx="4278">
                  <c:v>9841</c:v>
                </c:pt>
                <c:pt idx="4279">
                  <c:v>10052</c:v>
                </c:pt>
                <c:pt idx="4280">
                  <c:v>10522</c:v>
                </c:pt>
                <c:pt idx="4281">
                  <c:v>10885</c:v>
                </c:pt>
                <c:pt idx="4282">
                  <c:v>11762</c:v>
                </c:pt>
                <c:pt idx="4283">
                  <c:v>12368</c:v>
                </c:pt>
                <c:pt idx="4284">
                  <c:v>12533</c:v>
                </c:pt>
                <c:pt idx="4285">
                  <c:v>12595</c:v>
                </c:pt>
                <c:pt idx="4286">
                  <c:v>12391</c:v>
                </c:pt>
                <c:pt idx="4287">
                  <c:v>12294</c:v>
                </c:pt>
                <c:pt idx="4288">
                  <c:v>12196</c:v>
                </c:pt>
                <c:pt idx="4289">
                  <c:v>12266</c:v>
                </c:pt>
                <c:pt idx="4290">
                  <c:v>12203</c:v>
                </c:pt>
                <c:pt idx="4291">
                  <c:v>12365</c:v>
                </c:pt>
                <c:pt idx="4292">
                  <c:v>12531</c:v>
                </c:pt>
                <c:pt idx="4293">
                  <c:v>12585</c:v>
                </c:pt>
                <c:pt idx="4294">
                  <c:v>12460</c:v>
                </c:pt>
                <c:pt idx="4295">
                  <c:v>12141</c:v>
                </c:pt>
                <c:pt idx="4296">
                  <c:v>11673</c:v>
                </c:pt>
                <c:pt idx="4297">
                  <c:v>11085</c:v>
                </c:pt>
                <c:pt idx="4298">
                  <c:v>11379</c:v>
                </c:pt>
                <c:pt idx="4299">
                  <c:v>11063</c:v>
                </c:pt>
                <c:pt idx="4300">
                  <c:v>10998</c:v>
                </c:pt>
                <c:pt idx="4301">
                  <c:v>10799</c:v>
                </c:pt>
                <c:pt idx="4302">
                  <c:v>10696</c:v>
                </c:pt>
                <c:pt idx="4303">
                  <c:v>11196</c:v>
                </c:pt>
                <c:pt idx="4304">
                  <c:v>12656</c:v>
                </c:pt>
                <c:pt idx="4305">
                  <c:v>14308</c:v>
                </c:pt>
                <c:pt idx="4306">
                  <c:v>15061</c:v>
                </c:pt>
                <c:pt idx="4307">
                  <c:v>15573</c:v>
                </c:pt>
                <c:pt idx="4308">
                  <c:v>15650</c:v>
                </c:pt>
                <c:pt idx="4309">
                  <c:v>15735</c:v>
                </c:pt>
                <c:pt idx="4310">
                  <c:v>15558</c:v>
                </c:pt>
                <c:pt idx="4311">
                  <c:v>15535</c:v>
                </c:pt>
                <c:pt idx="4312">
                  <c:v>15401</c:v>
                </c:pt>
                <c:pt idx="4313">
                  <c:v>15431</c:v>
                </c:pt>
                <c:pt idx="4314">
                  <c:v>14853</c:v>
                </c:pt>
                <c:pt idx="4315">
                  <c:v>14875</c:v>
                </c:pt>
                <c:pt idx="4316">
                  <c:v>14447</c:v>
                </c:pt>
                <c:pt idx="4317">
                  <c:v>14170</c:v>
                </c:pt>
                <c:pt idx="4318">
                  <c:v>13885</c:v>
                </c:pt>
                <c:pt idx="4319">
                  <c:v>13368</c:v>
                </c:pt>
                <c:pt idx="4320">
                  <c:v>12949</c:v>
                </c:pt>
                <c:pt idx="4321">
                  <c:v>12533</c:v>
                </c:pt>
                <c:pt idx="4322">
                  <c:v>11543</c:v>
                </c:pt>
                <c:pt idx="4323">
                  <c:v>11049</c:v>
                </c:pt>
                <c:pt idx="4324">
                  <c:v>10838</c:v>
                </c:pt>
                <c:pt idx="4325">
                  <c:v>10627</c:v>
                </c:pt>
                <c:pt idx="4326">
                  <c:v>10553</c:v>
                </c:pt>
                <c:pt idx="4327">
                  <c:v>11085</c:v>
                </c:pt>
                <c:pt idx="4328">
                  <c:v>12579</c:v>
                </c:pt>
                <c:pt idx="4329">
                  <c:v>14070</c:v>
                </c:pt>
                <c:pt idx="4330">
                  <c:v>14789</c:v>
                </c:pt>
                <c:pt idx="4331">
                  <c:v>15089</c:v>
                </c:pt>
                <c:pt idx="4332">
                  <c:v>15382</c:v>
                </c:pt>
                <c:pt idx="4333">
                  <c:v>15447</c:v>
                </c:pt>
                <c:pt idx="4334">
                  <c:v>15088</c:v>
                </c:pt>
                <c:pt idx="4335">
                  <c:v>15022</c:v>
                </c:pt>
                <c:pt idx="4336">
                  <c:v>14931</c:v>
                </c:pt>
                <c:pt idx="4337">
                  <c:v>14820</c:v>
                </c:pt>
                <c:pt idx="4338">
                  <c:v>14540</c:v>
                </c:pt>
                <c:pt idx="4339">
                  <c:v>14499</c:v>
                </c:pt>
                <c:pt idx="4340">
                  <c:v>14101</c:v>
                </c:pt>
                <c:pt idx="4341">
                  <c:v>14002</c:v>
                </c:pt>
                <c:pt idx="4342">
                  <c:v>13648</c:v>
                </c:pt>
                <c:pt idx="4343">
                  <c:v>13413</c:v>
                </c:pt>
                <c:pt idx="4344">
                  <c:v>13001</c:v>
                </c:pt>
                <c:pt idx="4345">
                  <c:v>12473</c:v>
                </c:pt>
                <c:pt idx="4346">
                  <c:v>11722</c:v>
                </c:pt>
                <c:pt idx="4347">
                  <c:v>11402</c:v>
                </c:pt>
                <c:pt idx="4348">
                  <c:v>11139</c:v>
                </c:pt>
                <c:pt idx="4349">
                  <c:v>10918</c:v>
                </c:pt>
                <c:pt idx="4350">
                  <c:v>10791</c:v>
                </c:pt>
                <c:pt idx="4351">
                  <c:v>11237</c:v>
                </c:pt>
                <c:pt idx="4352">
                  <c:v>12641</c:v>
                </c:pt>
                <c:pt idx="4353">
                  <c:v>14196</c:v>
                </c:pt>
                <c:pt idx="4354">
                  <c:v>14987</c:v>
                </c:pt>
                <c:pt idx="4355">
                  <c:v>15419</c:v>
                </c:pt>
                <c:pt idx="4356">
                  <c:v>15491</c:v>
                </c:pt>
                <c:pt idx="4357">
                  <c:v>15423</c:v>
                </c:pt>
                <c:pt idx="4358">
                  <c:v>15130</c:v>
                </c:pt>
                <c:pt idx="4359">
                  <c:v>14802</c:v>
                </c:pt>
                <c:pt idx="4360">
                  <c:v>14616</c:v>
                </c:pt>
                <c:pt idx="4361">
                  <c:v>14586</c:v>
                </c:pt>
                <c:pt idx="4362">
                  <c:v>14667</c:v>
                </c:pt>
                <c:pt idx="4363">
                  <c:v>14278</c:v>
                </c:pt>
                <c:pt idx="4364">
                  <c:v>13793</c:v>
                </c:pt>
                <c:pt idx="4365">
                  <c:v>13457</c:v>
                </c:pt>
                <c:pt idx="4366">
                  <c:v>13022</c:v>
                </c:pt>
                <c:pt idx="4367">
                  <c:v>12496</c:v>
                </c:pt>
                <c:pt idx="4368">
                  <c:v>12291</c:v>
                </c:pt>
                <c:pt idx="4369">
                  <c:v>12124</c:v>
                </c:pt>
                <c:pt idx="4370">
                  <c:v>11135</c:v>
                </c:pt>
                <c:pt idx="4371">
                  <c:v>10833</c:v>
                </c:pt>
                <c:pt idx="4372">
                  <c:v>10415</c:v>
                </c:pt>
                <c:pt idx="4373">
                  <c:v>10102</c:v>
                </c:pt>
                <c:pt idx="4374">
                  <c:v>10033</c:v>
                </c:pt>
                <c:pt idx="4375">
                  <c:v>10497</c:v>
                </c:pt>
                <c:pt idx="4376">
                  <c:v>11982</c:v>
                </c:pt>
                <c:pt idx="4377">
                  <c:v>13569</c:v>
                </c:pt>
                <c:pt idx="4378">
                  <c:v>14564</c:v>
                </c:pt>
                <c:pt idx="4379">
                  <c:v>14624</c:v>
                </c:pt>
                <c:pt idx="4380">
                  <c:v>14815</c:v>
                </c:pt>
                <c:pt idx="4381">
                  <c:v>14686</c:v>
                </c:pt>
                <c:pt idx="4382">
                  <c:v>14635</c:v>
                </c:pt>
                <c:pt idx="4383">
                  <c:v>14560</c:v>
                </c:pt>
                <c:pt idx="4384">
                  <c:v>14459</c:v>
                </c:pt>
                <c:pt idx="4385">
                  <c:v>14515</c:v>
                </c:pt>
                <c:pt idx="4386">
                  <c:v>14233</c:v>
                </c:pt>
                <c:pt idx="4387">
                  <c:v>14203</c:v>
                </c:pt>
                <c:pt idx="4388">
                  <c:v>13836</c:v>
                </c:pt>
                <c:pt idx="4389">
                  <c:v>13399</c:v>
                </c:pt>
                <c:pt idx="4390">
                  <c:v>13150</c:v>
                </c:pt>
                <c:pt idx="4391">
                  <c:v>12792</c:v>
                </c:pt>
                <c:pt idx="4392">
                  <c:v>12134</c:v>
                </c:pt>
                <c:pt idx="4393">
                  <c:v>11387</c:v>
                </c:pt>
                <c:pt idx="4394">
                  <c:v>10979</c:v>
                </c:pt>
                <c:pt idx="4395">
                  <c:v>11049</c:v>
                </c:pt>
                <c:pt idx="4396">
                  <c:v>10643</c:v>
                </c:pt>
                <c:pt idx="4397">
                  <c:v>10678</c:v>
                </c:pt>
                <c:pt idx="4398">
                  <c:v>9991</c:v>
                </c:pt>
                <c:pt idx="4399">
                  <c:v>10300</c:v>
                </c:pt>
                <c:pt idx="4400">
                  <c:v>12111</c:v>
                </c:pt>
                <c:pt idx="4401">
                  <c:v>13796</c:v>
                </c:pt>
                <c:pt idx="4402">
                  <c:v>14600</c:v>
                </c:pt>
                <c:pt idx="4403">
                  <c:v>14861</c:v>
                </c:pt>
                <c:pt idx="4404">
                  <c:v>15195</c:v>
                </c:pt>
                <c:pt idx="4405">
                  <c:v>14972</c:v>
                </c:pt>
                <c:pt idx="4406">
                  <c:v>14594</c:v>
                </c:pt>
                <c:pt idx="4407">
                  <c:v>14468</c:v>
                </c:pt>
                <c:pt idx="4408">
                  <c:v>14219</c:v>
                </c:pt>
                <c:pt idx="4409">
                  <c:v>13863</c:v>
                </c:pt>
                <c:pt idx="4410">
                  <c:v>13560</c:v>
                </c:pt>
                <c:pt idx="4411">
                  <c:v>13641</c:v>
                </c:pt>
                <c:pt idx="4412">
                  <c:v>13502</c:v>
                </c:pt>
                <c:pt idx="4413">
                  <c:v>13183</c:v>
                </c:pt>
                <c:pt idx="4414">
                  <c:v>12488</c:v>
                </c:pt>
                <c:pt idx="4415">
                  <c:v>11653</c:v>
                </c:pt>
                <c:pt idx="4416">
                  <c:v>11342</c:v>
                </c:pt>
                <c:pt idx="4417">
                  <c:v>10987</c:v>
                </c:pt>
                <c:pt idx="4418">
                  <c:v>10293</c:v>
                </c:pt>
                <c:pt idx="4419">
                  <c:v>10195</c:v>
                </c:pt>
                <c:pt idx="4420">
                  <c:v>10095</c:v>
                </c:pt>
                <c:pt idx="4421">
                  <c:v>9733</c:v>
                </c:pt>
                <c:pt idx="4422">
                  <c:v>9389</c:v>
                </c:pt>
                <c:pt idx="4423">
                  <c:v>9279</c:v>
                </c:pt>
                <c:pt idx="4424">
                  <c:v>9650</c:v>
                </c:pt>
                <c:pt idx="4425">
                  <c:v>10513</c:v>
                </c:pt>
                <c:pt idx="4426">
                  <c:v>11151</c:v>
                </c:pt>
                <c:pt idx="4427">
                  <c:v>11901</c:v>
                </c:pt>
                <c:pt idx="4428">
                  <c:v>12264</c:v>
                </c:pt>
                <c:pt idx="4429">
                  <c:v>12411</c:v>
                </c:pt>
                <c:pt idx="4430">
                  <c:v>12366</c:v>
                </c:pt>
                <c:pt idx="4431">
                  <c:v>12225</c:v>
                </c:pt>
                <c:pt idx="4432">
                  <c:v>11939</c:v>
                </c:pt>
                <c:pt idx="4433">
                  <c:v>11955</c:v>
                </c:pt>
                <c:pt idx="4434">
                  <c:v>11967</c:v>
                </c:pt>
                <c:pt idx="4435">
                  <c:v>12093</c:v>
                </c:pt>
                <c:pt idx="4436">
                  <c:v>12066</c:v>
                </c:pt>
                <c:pt idx="4437">
                  <c:v>12132</c:v>
                </c:pt>
                <c:pt idx="4438">
                  <c:v>12018</c:v>
                </c:pt>
                <c:pt idx="4439">
                  <c:v>11631</c:v>
                </c:pt>
                <c:pt idx="4440">
                  <c:v>11311</c:v>
                </c:pt>
                <c:pt idx="4441">
                  <c:v>10831</c:v>
                </c:pt>
                <c:pt idx="4442">
                  <c:v>10434</c:v>
                </c:pt>
                <c:pt idx="4443">
                  <c:v>10193</c:v>
                </c:pt>
                <c:pt idx="4444">
                  <c:v>10263</c:v>
                </c:pt>
                <c:pt idx="4445">
                  <c:v>10866</c:v>
                </c:pt>
                <c:pt idx="4446">
                  <c:v>9675</c:v>
                </c:pt>
                <c:pt idx="4447">
                  <c:v>9256</c:v>
                </c:pt>
                <c:pt idx="4448">
                  <c:v>9648</c:v>
                </c:pt>
                <c:pt idx="4449">
                  <c:v>10483</c:v>
                </c:pt>
                <c:pt idx="4450">
                  <c:v>11198</c:v>
                </c:pt>
                <c:pt idx="4451">
                  <c:v>11827</c:v>
                </c:pt>
                <c:pt idx="4452">
                  <c:v>12215</c:v>
                </c:pt>
                <c:pt idx="4453">
                  <c:v>12441</c:v>
                </c:pt>
                <c:pt idx="4454">
                  <c:v>12383</c:v>
                </c:pt>
                <c:pt idx="4455">
                  <c:v>12358</c:v>
                </c:pt>
                <c:pt idx="4456">
                  <c:v>12242</c:v>
                </c:pt>
                <c:pt idx="4457">
                  <c:v>12350</c:v>
                </c:pt>
                <c:pt idx="4458">
                  <c:v>12229</c:v>
                </c:pt>
                <c:pt idx="4459">
                  <c:v>12373</c:v>
                </c:pt>
                <c:pt idx="4460">
                  <c:v>12398</c:v>
                </c:pt>
                <c:pt idx="4461">
                  <c:v>12251</c:v>
                </c:pt>
                <c:pt idx="4462">
                  <c:v>11760</c:v>
                </c:pt>
                <c:pt idx="4463">
                  <c:v>11816</c:v>
                </c:pt>
                <c:pt idx="4464">
                  <c:v>11585</c:v>
                </c:pt>
                <c:pt idx="4465">
                  <c:v>11266</c:v>
                </c:pt>
                <c:pt idx="4466">
                  <c:v>10480</c:v>
                </c:pt>
                <c:pt idx="4467">
                  <c:v>10005</c:v>
                </c:pt>
                <c:pt idx="4468">
                  <c:v>10124</c:v>
                </c:pt>
                <c:pt idx="4469">
                  <c:v>9939</c:v>
                </c:pt>
                <c:pt idx="4470">
                  <c:v>9654</c:v>
                </c:pt>
                <c:pt idx="4471">
                  <c:v>9858</c:v>
                </c:pt>
                <c:pt idx="4472">
                  <c:v>11047</c:v>
                </c:pt>
                <c:pt idx="4473">
                  <c:v>12431</c:v>
                </c:pt>
                <c:pt idx="4474">
                  <c:v>13463</c:v>
                </c:pt>
                <c:pt idx="4475">
                  <c:v>13896</c:v>
                </c:pt>
                <c:pt idx="4476">
                  <c:v>14456</c:v>
                </c:pt>
                <c:pt idx="4477">
                  <c:v>14316</c:v>
                </c:pt>
                <c:pt idx="4478">
                  <c:v>14138</c:v>
                </c:pt>
                <c:pt idx="4479">
                  <c:v>14171</c:v>
                </c:pt>
                <c:pt idx="4480">
                  <c:v>14066</c:v>
                </c:pt>
                <c:pt idx="4481">
                  <c:v>14100</c:v>
                </c:pt>
                <c:pt idx="4482">
                  <c:v>13964</c:v>
                </c:pt>
                <c:pt idx="4483">
                  <c:v>13706</c:v>
                </c:pt>
                <c:pt idx="4484">
                  <c:v>13701</c:v>
                </c:pt>
                <c:pt idx="4485">
                  <c:v>13522</c:v>
                </c:pt>
                <c:pt idx="4486">
                  <c:v>13097</c:v>
                </c:pt>
                <c:pt idx="4487">
                  <c:v>12480</c:v>
                </c:pt>
                <c:pt idx="4488">
                  <c:v>12362</c:v>
                </c:pt>
                <c:pt idx="4489">
                  <c:v>11706</c:v>
                </c:pt>
                <c:pt idx="4490">
                  <c:v>10933</c:v>
                </c:pt>
                <c:pt idx="4491">
                  <c:v>10911</c:v>
                </c:pt>
                <c:pt idx="4492">
                  <c:v>10694</c:v>
                </c:pt>
                <c:pt idx="4493">
                  <c:v>10598</c:v>
                </c:pt>
                <c:pt idx="4494">
                  <c:v>10389</c:v>
                </c:pt>
                <c:pt idx="4495">
                  <c:v>10618</c:v>
                </c:pt>
                <c:pt idx="4496">
                  <c:v>11787</c:v>
                </c:pt>
                <c:pt idx="4497">
                  <c:v>12949</c:v>
                </c:pt>
                <c:pt idx="4498">
                  <c:v>13730</c:v>
                </c:pt>
                <c:pt idx="4499">
                  <c:v>14157</c:v>
                </c:pt>
                <c:pt idx="4500">
                  <c:v>14220</c:v>
                </c:pt>
                <c:pt idx="4501">
                  <c:v>14206</c:v>
                </c:pt>
                <c:pt idx="4502">
                  <c:v>14164</c:v>
                </c:pt>
                <c:pt idx="4503">
                  <c:v>14061</c:v>
                </c:pt>
                <c:pt idx="4504">
                  <c:v>13995</c:v>
                </c:pt>
                <c:pt idx="4505">
                  <c:v>14118</c:v>
                </c:pt>
                <c:pt idx="4506">
                  <c:v>13908</c:v>
                </c:pt>
                <c:pt idx="4507">
                  <c:v>13742</c:v>
                </c:pt>
                <c:pt idx="4508">
                  <c:v>13460</c:v>
                </c:pt>
                <c:pt idx="4509">
                  <c:v>13378</c:v>
                </c:pt>
                <c:pt idx="4510">
                  <c:v>13101</c:v>
                </c:pt>
                <c:pt idx="4511">
                  <c:v>12806</c:v>
                </c:pt>
                <c:pt idx="4512">
                  <c:v>12323</c:v>
                </c:pt>
                <c:pt idx="4513">
                  <c:v>11887</c:v>
                </c:pt>
                <c:pt idx="4514">
                  <c:v>11268</c:v>
                </c:pt>
                <c:pt idx="4515">
                  <c:v>11037</c:v>
                </c:pt>
                <c:pt idx="4516">
                  <c:v>10700</c:v>
                </c:pt>
                <c:pt idx="4517">
                  <c:v>10591</c:v>
                </c:pt>
                <c:pt idx="4518">
                  <c:v>10509</c:v>
                </c:pt>
                <c:pt idx="4519">
                  <c:v>10835</c:v>
                </c:pt>
                <c:pt idx="4520">
                  <c:v>11982</c:v>
                </c:pt>
                <c:pt idx="4521">
                  <c:v>13126</c:v>
                </c:pt>
                <c:pt idx="4522">
                  <c:v>13750</c:v>
                </c:pt>
                <c:pt idx="4523">
                  <c:v>14216</c:v>
                </c:pt>
                <c:pt idx="4524">
                  <c:v>14541</c:v>
                </c:pt>
                <c:pt idx="4525">
                  <c:v>14711</c:v>
                </c:pt>
                <c:pt idx="4526">
                  <c:v>14595</c:v>
                </c:pt>
                <c:pt idx="4527">
                  <c:v>14455</c:v>
                </c:pt>
                <c:pt idx="4528">
                  <c:v>14367</c:v>
                </c:pt>
                <c:pt idx="4529">
                  <c:v>14192</c:v>
                </c:pt>
                <c:pt idx="4530">
                  <c:v>14074</c:v>
                </c:pt>
                <c:pt idx="4531">
                  <c:v>14080</c:v>
                </c:pt>
                <c:pt idx="4532">
                  <c:v>13915</c:v>
                </c:pt>
                <c:pt idx="4533">
                  <c:v>13591</c:v>
                </c:pt>
                <c:pt idx="4534">
                  <c:v>13108</c:v>
                </c:pt>
                <c:pt idx="4535">
                  <c:v>12792</c:v>
                </c:pt>
                <c:pt idx="4536">
                  <c:v>12453</c:v>
                </c:pt>
                <c:pt idx="4537">
                  <c:v>11844</c:v>
                </c:pt>
                <c:pt idx="4538">
                  <c:v>11108</c:v>
                </c:pt>
                <c:pt idx="4539">
                  <c:v>10559</c:v>
                </c:pt>
                <c:pt idx="4540">
                  <c:v>10291</c:v>
                </c:pt>
                <c:pt idx="4541">
                  <c:v>10056</c:v>
                </c:pt>
                <c:pt idx="4542">
                  <c:v>9905</c:v>
                </c:pt>
                <c:pt idx="4543">
                  <c:v>10205</c:v>
                </c:pt>
                <c:pt idx="4544">
                  <c:v>11328</c:v>
                </c:pt>
                <c:pt idx="4545">
                  <c:v>12474</c:v>
                </c:pt>
                <c:pt idx="4546">
                  <c:v>13437</c:v>
                </c:pt>
                <c:pt idx="4547">
                  <c:v>13709</c:v>
                </c:pt>
                <c:pt idx="4548">
                  <c:v>14342</c:v>
                </c:pt>
                <c:pt idx="4549">
                  <c:v>14427</c:v>
                </c:pt>
                <c:pt idx="4550">
                  <c:v>14552</c:v>
                </c:pt>
                <c:pt idx="4551">
                  <c:v>14296</c:v>
                </c:pt>
                <c:pt idx="4552">
                  <c:v>14145</c:v>
                </c:pt>
                <c:pt idx="4553">
                  <c:v>14043</c:v>
                </c:pt>
                <c:pt idx="4554">
                  <c:v>13729</c:v>
                </c:pt>
                <c:pt idx="4555">
                  <c:v>13570</c:v>
                </c:pt>
                <c:pt idx="4556">
                  <c:v>13387</c:v>
                </c:pt>
                <c:pt idx="4557">
                  <c:v>13223</c:v>
                </c:pt>
                <c:pt idx="4558">
                  <c:v>12900</c:v>
                </c:pt>
                <c:pt idx="4559">
                  <c:v>12437</c:v>
                </c:pt>
                <c:pt idx="4560">
                  <c:v>12192</c:v>
                </c:pt>
                <c:pt idx="4561">
                  <c:v>11534</c:v>
                </c:pt>
                <c:pt idx="4562">
                  <c:v>11004</c:v>
                </c:pt>
                <c:pt idx="4563">
                  <c:v>10774</c:v>
                </c:pt>
                <c:pt idx="4564">
                  <c:v>10785</c:v>
                </c:pt>
                <c:pt idx="4565">
                  <c:v>10816</c:v>
                </c:pt>
                <c:pt idx="4566">
                  <c:v>10675</c:v>
                </c:pt>
                <c:pt idx="4567">
                  <c:v>10869</c:v>
                </c:pt>
                <c:pt idx="4568">
                  <c:v>11878</c:v>
                </c:pt>
                <c:pt idx="4569">
                  <c:v>13061</c:v>
                </c:pt>
                <c:pt idx="4570">
                  <c:v>13647</c:v>
                </c:pt>
                <c:pt idx="4571">
                  <c:v>14143</c:v>
                </c:pt>
                <c:pt idx="4572">
                  <c:v>14512</c:v>
                </c:pt>
                <c:pt idx="4573">
                  <c:v>14522</c:v>
                </c:pt>
                <c:pt idx="4574">
                  <c:v>14493</c:v>
                </c:pt>
                <c:pt idx="4575">
                  <c:v>14059</c:v>
                </c:pt>
                <c:pt idx="4576">
                  <c:v>13908</c:v>
                </c:pt>
                <c:pt idx="4577">
                  <c:v>13866</c:v>
                </c:pt>
                <c:pt idx="4578">
                  <c:v>13627</c:v>
                </c:pt>
                <c:pt idx="4579">
                  <c:v>13588</c:v>
                </c:pt>
                <c:pt idx="4580">
                  <c:v>13221</c:v>
                </c:pt>
                <c:pt idx="4581">
                  <c:v>12981</c:v>
                </c:pt>
                <c:pt idx="4582">
                  <c:v>12494</c:v>
                </c:pt>
                <c:pt idx="4583">
                  <c:v>12107</c:v>
                </c:pt>
                <c:pt idx="4584">
                  <c:v>11883</c:v>
                </c:pt>
                <c:pt idx="4585">
                  <c:v>11338</c:v>
                </c:pt>
                <c:pt idx="4586">
                  <c:v>10997</c:v>
                </c:pt>
                <c:pt idx="4587">
                  <c:v>10585</c:v>
                </c:pt>
                <c:pt idx="4588">
                  <c:v>10371</c:v>
                </c:pt>
                <c:pt idx="4589">
                  <c:v>10103</c:v>
                </c:pt>
                <c:pt idx="4590">
                  <c:v>9727</c:v>
                </c:pt>
                <c:pt idx="4591">
                  <c:v>9688</c:v>
                </c:pt>
                <c:pt idx="4592">
                  <c:v>10026</c:v>
                </c:pt>
                <c:pt idx="4593">
                  <c:v>10792</c:v>
                </c:pt>
                <c:pt idx="4594">
                  <c:v>11465</c:v>
                </c:pt>
                <c:pt idx="4595">
                  <c:v>12027</c:v>
                </c:pt>
                <c:pt idx="4596">
                  <c:v>12339</c:v>
                </c:pt>
                <c:pt idx="4597">
                  <c:v>12316</c:v>
                </c:pt>
                <c:pt idx="4598">
                  <c:v>12210</c:v>
                </c:pt>
                <c:pt idx="4599">
                  <c:v>12097</c:v>
                </c:pt>
                <c:pt idx="4600">
                  <c:v>11887</c:v>
                </c:pt>
                <c:pt idx="4601">
                  <c:v>11753</c:v>
                </c:pt>
                <c:pt idx="4602">
                  <c:v>11816</c:v>
                </c:pt>
                <c:pt idx="4603">
                  <c:v>11914</c:v>
                </c:pt>
                <c:pt idx="4604">
                  <c:v>11872</c:v>
                </c:pt>
                <c:pt idx="4605">
                  <c:v>11802</c:v>
                </c:pt>
                <c:pt idx="4606">
                  <c:v>11546</c:v>
                </c:pt>
                <c:pt idx="4607">
                  <c:v>11368</c:v>
                </c:pt>
                <c:pt idx="4608">
                  <c:v>11375</c:v>
                </c:pt>
                <c:pt idx="4609">
                  <c:v>11095</c:v>
                </c:pt>
                <c:pt idx="4610">
                  <c:v>10545</c:v>
                </c:pt>
                <c:pt idx="4611">
                  <c:v>10304</c:v>
                </c:pt>
                <c:pt idx="4612">
                  <c:v>10135</c:v>
                </c:pt>
                <c:pt idx="4613">
                  <c:v>9955</c:v>
                </c:pt>
                <c:pt idx="4614">
                  <c:v>9686</c:v>
                </c:pt>
                <c:pt idx="4615">
                  <c:v>9556</c:v>
                </c:pt>
                <c:pt idx="4616">
                  <c:v>9658</c:v>
                </c:pt>
                <c:pt idx="4617">
                  <c:v>10083</c:v>
                </c:pt>
                <c:pt idx="4618">
                  <c:v>10686</c:v>
                </c:pt>
                <c:pt idx="4619">
                  <c:v>11408</c:v>
                </c:pt>
                <c:pt idx="4620">
                  <c:v>11822</c:v>
                </c:pt>
                <c:pt idx="4621">
                  <c:v>12114</c:v>
                </c:pt>
                <c:pt idx="4622">
                  <c:v>12179</c:v>
                </c:pt>
                <c:pt idx="4623">
                  <c:v>12128</c:v>
                </c:pt>
                <c:pt idx="4624">
                  <c:v>11949</c:v>
                </c:pt>
                <c:pt idx="4625">
                  <c:v>11978</c:v>
                </c:pt>
                <c:pt idx="4626">
                  <c:v>12005</c:v>
                </c:pt>
                <c:pt idx="4627">
                  <c:v>12214</c:v>
                </c:pt>
                <c:pt idx="4628">
                  <c:v>12098</c:v>
                </c:pt>
                <c:pt idx="4629">
                  <c:v>12045</c:v>
                </c:pt>
                <c:pt idx="4630">
                  <c:v>11884</c:v>
                </c:pt>
                <c:pt idx="4631">
                  <c:v>11748</c:v>
                </c:pt>
                <c:pt idx="4632">
                  <c:v>11522</c:v>
                </c:pt>
                <c:pt idx="4633">
                  <c:v>11094</c:v>
                </c:pt>
                <c:pt idx="4634">
                  <c:v>10511</c:v>
                </c:pt>
                <c:pt idx="4635">
                  <c:v>10312</c:v>
                </c:pt>
                <c:pt idx="4636">
                  <c:v>10160</c:v>
                </c:pt>
                <c:pt idx="4637">
                  <c:v>9981</c:v>
                </c:pt>
                <c:pt idx="4638">
                  <c:v>9876</c:v>
                </c:pt>
                <c:pt idx="4639">
                  <c:v>10153</c:v>
                </c:pt>
                <c:pt idx="4640">
                  <c:v>11035</c:v>
                </c:pt>
                <c:pt idx="4641">
                  <c:v>12208</c:v>
                </c:pt>
                <c:pt idx="4642">
                  <c:v>12835</c:v>
                </c:pt>
                <c:pt idx="4643">
                  <c:v>13364</c:v>
                </c:pt>
                <c:pt idx="4644">
                  <c:v>13643</c:v>
                </c:pt>
                <c:pt idx="4645">
                  <c:v>13684</c:v>
                </c:pt>
                <c:pt idx="4646">
                  <c:v>13605</c:v>
                </c:pt>
                <c:pt idx="4647">
                  <c:v>13247</c:v>
                </c:pt>
                <c:pt idx="4648">
                  <c:v>13159</c:v>
                </c:pt>
                <c:pt idx="4649">
                  <c:v>13187</c:v>
                </c:pt>
                <c:pt idx="4650">
                  <c:v>13267</c:v>
                </c:pt>
                <c:pt idx="4651">
                  <c:v>13171</c:v>
                </c:pt>
                <c:pt idx="4652">
                  <c:v>12810</c:v>
                </c:pt>
                <c:pt idx="4653">
                  <c:v>12641</c:v>
                </c:pt>
                <c:pt idx="4654">
                  <c:v>12488</c:v>
                </c:pt>
                <c:pt idx="4655">
                  <c:v>12073</c:v>
                </c:pt>
                <c:pt idx="4656">
                  <c:v>11900</c:v>
                </c:pt>
                <c:pt idx="4657">
                  <c:v>11338</c:v>
                </c:pt>
                <c:pt idx="4658">
                  <c:v>10585</c:v>
                </c:pt>
                <c:pt idx="4659">
                  <c:v>10236</c:v>
                </c:pt>
                <c:pt idx="4660">
                  <c:v>10140</c:v>
                </c:pt>
                <c:pt idx="4661">
                  <c:v>10026</c:v>
                </c:pt>
                <c:pt idx="4662">
                  <c:v>9842</c:v>
                </c:pt>
                <c:pt idx="4663">
                  <c:v>10013</c:v>
                </c:pt>
                <c:pt idx="4664">
                  <c:v>10787</c:v>
                </c:pt>
                <c:pt idx="4665">
                  <c:v>11900</c:v>
                </c:pt>
                <c:pt idx="4666">
                  <c:v>12718</c:v>
                </c:pt>
                <c:pt idx="4667">
                  <c:v>13022</c:v>
                </c:pt>
                <c:pt idx="4668">
                  <c:v>13352</c:v>
                </c:pt>
                <c:pt idx="4669">
                  <c:v>13457</c:v>
                </c:pt>
                <c:pt idx="4670">
                  <c:v>13342</c:v>
                </c:pt>
                <c:pt idx="4671">
                  <c:v>13289</c:v>
                </c:pt>
                <c:pt idx="4672">
                  <c:v>13219</c:v>
                </c:pt>
                <c:pt idx="4673">
                  <c:v>13300</c:v>
                </c:pt>
                <c:pt idx="4674">
                  <c:v>13109</c:v>
                </c:pt>
                <c:pt idx="4675">
                  <c:v>13124</c:v>
                </c:pt>
                <c:pt idx="4676">
                  <c:v>12975</c:v>
                </c:pt>
                <c:pt idx="4677">
                  <c:v>12746</c:v>
                </c:pt>
                <c:pt idx="4678">
                  <c:v>12343</c:v>
                </c:pt>
                <c:pt idx="4679">
                  <c:v>11941</c:v>
                </c:pt>
                <c:pt idx="4680">
                  <c:v>11628</c:v>
                </c:pt>
                <c:pt idx="4681">
                  <c:v>11157</c:v>
                </c:pt>
                <c:pt idx="4682">
                  <c:v>10574</c:v>
                </c:pt>
                <c:pt idx="4683">
                  <c:v>10252</c:v>
                </c:pt>
                <c:pt idx="4684">
                  <c:v>10132</c:v>
                </c:pt>
                <c:pt idx="4685">
                  <c:v>10048</c:v>
                </c:pt>
                <c:pt idx="4686">
                  <c:v>9705</c:v>
                </c:pt>
                <c:pt idx="4687">
                  <c:v>9972</c:v>
                </c:pt>
                <c:pt idx="4688">
                  <c:v>11090</c:v>
                </c:pt>
                <c:pt idx="4689">
                  <c:v>12345</c:v>
                </c:pt>
                <c:pt idx="4690">
                  <c:v>13052</c:v>
                </c:pt>
                <c:pt idx="4691">
                  <c:v>13336</c:v>
                </c:pt>
                <c:pt idx="4692">
                  <c:v>13547</c:v>
                </c:pt>
                <c:pt idx="4693">
                  <c:v>13721</c:v>
                </c:pt>
                <c:pt idx="4694">
                  <c:v>13686</c:v>
                </c:pt>
                <c:pt idx="4695">
                  <c:v>13563</c:v>
                </c:pt>
                <c:pt idx="4696">
                  <c:v>13365</c:v>
                </c:pt>
                <c:pt idx="4697">
                  <c:v>13178</c:v>
                </c:pt>
                <c:pt idx="4698">
                  <c:v>12923</c:v>
                </c:pt>
                <c:pt idx="4699">
                  <c:v>13036</c:v>
                </c:pt>
                <c:pt idx="4700">
                  <c:v>12807</c:v>
                </c:pt>
                <c:pt idx="4701">
                  <c:v>12527</c:v>
                </c:pt>
                <c:pt idx="4702">
                  <c:v>12376</c:v>
                </c:pt>
                <c:pt idx="4703">
                  <c:v>12083</c:v>
                </c:pt>
                <c:pt idx="4704">
                  <c:v>11793</c:v>
                </c:pt>
                <c:pt idx="4705">
                  <c:v>11217</c:v>
                </c:pt>
                <c:pt idx="4706">
                  <c:v>10626</c:v>
                </c:pt>
                <c:pt idx="4707">
                  <c:v>10442</c:v>
                </c:pt>
                <c:pt idx="4708">
                  <c:v>10408</c:v>
                </c:pt>
                <c:pt idx="4709">
                  <c:v>10345</c:v>
                </c:pt>
                <c:pt idx="4710">
                  <c:v>10107</c:v>
                </c:pt>
                <c:pt idx="4711">
                  <c:v>10216</c:v>
                </c:pt>
                <c:pt idx="4712">
                  <c:v>11154</c:v>
                </c:pt>
                <c:pt idx="4713">
                  <c:v>12254</c:v>
                </c:pt>
                <c:pt idx="4714">
                  <c:v>12990</c:v>
                </c:pt>
                <c:pt idx="4715">
                  <c:v>13510</c:v>
                </c:pt>
                <c:pt idx="4716">
                  <c:v>13778</c:v>
                </c:pt>
                <c:pt idx="4717">
                  <c:v>13756</c:v>
                </c:pt>
                <c:pt idx="4718">
                  <c:v>13598</c:v>
                </c:pt>
                <c:pt idx="4719">
                  <c:v>13432</c:v>
                </c:pt>
                <c:pt idx="4720">
                  <c:v>13158</c:v>
                </c:pt>
                <c:pt idx="4721">
                  <c:v>12933</c:v>
                </c:pt>
                <c:pt idx="4722">
                  <c:v>12745</c:v>
                </c:pt>
                <c:pt idx="4723">
                  <c:v>12788</c:v>
                </c:pt>
                <c:pt idx="4724">
                  <c:v>12542</c:v>
                </c:pt>
                <c:pt idx="4725">
                  <c:v>12227</c:v>
                </c:pt>
                <c:pt idx="4726">
                  <c:v>11991</c:v>
                </c:pt>
                <c:pt idx="4727">
                  <c:v>11775</c:v>
                </c:pt>
                <c:pt idx="4728">
                  <c:v>11409</c:v>
                </c:pt>
                <c:pt idx="4729">
                  <c:v>10818</c:v>
                </c:pt>
                <c:pt idx="4730">
                  <c:v>10075</c:v>
                </c:pt>
                <c:pt idx="4731">
                  <c:v>9684</c:v>
                </c:pt>
                <c:pt idx="4732">
                  <c:v>9425</c:v>
                </c:pt>
                <c:pt idx="4733">
                  <c:v>9374</c:v>
                </c:pt>
                <c:pt idx="4734">
                  <c:v>9263</c:v>
                </c:pt>
                <c:pt idx="4735">
                  <c:v>9531</c:v>
                </c:pt>
                <c:pt idx="4736">
                  <c:v>10670</c:v>
                </c:pt>
                <c:pt idx="4737">
                  <c:v>11967</c:v>
                </c:pt>
                <c:pt idx="4738">
                  <c:v>12582</c:v>
                </c:pt>
                <c:pt idx="4739">
                  <c:v>13164</c:v>
                </c:pt>
                <c:pt idx="4740">
                  <c:v>13388</c:v>
                </c:pt>
                <c:pt idx="4741">
                  <c:v>13285</c:v>
                </c:pt>
                <c:pt idx="4742">
                  <c:v>13067</c:v>
                </c:pt>
                <c:pt idx="4743">
                  <c:v>12902</c:v>
                </c:pt>
                <c:pt idx="4744">
                  <c:v>12706</c:v>
                </c:pt>
                <c:pt idx="4745">
                  <c:v>12423</c:v>
                </c:pt>
                <c:pt idx="4746">
                  <c:v>12300</c:v>
                </c:pt>
                <c:pt idx="4747">
                  <c:v>12332</c:v>
                </c:pt>
                <c:pt idx="4748">
                  <c:v>12237</c:v>
                </c:pt>
                <c:pt idx="4749">
                  <c:v>12003</c:v>
                </c:pt>
                <c:pt idx="4750">
                  <c:v>11612</c:v>
                </c:pt>
                <c:pt idx="4751">
                  <c:v>11339</c:v>
                </c:pt>
                <c:pt idx="4752">
                  <c:v>11009</c:v>
                </c:pt>
                <c:pt idx="4753">
                  <c:v>10624</c:v>
                </c:pt>
                <c:pt idx="4754">
                  <c:v>10115</c:v>
                </c:pt>
                <c:pt idx="4755">
                  <c:v>9761</c:v>
                </c:pt>
                <c:pt idx="4756">
                  <c:v>9509</c:v>
                </c:pt>
                <c:pt idx="4757">
                  <c:v>9416</c:v>
                </c:pt>
                <c:pt idx="4758">
                  <c:v>9247</c:v>
                </c:pt>
                <c:pt idx="4759">
                  <c:v>9153</c:v>
                </c:pt>
                <c:pt idx="4760">
                  <c:v>9401</c:v>
                </c:pt>
                <c:pt idx="4761">
                  <c:v>10151</c:v>
                </c:pt>
                <c:pt idx="4762">
                  <c:v>10810</c:v>
                </c:pt>
                <c:pt idx="4763">
                  <c:v>11513</c:v>
                </c:pt>
                <c:pt idx="4764">
                  <c:v>11933</c:v>
                </c:pt>
                <c:pt idx="4765">
                  <c:v>12024</c:v>
                </c:pt>
                <c:pt idx="4766">
                  <c:v>12049</c:v>
                </c:pt>
                <c:pt idx="4767">
                  <c:v>11791</c:v>
                </c:pt>
                <c:pt idx="4768">
                  <c:v>11673</c:v>
                </c:pt>
                <c:pt idx="4769">
                  <c:v>11522</c:v>
                </c:pt>
                <c:pt idx="4770">
                  <c:v>11457</c:v>
                </c:pt>
                <c:pt idx="4771">
                  <c:v>11398</c:v>
                </c:pt>
                <c:pt idx="4772">
                  <c:v>11624</c:v>
                </c:pt>
                <c:pt idx="4773">
                  <c:v>11295</c:v>
                </c:pt>
                <c:pt idx="4774">
                  <c:v>11001</c:v>
                </c:pt>
                <c:pt idx="4775">
                  <c:v>10794</c:v>
                </c:pt>
                <c:pt idx="4776">
                  <c:v>11051</c:v>
                </c:pt>
                <c:pt idx="4777">
                  <c:v>10673</c:v>
                </c:pt>
                <c:pt idx="4778">
                  <c:v>10290</c:v>
                </c:pt>
                <c:pt idx="4779">
                  <c:v>9945</c:v>
                </c:pt>
                <c:pt idx="4780">
                  <c:v>9833</c:v>
                </c:pt>
                <c:pt idx="4781">
                  <c:v>9764</c:v>
                </c:pt>
                <c:pt idx="4782">
                  <c:v>9431</c:v>
                </c:pt>
                <c:pt idx="4783">
                  <c:v>9191</c:v>
                </c:pt>
                <c:pt idx="4784">
                  <c:v>9421</c:v>
                </c:pt>
                <c:pt idx="4785">
                  <c:v>9794</c:v>
                </c:pt>
                <c:pt idx="4786">
                  <c:v>10462</c:v>
                </c:pt>
                <c:pt idx="4787">
                  <c:v>11107</c:v>
                </c:pt>
                <c:pt idx="4788">
                  <c:v>11557</c:v>
                </c:pt>
                <c:pt idx="4789">
                  <c:v>11953</c:v>
                </c:pt>
                <c:pt idx="4790">
                  <c:v>12034</c:v>
                </c:pt>
                <c:pt idx="4791">
                  <c:v>12102</c:v>
                </c:pt>
                <c:pt idx="4792">
                  <c:v>11981</c:v>
                </c:pt>
                <c:pt idx="4793">
                  <c:v>11842</c:v>
                </c:pt>
                <c:pt idx="4794">
                  <c:v>11834</c:v>
                </c:pt>
                <c:pt idx="4795">
                  <c:v>11900</c:v>
                </c:pt>
                <c:pt idx="4796">
                  <c:v>11947</c:v>
                </c:pt>
                <c:pt idx="4797">
                  <c:v>11917</c:v>
                </c:pt>
                <c:pt idx="4798">
                  <c:v>11879</c:v>
                </c:pt>
                <c:pt idx="4799">
                  <c:v>11638</c:v>
                </c:pt>
                <c:pt idx="4800">
                  <c:v>11354</c:v>
                </c:pt>
                <c:pt idx="4801">
                  <c:v>10799</c:v>
                </c:pt>
                <c:pt idx="4802">
                  <c:v>9969</c:v>
                </c:pt>
                <c:pt idx="4803">
                  <c:v>9778</c:v>
                </c:pt>
                <c:pt idx="4804">
                  <c:v>9622</c:v>
                </c:pt>
                <c:pt idx="4805">
                  <c:v>9553</c:v>
                </c:pt>
                <c:pt idx="4806">
                  <c:v>9527</c:v>
                </c:pt>
                <c:pt idx="4807">
                  <c:v>9669</c:v>
                </c:pt>
                <c:pt idx="4808">
                  <c:v>10639</c:v>
                </c:pt>
                <c:pt idx="4809">
                  <c:v>11669</c:v>
                </c:pt>
                <c:pt idx="4810">
                  <c:v>12646</c:v>
                </c:pt>
                <c:pt idx="4811">
                  <c:v>13106</c:v>
                </c:pt>
                <c:pt idx="4812">
                  <c:v>13347</c:v>
                </c:pt>
                <c:pt idx="4813">
                  <c:v>13381</c:v>
                </c:pt>
                <c:pt idx="4814">
                  <c:v>13224</c:v>
                </c:pt>
                <c:pt idx="4815">
                  <c:v>13013</c:v>
                </c:pt>
                <c:pt idx="4816">
                  <c:v>12768</c:v>
                </c:pt>
                <c:pt idx="4817">
                  <c:v>12802</c:v>
                </c:pt>
                <c:pt idx="4818">
                  <c:v>12857</c:v>
                </c:pt>
                <c:pt idx="4819">
                  <c:v>13363</c:v>
                </c:pt>
                <c:pt idx="4820">
                  <c:v>12978</c:v>
                </c:pt>
                <c:pt idx="4821">
                  <c:v>12527</c:v>
                </c:pt>
                <c:pt idx="4822">
                  <c:v>12081</c:v>
                </c:pt>
                <c:pt idx="4823">
                  <c:v>11732</c:v>
                </c:pt>
                <c:pt idx="4824">
                  <c:v>11633</c:v>
                </c:pt>
                <c:pt idx="4825">
                  <c:v>11067</c:v>
                </c:pt>
                <c:pt idx="4826">
                  <c:v>10618</c:v>
                </c:pt>
                <c:pt idx="4827">
                  <c:v>10317</c:v>
                </c:pt>
                <c:pt idx="4828">
                  <c:v>10129</c:v>
                </c:pt>
                <c:pt idx="4829">
                  <c:v>10105</c:v>
                </c:pt>
                <c:pt idx="4830">
                  <c:v>9747</c:v>
                </c:pt>
                <c:pt idx="4831">
                  <c:v>9741</c:v>
                </c:pt>
                <c:pt idx="4832">
                  <c:v>10294</c:v>
                </c:pt>
                <c:pt idx="4833">
                  <c:v>11260</c:v>
                </c:pt>
                <c:pt idx="4834">
                  <c:v>12127</c:v>
                </c:pt>
                <c:pt idx="4835">
                  <c:v>12635</c:v>
                </c:pt>
                <c:pt idx="4836">
                  <c:v>12972</c:v>
                </c:pt>
                <c:pt idx="4837">
                  <c:v>13058</c:v>
                </c:pt>
                <c:pt idx="4838">
                  <c:v>13145</c:v>
                </c:pt>
                <c:pt idx="4839">
                  <c:v>12982</c:v>
                </c:pt>
                <c:pt idx="4840">
                  <c:v>12793</c:v>
                </c:pt>
                <c:pt idx="4841">
                  <c:v>12988</c:v>
                </c:pt>
                <c:pt idx="4842">
                  <c:v>12766</c:v>
                </c:pt>
                <c:pt idx="4843">
                  <c:v>12790</c:v>
                </c:pt>
                <c:pt idx="4844">
                  <c:v>12617</c:v>
                </c:pt>
                <c:pt idx="4845">
                  <c:v>12385</c:v>
                </c:pt>
                <c:pt idx="4846">
                  <c:v>12081</c:v>
                </c:pt>
                <c:pt idx="4847">
                  <c:v>11923</c:v>
                </c:pt>
                <c:pt idx="4848">
                  <c:v>11846</c:v>
                </c:pt>
                <c:pt idx="4849">
                  <c:v>11171</c:v>
                </c:pt>
                <c:pt idx="4850">
                  <c:v>10386</c:v>
                </c:pt>
                <c:pt idx="4851">
                  <c:v>10188</c:v>
                </c:pt>
                <c:pt idx="4852">
                  <c:v>9993</c:v>
                </c:pt>
                <c:pt idx="4853">
                  <c:v>9925</c:v>
                </c:pt>
                <c:pt idx="4854">
                  <c:v>9866</c:v>
                </c:pt>
                <c:pt idx="4855">
                  <c:v>9957</c:v>
                </c:pt>
                <c:pt idx="4856">
                  <c:v>10959</c:v>
                </c:pt>
                <c:pt idx="4857">
                  <c:v>12017</c:v>
                </c:pt>
                <c:pt idx="4858">
                  <c:v>12590</c:v>
                </c:pt>
                <c:pt idx="4859">
                  <c:v>13056</c:v>
                </c:pt>
                <c:pt idx="4860">
                  <c:v>13448</c:v>
                </c:pt>
                <c:pt idx="4861">
                  <c:v>13326</c:v>
                </c:pt>
                <c:pt idx="4862">
                  <c:v>13480</c:v>
                </c:pt>
                <c:pt idx="4863">
                  <c:v>13551</c:v>
                </c:pt>
                <c:pt idx="4864">
                  <c:v>13184</c:v>
                </c:pt>
                <c:pt idx="4865">
                  <c:v>13017</c:v>
                </c:pt>
                <c:pt idx="4866">
                  <c:v>12862</c:v>
                </c:pt>
                <c:pt idx="4867">
                  <c:v>12780</c:v>
                </c:pt>
                <c:pt idx="4868">
                  <c:v>12545</c:v>
                </c:pt>
                <c:pt idx="4869">
                  <c:v>12274</c:v>
                </c:pt>
                <c:pt idx="4870">
                  <c:v>12131</c:v>
                </c:pt>
                <c:pt idx="4871">
                  <c:v>11924</c:v>
                </c:pt>
                <c:pt idx="4872">
                  <c:v>11692</c:v>
                </c:pt>
                <c:pt idx="4873">
                  <c:v>11061</c:v>
                </c:pt>
                <c:pt idx="4874">
                  <c:v>10486</c:v>
                </c:pt>
                <c:pt idx="4875">
                  <c:v>10235</c:v>
                </c:pt>
                <c:pt idx="4876">
                  <c:v>9960</c:v>
                </c:pt>
                <c:pt idx="4877">
                  <c:v>9784</c:v>
                </c:pt>
                <c:pt idx="4878">
                  <c:v>9765</c:v>
                </c:pt>
                <c:pt idx="4879">
                  <c:v>9871</c:v>
                </c:pt>
                <c:pt idx="4880">
                  <c:v>10532</c:v>
                </c:pt>
                <c:pt idx="4881">
                  <c:v>11740</c:v>
                </c:pt>
                <c:pt idx="4882">
                  <c:v>12463</c:v>
                </c:pt>
                <c:pt idx="4883">
                  <c:v>12956</c:v>
                </c:pt>
                <c:pt idx="4884">
                  <c:v>13230</c:v>
                </c:pt>
                <c:pt idx="4885">
                  <c:v>13160</c:v>
                </c:pt>
                <c:pt idx="4886">
                  <c:v>13108</c:v>
                </c:pt>
                <c:pt idx="4887">
                  <c:v>13033</c:v>
                </c:pt>
                <c:pt idx="4888">
                  <c:v>12936</c:v>
                </c:pt>
                <c:pt idx="4889">
                  <c:v>12842</c:v>
                </c:pt>
                <c:pt idx="4890">
                  <c:v>12703</c:v>
                </c:pt>
                <c:pt idx="4891">
                  <c:v>12593</c:v>
                </c:pt>
                <c:pt idx="4892">
                  <c:v>12460</c:v>
                </c:pt>
                <c:pt idx="4893">
                  <c:v>12251</c:v>
                </c:pt>
                <c:pt idx="4894">
                  <c:v>11990</c:v>
                </c:pt>
                <c:pt idx="4895">
                  <c:v>11897</c:v>
                </c:pt>
                <c:pt idx="4896">
                  <c:v>11814</c:v>
                </c:pt>
                <c:pt idx="4897">
                  <c:v>11260</c:v>
                </c:pt>
                <c:pt idx="4898">
                  <c:v>10589</c:v>
                </c:pt>
                <c:pt idx="4899">
                  <c:v>10310</c:v>
                </c:pt>
                <c:pt idx="4900">
                  <c:v>10048</c:v>
                </c:pt>
                <c:pt idx="4901">
                  <c:v>9919</c:v>
                </c:pt>
                <c:pt idx="4902">
                  <c:v>9658</c:v>
                </c:pt>
                <c:pt idx="4903">
                  <c:v>9966</c:v>
                </c:pt>
                <c:pt idx="4904">
                  <c:v>10980</c:v>
                </c:pt>
                <c:pt idx="4905">
                  <c:v>12085</c:v>
                </c:pt>
                <c:pt idx="4906">
                  <c:v>12893</c:v>
                </c:pt>
                <c:pt idx="4907">
                  <c:v>13203</c:v>
                </c:pt>
                <c:pt idx="4908">
                  <c:v>13188</c:v>
                </c:pt>
                <c:pt idx="4909">
                  <c:v>13069</c:v>
                </c:pt>
                <c:pt idx="4910">
                  <c:v>13157</c:v>
                </c:pt>
                <c:pt idx="4911">
                  <c:v>13141</c:v>
                </c:pt>
                <c:pt idx="4912">
                  <c:v>12959</c:v>
                </c:pt>
                <c:pt idx="4913">
                  <c:v>12885</c:v>
                </c:pt>
                <c:pt idx="4914">
                  <c:v>12770</c:v>
                </c:pt>
                <c:pt idx="4915">
                  <c:v>12796</c:v>
                </c:pt>
                <c:pt idx="4916">
                  <c:v>12616</c:v>
                </c:pt>
                <c:pt idx="4917">
                  <c:v>12278</c:v>
                </c:pt>
                <c:pt idx="4918">
                  <c:v>11828</c:v>
                </c:pt>
                <c:pt idx="4919">
                  <c:v>11724</c:v>
                </c:pt>
                <c:pt idx="4920">
                  <c:v>11592</c:v>
                </c:pt>
                <c:pt idx="4921">
                  <c:v>11132</c:v>
                </c:pt>
                <c:pt idx="4922">
                  <c:v>10585</c:v>
                </c:pt>
                <c:pt idx="4923">
                  <c:v>10362</c:v>
                </c:pt>
                <c:pt idx="4924">
                  <c:v>10365</c:v>
                </c:pt>
                <c:pt idx="4925">
                  <c:v>10190</c:v>
                </c:pt>
                <c:pt idx="4926">
                  <c:v>9925</c:v>
                </c:pt>
                <c:pt idx="4927">
                  <c:v>9242</c:v>
                </c:pt>
                <c:pt idx="4928">
                  <c:v>9136</c:v>
                </c:pt>
                <c:pt idx="4929">
                  <c:v>10056</c:v>
                </c:pt>
                <c:pt idx="4930">
                  <c:v>10894</c:v>
                </c:pt>
                <c:pt idx="4931">
                  <c:v>11483</c:v>
                </c:pt>
                <c:pt idx="4932">
                  <c:v>12095</c:v>
                </c:pt>
                <c:pt idx="4933">
                  <c:v>12103</c:v>
                </c:pt>
                <c:pt idx="4934">
                  <c:v>12135</c:v>
                </c:pt>
                <c:pt idx="4935">
                  <c:v>12289</c:v>
                </c:pt>
                <c:pt idx="4936">
                  <c:v>12225</c:v>
                </c:pt>
                <c:pt idx="4937">
                  <c:v>12266</c:v>
                </c:pt>
                <c:pt idx="4938">
                  <c:v>12663</c:v>
                </c:pt>
                <c:pt idx="4939">
                  <c:v>12725</c:v>
                </c:pt>
                <c:pt idx="4940">
                  <c:v>12401</c:v>
                </c:pt>
                <c:pt idx="4941">
                  <c:v>12405</c:v>
                </c:pt>
                <c:pt idx="4942">
                  <c:v>11990</c:v>
                </c:pt>
                <c:pt idx="4943">
                  <c:v>11952</c:v>
                </c:pt>
                <c:pt idx="4944">
                  <c:v>11707</c:v>
                </c:pt>
                <c:pt idx="4945">
                  <c:v>11045</c:v>
                </c:pt>
                <c:pt idx="4946">
                  <c:v>10819</c:v>
                </c:pt>
                <c:pt idx="4947">
                  <c:v>10435</c:v>
                </c:pt>
                <c:pt idx="4948">
                  <c:v>10119</c:v>
                </c:pt>
                <c:pt idx="4949">
                  <c:v>10026</c:v>
                </c:pt>
                <c:pt idx="4950">
                  <c:v>9740</c:v>
                </c:pt>
                <c:pt idx="4951">
                  <c:v>9626</c:v>
                </c:pt>
                <c:pt idx="4952">
                  <c:v>10021</c:v>
                </c:pt>
                <c:pt idx="4953">
                  <c:v>10353</c:v>
                </c:pt>
                <c:pt idx="4954">
                  <c:v>10981</c:v>
                </c:pt>
                <c:pt idx="4955">
                  <c:v>11610</c:v>
                </c:pt>
                <c:pt idx="4956">
                  <c:v>12070</c:v>
                </c:pt>
                <c:pt idx="4957">
                  <c:v>12392</c:v>
                </c:pt>
                <c:pt idx="4958">
                  <c:v>12528</c:v>
                </c:pt>
                <c:pt idx="4959">
                  <c:v>12352</c:v>
                </c:pt>
                <c:pt idx="4960">
                  <c:v>12341</c:v>
                </c:pt>
                <c:pt idx="4961">
                  <c:v>12573</c:v>
                </c:pt>
                <c:pt idx="4962">
                  <c:v>12686</c:v>
                </c:pt>
                <c:pt idx="4963">
                  <c:v>12721</c:v>
                </c:pt>
                <c:pt idx="4964">
                  <c:v>12686</c:v>
                </c:pt>
                <c:pt idx="4965">
                  <c:v>12686</c:v>
                </c:pt>
                <c:pt idx="4966">
                  <c:v>12532</c:v>
                </c:pt>
                <c:pt idx="4967">
                  <c:v>12391</c:v>
                </c:pt>
                <c:pt idx="4968">
                  <c:v>12257</c:v>
                </c:pt>
                <c:pt idx="4969">
                  <c:v>11332</c:v>
                </c:pt>
                <c:pt idx="4970">
                  <c:v>10642</c:v>
                </c:pt>
                <c:pt idx="4971">
                  <c:v>10290</c:v>
                </c:pt>
                <c:pt idx="4972">
                  <c:v>10244</c:v>
                </c:pt>
                <c:pt idx="4973">
                  <c:v>10163</c:v>
                </c:pt>
                <c:pt idx="4974">
                  <c:v>9788</c:v>
                </c:pt>
                <c:pt idx="4975">
                  <c:v>10075</c:v>
                </c:pt>
                <c:pt idx="4976">
                  <c:v>11039</c:v>
                </c:pt>
                <c:pt idx="4977">
                  <c:v>12267</c:v>
                </c:pt>
                <c:pt idx="4978">
                  <c:v>13132</c:v>
                </c:pt>
                <c:pt idx="4979">
                  <c:v>13548</c:v>
                </c:pt>
                <c:pt idx="4980">
                  <c:v>13759</c:v>
                </c:pt>
                <c:pt idx="4981">
                  <c:v>13708</c:v>
                </c:pt>
                <c:pt idx="4982">
                  <c:v>13737</c:v>
                </c:pt>
                <c:pt idx="4983">
                  <c:v>13966</c:v>
                </c:pt>
                <c:pt idx="4984">
                  <c:v>13758</c:v>
                </c:pt>
                <c:pt idx="4985">
                  <c:v>13653</c:v>
                </c:pt>
                <c:pt idx="4986">
                  <c:v>13546</c:v>
                </c:pt>
                <c:pt idx="4987">
                  <c:v>13649</c:v>
                </c:pt>
                <c:pt idx="4988">
                  <c:v>13506</c:v>
                </c:pt>
                <c:pt idx="4989">
                  <c:v>13109</c:v>
                </c:pt>
                <c:pt idx="4990">
                  <c:v>12731</c:v>
                </c:pt>
                <c:pt idx="4991">
                  <c:v>12434</c:v>
                </c:pt>
                <c:pt idx="4992">
                  <c:v>11952</c:v>
                </c:pt>
                <c:pt idx="4993">
                  <c:v>11160</c:v>
                </c:pt>
                <c:pt idx="4994">
                  <c:v>10749</c:v>
                </c:pt>
                <c:pt idx="4995">
                  <c:v>10453</c:v>
                </c:pt>
                <c:pt idx="4996">
                  <c:v>10355</c:v>
                </c:pt>
                <c:pt idx="4997">
                  <c:v>10283</c:v>
                </c:pt>
                <c:pt idx="4998">
                  <c:v>10035</c:v>
                </c:pt>
                <c:pt idx="4999">
                  <c:v>10094</c:v>
                </c:pt>
                <c:pt idx="5000">
                  <c:v>10975</c:v>
                </c:pt>
                <c:pt idx="5001">
                  <c:v>12104</c:v>
                </c:pt>
                <c:pt idx="5002">
                  <c:v>13143</c:v>
                </c:pt>
                <c:pt idx="5003">
                  <c:v>13740</c:v>
                </c:pt>
                <c:pt idx="5004">
                  <c:v>13943</c:v>
                </c:pt>
                <c:pt idx="5005">
                  <c:v>13837</c:v>
                </c:pt>
                <c:pt idx="5006">
                  <c:v>13902</c:v>
                </c:pt>
                <c:pt idx="5007">
                  <c:v>13649</c:v>
                </c:pt>
                <c:pt idx="5008">
                  <c:v>13553</c:v>
                </c:pt>
                <c:pt idx="5009">
                  <c:v>13485</c:v>
                </c:pt>
                <c:pt idx="5010">
                  <c:v>13231</c:v>
                </c:pt>
                <c:pt idx="5011">
                  <c:v>13070</c:v>
                </c:pt>
                <c:pt idx="5012">
                  <c:v>12662</c:v>
                </c:pt>
                <c:pt idx="5013">
                  <c:v>12665</c:v>
                </c:pt>
                <c:pt idx="5014">
                  <c:v>12441</c:v>
                </c:pt>
                <c:pt idx="5015">
                  <c:v>12362</c:v>
                </c:pt>
                <c:pt idx="5016">
                  <c:v>12189</c:v>
                </c:pt>
                <c:pt idx="5017">
                  <c:v>11220</c:v>
                </c:pt>
                <c:pt idx="5018">
                  <c:v>10785</c:v>
                </c:pt>
                <c:pt idx="5019">
                  <c:v>10557</c:v>
                </c:pt>
                <c:pt idx="5020">
                  <c:v>10430</c:v>
                </c:pt>
                <c:pt idx="5021">
                  <c:v>10293</c:v>
                </c:pt>
                <c:pt idx="5022">
                  <c:v>10157</c:v>
                </c:pt>
                <c:pt idx="5023">
                  <c:v>10356</c:v>
                </c:pt>
                <c:pt idx="5024">
                  <c:v>11103</c:v>
                </c:pt>
                <c:pt idx="5025">
                  <c:v>12320</c:v>
                </c:pt>
                <c:pt idx="5026">
                  <c:v>13045</c:v>
                </c:pt>
                <c:pt idx="5027">
                  <c:v>13561</c:v>
                </c:pt>
                <c:pt idx="5028">
                  <c:v>14029</c:v>
                </c:pt>
                <c:pt idx="5029">
                  <c:v>13896</c:v>
                </c:pt>
                <c:pt idx="5030">
                  <c:v>13644</c:v>
                </c:pt>
                <c:pt idx="5031">
                  <c:v>13747</c:v>
                </c:pt>
                <c:pt idx="5032">
                  <c:v>13458</c:v>
                </c:pt>
                <c:pt idx="5033">
                  <c:v>13418</c:v>
                </c:pt>
                <c:pt idx="5034">
                  <c:v>13500</c:v>
                </c:pt>
                <c:pt idx="5035">
                  <c:v>13640</c:v>
                </c:pt>
                <c:pt idx="5036">
                  <c:v>13344</c:v>
                </c:pt>
                <c:pt idx="5037">
                  <c:v>13133</c:v>
                </c:pt>
                <c:pt idx="5038">
                  <c:v>12932</c:v>
                </c:pt>
                <c:pt idx="5039">
                  <c:v>12586</c:v>
                </c:pt>
                <c:pt idx="5040">
                  <c:v>12192</c:v>
                </c:pt>
                <c:pt idx="5041">
                  <c:v>11509</c:v>
                </c:pt>
                <c:pt idx="5042">
                  <c:v>10929</c:v>
                </c:pt>
                <c:pt idx="5043">
                  <c:v>10466</c:v>
                </c:pt>
                <c:pt idx="5044">
                  <c:v>10219</c:v>
                </c:pt>
                <c:pt idx="5045">
                  <c:v>10155</c:v>
                </c:pt>
                <c:pt idx="5046">
                  <c:v>9982</c:v>
                </c:pt>
                <c:pt idx="5047">
                  <c:v>10069</c:v>
                </c:pt>
                <c:pt idx="5048">
                  <c:v>10810</c:v>
                </c:pt>
                <c:pt idx="5049">
                  <c:v>12045</c:v>
                </c:pt>
                <c:pt idx="5050">
                  <c:v>12803</c:v>
                </c:pt>
                <c:pt idx="5051">
                  <c:v>13278</c:v>
                </c:pt>
                <c:pt idx="5052">
                  <c:v>13590</c:v>
                </c:pt>
                <c:pt idx="5053">
                  <c:v>13653</c:v>
                </c:pt>
                <c:pt idx="5054">
                  <c:v>13527</c:v>
                </c:pt>
                <c:pt idx="5055">
                  <c:v>13312</c:v>
                </c:pt>
                <c:pt idx="5056">
                  <c:v>13078</c:v>
                </c:pt>
                <c:pt idx="5057">
                  <c:v>13068</c:v>
                </c:pt>
                <c:pt idx="5058">
                  <c:v>12902</c:v>
                </c:pt>
                <c:pt idx="5059">
                  <c:v>12932</c:v>
                </c:pt>
                <c:pt idx="5060">
                  <c:v>12551</c:v>
                </c:pt>
                <c:pt idx="5061">
                  <c:v>12471</c:v>
                </c:pt>
                <c:pt idx="5062">
                  <c:v>12376</c:v>
                </c:pt>
                <c:pt idx="5063">
                  <c:v>12168</c:v>
                </c:pt>
                <c:pt idx="5064">
                  <c:v>11897</c:v>
                </c:pt>
                <c:pt idx="5065">
                  <c:v>11438</c:v>
                </c:pt>
                <c:pt idx="5066">
                  <c:v>10210</c:v>
                </c:pt>
                <c:pt idx="5067">
                  <c:v>10092</c:v>
                </c:pt>
                <c:pt idx="5068">
                  <c:v>9950</c:v>
                </c:pt>
                <c:pt idx="5069">
                  <c:v>9916</c:v>
                </c:pt>
                <c:pt idx="5070">
                  <c:v>9831</c:v>
                </c:pt>
                <c:pt idx="5071">
                  <c:v>10046</c:v>
                </c:pt>
                <c:pt idx="5072">
                  <c:v>11087</c:v>
                </c:pt>
                <c:pt idx="5073">
                  <c:v>12317</c:v>
                </c:pt>
                <c:pt idx="5074">
                  <c:v>13254</c:v>
                </c:pt>
                <c:pt idx="5075">
                  <c:v>13473</c:v>
                </c:pt>
                <c:pt idx="5076">
                  <c:v>13691</c:v>
                </c:pt>
                <c:pt idx="5077">
                  <c:v>13630</c:v>
                </c:pt>
                <c:pt idx="5078">
                  <c:v>13374</c:v>
                </c:pt>
                <c:pt idx="5079">
                  <c:v>13220</c:v>
                </c:pt>
                <c:pt idx="5080">
                  <c:v>12962</c:v>
                </c:pt>
                <c:pt idx="5081">
                  <c:v>12918</c:v>
                </c:pt>
                <c:pt idx="5082">
                  <c:v>12813</c:v>
                </c:pt>
                <c:pt idx="5083">
                  <c:v>12722</c:v>
                </c:pt>
                <c:pt idx="5084">
                  <c:v>12661</c:v>
                </c:pt>
                <c:pt idx="5085">
                  <c:v>12482</c:v>
                </c:pt>
                <c:pt idx="5086">
                  <c:v>12050</c:v>
                </c:pt>
                <c:pt idx="5087">
                  <c:v>12035</c:v>
                </c:pt>
                <c:pt idx="5088">
                  <c:v>11877</c:v>
                </c:pt>
                <c:pt idx="5089">
                  <c:v>11190</c:v>
                </c:pt>
                <c:pt idx="5090">
                  <c:v>10545</c:v>
                </c:pt>
                <c:pt idx="5091">
                  <c:v>10261</c:v>
                </c:pt>
                <c:pt idx="5092">
                  <c:v>10064</c:v>
                </c:pt>
                <c:pt idx="5093">
                  <c:v>9961</c:v>
                </c:pt>
                <c:pt idx="5094">
                  <c:v>9890</c:v>
                </c:pt>
                <c:pt idx="5095">
                  <c:v>9813</c:v>
                </c:pt>
                <c:pt idx="5096">
                  <c:v>10086</c:v>
                </c:pt>
                <c:pt idx="5097">
                  <c:v>10637</c:v>
                </c:pt>
                <c:pt idx="5098">
                  <c:v>11383</c:v>
                </c:pt>
                <c:pt idx="5099">
                  <c:v>12152</c:v>
                </c:pt>
                <c:pt idx="5100">
                  <c:v>12441</c:v>
                </c:pt>
                <c:pt idx="5101">
                  <c:v>12349</c:v>
                </c:pt>
                <c:pt idx="5102">
                  <c:v>12379</c:v>
                </c:pt>
                <c:pt idx="5103">
                  <c:v>12042</c:v>
                </c:pt>
                <c:pt idx="5104">
                  <c:v>11848</c:v>
                </c:pt>
                <c:pt idx="5105">
                  <c:v>11731</c:v>
                </c:pt>
                <c:pt idx="5106">
                  <c:v>11774</c:v>
                </c:pt>
                <c:pt idx="5107">
                  <c:v>11798</c:v>
                </c:pt>
                <c:pt idx="5108">
                  <c:v>11754</c:v>
                </c:pt>
                <c:pt idx="5109">
                  <c:v>11839</c:v>
                </c:pt>
                <c:pt idx="5110">
                  <c:v>11711</c:v>
                </c:pt>
                <c:pt idx="5111">
                  <c:v>11676</c:v>
                </c:pt>
                <c:pt idx="5112">
                  <c:v>11613</c:v>
                </c:pt>
                <c:pt idx="5113">
                  <c:v>11099</c:v>
                </c:pt>
                <c:pt idx="5114">
                  <c:v>10742</c:v>
                </c:pt>
                <c:pt idx="5115">
                  <c:v>10580</c:v>
                </c:pt>
                <c:pt idx="5116">
                  <c:v>10563</c:v>
                </c:pt>
                <c:pt idx="5117">
                  <c:v>10434</c:v>
                </c:pt>
                <c:pt idx="5118">
                  <c:v>10280</c:v>
                </c:pt>
                <c:pt idx="5119">
                  <c:v>9812</c:v>
                </c:pt>
                <c:pt idx="5120">
                  <c:v>10056</c:v>
                </c:pt>
                <c:pt idx="5121">
                  <c:v>10276</c:v>
                </c:pt>
                <c:pt idx="5122">
                  <c:v>10969</c:v>
                </c:pt>
                <c:pt idx="5123">
                  <c:v>11732</c:v>
                </c:pt>
                <c:pt idx="5124">
                  <c:v>12073</c:v>
                </c:pt>
                <c:pt idx="5125">
                  <c:v>12187</c:v>
                </c:pt>
                <c:pt idx="5126">
                  <c:v>12098</c:v>
                </c:pt>
                <c:pt idx="5127">
                  <c:v>12102</c:v>
                </c:pt>
                <c:pt idx="5128">
                  <c:v>11991</c:v>
                </c:pt>
                <c:pt idx="5129">
                  <c:v>11864</c:v>
                </c:pt>
                <c:pt idx="5130">
                  <c:v>11704</c:v>
                </c:pt>
                <c:pt idx="5131">
                  <c:v>12184</c:v>
                </c:pt>
                <c:pt idx="5132">
                  <c:v>12323</c:v>
                </c:pt>
                <c:pt idx="5133">
                  <c:v>12441</c:v>
                </c:pt>
                <c:pt idx="5134">
                  <c:v>12373</c:v>
                </c:pt>
                <c:pt idx="5135">
                  <c:v>12070</c:v>
                </c:pt>
                <c:pt idx="5136">
                  <c:v>11943</c:v>
                </c:pt>
                <c:pt idx="5137">
                  <c:v>11365</c:v>
                </c:pt>
                <c:pt idx="5138">
                  <c:v>10519</c:v>
                </c:pt>
                <c:pt idx="5139">
                  <c:v>10316</c:v>
                </c:pt>
                <c:pt idx="5140">
                  <c:v>10287</c:v>
                </c:pt>
                <c:pt idx="5141">
                  <c:v>10309</c:v>
                </c:pt>
                <c:pt idx="5142">
                  <c:v>10149</c:v>
                </c:pt>
                <c:pt idx="5143">
                  <c:v>10429</c:v>
                </c:pt>
                <c:pt idx="5144">
                  <c:v>11603</c:v>
                </c:pt>
                <c:pt idx="5145">
                  <c:v>13013</c:v>
                </c:pt>
                <c:pt idx="5146">
                  <c:v>13804</c:v>
                </c:pt>
                <c:pt idx="5147">
                  <c:v>14301</c:v>
                </c:pt>
                <c:pt idx="5148">
                  <c:v>14892</c:v>
                </c:pt>
                <c:pt idx="5149">
                  <c:v>14574</c:v>
                </c:pt>
                <c:pt idx="5150">
                  <c:v>14452</c:v>
                </c:pt>
                <c:pt idx="5151">
                  <c:v>14250</c:v>
                </c:pt>
                <c:pt idx="5152">
                  <c:v>14204</c:v>
                </c:pt>
                <c:pt idx="5153">
                  <c:v>14174</c:v>
                </c:pt>
                <c:pt idx="5154">
                  <c:v>13954</c:v>
                </c:pt>
                <c:pt idx="5155">
                  <c:v>13850</c:v>
                </c:pt>
                <c:pt idx="5156">
                  <c:v>13521</c:v>
                </c:pt>
                <c:pt idx="5157">
                  <c:v>13013</c:v>
                </c:pt>
                <c:pt idx="5158">
                  <c:v>12865</c:v>
                </c:pt>
                <c:pt idx="5159">
                  <c:v>12582</c:v>
                </c:pt>
                <c:pt idx="5160">
                  <c:v>12333</c:v>
                </c:pt>
                <c:pt idx="5161">
                  <c:v>11419</c:v>
                </c:pt>
                <c:pt idx="5162">
                  <c:v>10824</c:v>
                </c:pt>
                <c:pt idx="5163">
                  <c:v>10542</c:v>
                </c:pt>
                <c:pt idx="5164">
                  <c:v>10402</c:v>
                </c:pt>
                <c:pt idx="5165">
                  <c:v>10390</c:v>
                </c:pt>
                <c:pt idx="5166">
                  <c:v>10376</c:v>
                </c:pt>
                <c:pt idx="5167">
                  <c:v>10360</c:v>
                </c:pt>
                <c:pt idx="5168">
                  <c:v>11633</c:v>
                </c:pt>
                <c:pt idx="5169">
                  <c:v>13169</c:v>
                </c:pt>
                <c:pt idx="5170">
                  <c:v>13728</c:v>
                </c:pt>
                <c:pt idx="5171">
                  <c:v>13967</c:v>
                </c:pt>
                <c:pt idx="5172">
                  <c:v>14018</c:v>
                </c:pt>
                <c:pt idx="5173">
                  <c:v>14172</c:v>
                </c:pt>
                <c:pt idx="5174">
                  <c:v>14130</c:v>
                </c:pt>
                <c:pt idx="5175">
                  <c:v>14065</c:v>
                </c:pt>
                <c:pt idx="5176">
                  <c:v>14171</c:v>
                </c:pt>
                <c:pt idx="5177">
                  <c:v>14129</c:v>
                </c:pt>
                <c:pt idx="5178">
                  <c:v>13880</c:v>
                </c:pt>
                <c:pt idx="5179">
                  <c:v>13988</c:v>
                </c:pt>
                <c:pt idx="5180">
                  <c:v>13789</c:v>
                </c:pt>
                <c:pt idx="5181">
                  <c:v>13339</c:v>
                </c:pt>
                <c:pt idx="5182">
                  <c:v>12927</c:v>
                </c:pt>
                <c:pt idx="5183">
                  <c:v>12609</c:v>
                </c:pt>
                <c:pt idx="5184">
                  <c:v>12464</c:v>
                </c:pt>
                <c:pt idx="5185">
                  <c:v>11737</c:v>
                </c:pt>
                <c:pt idx="5186">
                  <c:v>11091</c:v>
                </c:pt>
                <c:pt idx="5187">
                  <c:v>10808</c:v>
                </c:pt>
                <c:pt idx="5188">
                  <c:v>10715</c:v>
                </c:pt>
                <c:pt idx="5189">
                  <c:v>10436</c:v>
                </c:pt>
                <c:pt idx="5190">
                  <c:v>10333</c:v>
                </c:pt>
                <c:pt idx="5191">
                  <c:v>10692</c:v>
                </c:pt>
                <c:pt idx="5192">
                  <c:v>11814</c:v>
                </c:pt>
                <c:pt idx="5193">
                  <c:v>13393</c:v>
                </c:pt>
                <c:pt idx="5194">
                  <c:v>14163</c:v>
                </c:pt>
                <c:pt idx="5195">
                  <c:v>14464</c:v>
                </c:pt>
                <c:pt idx="5196">
                  <c:v>14700</c:v>
                </c:pt>
                <c:pt idx="5197">
                  <c:v>14780</c:v>
                </c:pt>
                <c:pt idx="5198">
                  <c:v>14967</c:v>
                </c:pt>
                <c:pt idx="5199">
                  <c:v>14875</c:v>
                </c:pt>
                <c:pt idx="5200">
                  <c:v>14684</c:v>
                </c:pt>
                <c:pt idx="5201">
                  <c:v>14571</c:v>
                </c:pt>
                <c:pt idx="5202">
                  <c:v>14378</c:v>
                </c:pt>
                <c:pt idx="5203">
                  <c:v>14394</c:v>
                </c:pt>
                <c:pt idx="5204">
                  <c:v>14134</c:v>
                </c:pt>
                <c:pt idx="5205">
                  <c:v>13920</c:v>
                </c:pt>
                <c:pt idx="5206">
                  <c:v>13496</c:v>
                </c:pt>
                <c:pt idx="5207">
                  <c:v>13458</c:v>
                </c:pt>
                <c:pt idx="5208">
                  <c:v>12990</c:v>
                </c:pt>
                <c:pt idx="5209">
                  <c:v>12153</c:v>
                </c:pt>
                <c:pt idx="5210">
                  <c:v>11101</c:v>
                </c:pt>
                <c:pt idx="5211">
                  <c:v>10800</c:v>
                </c:pt>
                <c:pt idx="5212">
                  <c:v>10590</c:v>
                </c:pt>
                <c:pt idx="5213">
                  <c:v>10472</c:v>
                </c:pt>
                <c:pt idx="5214">
                  <c:v>10395</c:v>
                </c:pt>
                <c:pt idx="5215">
                  <c:v>10696</c:v>
                </c:pt>
                <c:pt idx="5216">
                  <c:v>12065</c:v>
                </c:pt>
                <c:pt idx="5217">
                  <c:v>13450</c:v>
                </c:pt>
                <c:pt idx="5218">
                  <c:v>14295</c:v>
                </c:pt>
                <c:pt idx="5219">
                  <c:v>14683</c:v>
                </c:pt>
                <c:pt idx="5220">
                  <c:v>14924</c:v>
                </c:pt>
                <c:pt idx="5221">
                  <c:v>14836</c:v>
                </c:pt>
                <c:pt idx="5222">
                  <c:v>14652</c:v>
                </c:pt>
                <c:pt idx="5223">
                  <c:v>14601</c:v>
                </c:pt>
                <c:pt idx="5224">
                  <c:v>14573</c:v>
                </c:pt>
                <c:pt idx="5225">
                  <c:v>14412</c:v>
                </c:pt>
                <c:pt idx="5226">
                  <c:v>14056</c:v>
                </c:pt>
                <c:pt idx="5227">
                  <c:v>13881</c:v>
                </c:pt>
                <c:pt idx="5228">
                  <c:v>13743</c:v>
                </c:pt>
                <c:pt idx="5229">
                  <c:v>13546</c:v>
                </c:pt>
                <c:pt idx="5230">
                  <c:v>13242</c:v>
                </c:pt>
                <c:pt idx="5231">
                  <c:v>13098</c:v>
                </c:pt>
                <c:pt idx="5232">
                  <c:v>12669</c:v>
                </c:pt>
                <c:pt idx="5233">
                  <c:v>11613</c:v>
                </c:pt>
                <c:pt idx="5234">
                  <c:v>10988</c:v>
                </c:pt>
                <c:pt idx="5235">
                  <c:v>10602</c:v>
                </c:pt>
                <c:pt idx="5236">
                  <c:v>10529</c:v>
                </c:pt>
                <c:pt idx="5237">
                  <c:v>10408</c:v>
                </c:pt>
                <c:pt idx="5238">
                  <c:v>10383</c:v>
                </c:pt>
                <c:pt idx="5239">
                  <c:v>10459</c:v>
                </c:pt>
                <c:pt idx="5240">
                  <c:v>11725</c:v>
                </c:pt>
                <c:pt idx="5241">
                  <c:v>13132</c:v>
                </c:pt>
                <c:pt idx="5242">
                  <c:v>14058</c:v>
                </c:pt>
                <c:pt idx="5243">
                  <c:v>14649</c:v>
                </c:pt>
                <c:pt idx="5244">
                  <c:v>14846</c:v>
                </c:pt>
                <c:pt idx="5245">
                  <c:v>14591</c:v>
                </c:pt>
                <c:pt idx="5246">
                  <c:v>14520</c:v>
                </c:pt>
                <c:pt idx="5247">
                  <c:v>14186</c:v>
                </c:pt>
                <c:pt idx="5248">
                  <c:v>14041</c:v>
                </c:pt>
                <c:pt idx="5249">
                  <c:v>13836</c:v>
                </c:pt>
                <c:pt idx="5250">
                  <c:v>13864</c:v>
                </c:pt>
                <c:pt idx="5251">
                  <c:v>13860</c:v>
                </c:pt>
                <c:pt idx="5252">
                  <c:v>13541</c:v>
                </c:pt>
                <c:pt idx="5253">
                  <c:v>13047</c:v>
                </c:pt>
                <c:pt idx="5254">
                  <c:v>12616</c:v>
                </c:pt>
                <c:pt idx="5255">
                  <c:v>12506</c:v>
                </c:pt>
                <c:pt idx="5256">
                  <c:v>12491</c:v>
                </c:pt>
                <c:pt idx="5257">
                  <c:v>11773</c:v>
                </c:pt>
                <c:pt idx="5258">
                  <c:v>10655</c:v>
                </c:pt>
                <c:pt idx="5259">
                  <c:v>10117</c:v>
                </c:pt>
                <c:pt idx="5260">
                  <c:v>10087</c:v>
                </c:pt>
                <c:pt idx="5261">
                  <c:v>10180</c:v>
                </c:pt>
                <c:pt idx="5262">
                  <c:v>10052</c:v>
                </c:pt>
                <c:pt idx="5263">
                  <c:v>9568</c:v>
                </c:pt>
                <c:pt idx="5264">
                  <c:v>9902</c:v>
                </c:pt>
                <c:pt idx="5265">
                  <c:v>10521</c:v>
                </c:pt>
                <c:pt idx="5266">
                  <c:v>11436</c:v>
                </c:pt>
                <c:pt idx="5267">
                  <c:v>12149</c:v>
                </c:pt>
                <c:pt idx="5268">
                  <c:v>12551</c:v>
                </c:pt>
                <c:pt idx="5269">
                  <c:v>12571</c:v>
                </c:pt>
                <c:pt idx="5270">
                  <c:v>12343</c:v>
                </c:pt>
                <c:pt idx="5271">
                  <c:v>12202</c:v>
                </c:pt>
                <c:pt idx="5272">
                  <c:v>12042</c:v>
                </c:pt>
                <c:pt idx="5273">
                  <c:v>11884</c:v>
                </c:pt>
                <c:pt idx="5274">
                  <c:v>11725</c:v>
                </c:pt>
                <c:pt idx="5275">
                  <c:v>11785</c:v>
                </c:pt>
                <c:pt idx="5276">
                  <c:v>11688</c:v>
                </c:pt>
                <c:pt idx="5277">
                  <c:v>11553</c:v>
                </c:pt>
                <c:pt idx="5278">
                  <c:v>11443</c:v>
                </c:pt>
                <c:pt idx="5279">
                  <c:v>11537</c:v>
                </c:pt>
                <c:pt idx="5280">
                  <c:v>11193</c:v>
                </c:pt>
                <c:pt idx="5281">
                  <c:v>10830</c:v>
                </c:pt>
                <c:pt idx="5282">
                  <c:v>10113</c:v>
                </c:pt>
                <c:pt idx="5283">
                  <c:v>9922</c:v>
                </c:pt>
                <c:pt idx="5284">
                  <c:v>9816</c:v>
                </c:pt>
                <c:pt idx="5285">
                  <c:v>9888</c:v>
                </c:pt>
                <c:pt idx="5286">
                  <c:v>9739</c:v>
                </c:pt>
                <c:pt idx="5287">
                  <c:v>9640</c:v>
                </c:pt>
                <c:pt idx="5288">
                  <c:v>9731</c:v>
                </c:pt>
                <c:pt idx="5289">
                  <c:v>10642</c:v>
                </c:pt>
                <c:pt idx="5290">
                  <c:v>11161</c:v>
                </c:pt>
                <c:pt idx="5291">
                  <c:v>11604</c:v>
                </c:pt>
                <c:pt idx="5292">
                  <c:v>12111</c:v>
                </c:pt>
                <c:pt idx="5293">
                  <c:v>12128</c:v>
                </c:pt>
                <c:pt idx="5294">
                  <c:v>11929</c:v>
                </c:pt>
                <c:pt idx="5295">
                  <c:v>11823</c:v>
                </c:pt>
                <c:pt idx="5296">
                  <c:v>11745</c:v>
                </c:pt>
                <c:pt idx="5297">
                  <c:v>11831</c:v>
                </c:pt>
                <c:pt idx="5298">
                  <c:v>12155</c:v>
                </c:pt>
                <c:pt idx="5299">
                  <c:v>12425</c:v>
                </c:pt>
                <c:pt idx="5300">
                  <c:v>12682</c:v>
                </c:pt>
                <c:pt idx="5301">
                  <c:v>12874</c:v>
                </c:pt>
                <c:pt idx="5302">
                  <c:v>12536</c:v>
                </c:pt>
                <c:pt idx="5303">
                  <c:v>12534</c:v>
                </c:pt>
                <c:pt idx="5304">
                  <c:v>12420</c:v>
                </c:pt>
                <c:pt idx="5305">
                  <c:v>11612</c:v>
                </c:pt>
                <c:pt idx="5306">
                  <c:v>10972</c:v>
                </c:pt>
                <c:pt idx="5307">
                  <c:v>10648</c:v>
                </c:pt>
                <c:pt idx="5308">
                  <c:v>10684</c:v>
                </c:pt>
                <c:pt idx="5309">
                  <c:v>10722</c:v>
                </c:pt>
                <c:pt idx="5310">
                  <c:v>10572</c:v>
                </c:pt>
                <c:pt idx="5311">
                  <c:v>10796</c:v>
                </c:pt>
                <c:pt idx="5312">
                  <c:v>12210</c:v>
                </c:pt>
                <c:pt idx="5313">
                  <c:v>13768</c:v>
                </c:pt>
                <c:pt idx="5314">
                  <c:v>14284</c:v>
                </c:pt>
                <c:pt idx="5315">
                  <c:v>14752</c:v>
                </c:pt>
                <c:pt idx="5316">
                  <c:v>15231</c:v>
                </c:pt>
                <c:pt idx="5317">
                  <c:v>15288</c:v>
                </c:pt>
                <c:pt idx="5318">
                  <c:v>15134</c:v>
                </c:pt>
                <c:pt idx="5319">
                  <c:v>15120</c:v>
                </c:pt>
                <c:pt idx="5320">
                  <c:v>15066</c:v>
                </c:pt>
                <c:pt idx="5321">
                  <c:v>15119</c:v>
                </c:pt>
                <c:pt idx="5322">
                  <c:v>14755</c:v>
                </c:pt>
                <c:pt idx="5323">
                  <c:v>14752</c:v>
                </c:pt>
                <c:pt idx="5324">
                  <c:v>14393</c:v>
                </c:pt>
                <c:pt idx="5325">
                  <c:v>14165</c:v>
                </c:pt>
                <c:pt idx="5326">
                  <c:v>13905</c:v>
                </c:pt>
                <c:pt idx="5327">
                  <c:v>13754</c:v>
                </c:pt>
                <c:pt idx="5328">
                  <c:v>13201</c:v>
                </c:pt>
                <c:pt idx="5329">
                  <c:v>12130</c:v>
                </c:pt>
                <c:pt idx="5330">
                  <c:v>11104</c:v>
                </c:pt>
                <c:pt idx="5331">
                  <c:v>11102</c:v>
                </c:pt>
                <c:pt idx="5332">
                  <c:v>11075</c:v>
                </c:pt>
                <c:pt idx="5333">
                  <c:v>10914</c:v>
                </c:pt>
                <c:pt idx="5334">
                  <c:v>10888</c:v>
                </c:pt>
                <c:pt idx="5335">
                  <c:v>10961</c:v>
                </c:pt>
                <c:pt idx="5336">
                  <c:v>12108</c:v>
                </c:pt>
                <c:pt idx="5337">
                  <c:v>13792</c:v>
                </c:pt>
                <c:pt idx="5338">
                  <c:v>14445</c:v>
                </c:pt>
                <c:pt idx="5339">
                  <c:v>14734</c:v>
                </c:pt>
                <c:pt idx="5340">
                  <c:v>15201</c:v>
                </c:pt>
                <c:pt idx="5341">
                  <c:v>15243</c:v>
                </c:pt>
                <c:pt idx="5342">
                  <c:v>15197</c:v>
                </c:pt>
                <c:pt idx="5343">
                  <c:v>15233</c:v>
                </c:pt>
                <c:pt idx="5344">
                  <c:v>15054</c:v>
                </c:pt>
                <c:pt idx="5345">
                  <c:v>14827</c:v>
                </c:pt>
                <c:pt idx="5346">
                  <c:v>14654</c:v>
                </c:pt>
                <c:pt idx="5347">
                  <c:v>14639</c:v>
                </c:pt>
                <c:pt idx="5348">
                  <c:v>14178</c:v>
                </c:pt>
                <c:pt idx="5349">
                  <c:v>13747</c:v>
                </c:pt>
                <c:pt idx="5350">
                  <c:v>13560</c:v>
                </c:pt>
                <c:pt idx="5351">
                  <c:v>13444</c:v>
                </c:pt>
                <c:pt idx="5352">
                  <c:v>12678</c:v>
                </c:pt>
                <c:pt idx="5353">
                  <c:v>11658</c:v>
                </c:pt>
                <c:pt idx="5354">
                  <c:v>11524</c:v>
                </c:pt>
                <c:pt idx="5355">
                  <c:v>11294</c:v>
                </c:pt>
                <c:pt idx="5356">
                  <c:v>11179</c:v>
                </c:pt>
                <c:pt idx="5357">
                  <c:v>10919</c:v>
                </c:pt>
                <c:pt idx="5358">
                  <c:v>10742</c:v>
                </c:pt>
                <c:pt idx="5359">
                  <c:v>11172</c:v>
                </c:pt>
                <c:pt idx="5360">
                  <c:v>12452</c:v>
                </c:pt>
                <c:pt idx="5361">
                  <c:v>14568</c:v>
                </c:pt>
                <c:pt idx="5362">
                  <c:v>15159</c:v>
                </c:pt>
                <c:pt idx="5363">
                  <c:v>15180</c:v>
                </c:pt>
                <c:pt idx="5364">
                  <c:v>15284</c:v>
                </c:pt>
                <c:pt idx="5365">
                  <c:v>15421</c:v>
                </c:pt>
                <c:pt idx="5366">
                  <c:v>15318</c:v>
                </c:pt>
                <c:pt idx="5367">
                  <c:v>15342</c:v>
                </c:pt>
                <c:pt idx="5368">
                  <c:v>15103</c:v>
                </c:pt>
                <c:pt idx="5369">
                  <c:v>14953</c:v>
                </c:pt>
                <c:pt idx="5370">
                  <c:v>14535</c:v>
                </c:pt>
                <c:pt idx="5371">
                  <c:v>14579</c:v>
                </c:pt>
                <c:pt idx="5372">
                  <c:v>14504</c:v>
                </c:pt>
                <c:pt idx="5373">
                  <c:v>14239</c:v>
                </c:pt>
                <c:pt idx="5374">
                  <c:v>14093</c:v>
                </c:pt>
                <c:pt idx="5375">
                  <c:v>13824</c:v>
                </c:pt>
                <c:pt idx="5376">
                  <c:v>12861</c:v>
                </c:pt>
                <c:pt idx="5377">
                  <c:v>11905</c:v>
                </c:pt>
                <c:pt idx="5378">
                  <c:v>11402</c:v>
                </c:pt>
                <c:pt idx="5379">
                  <c:v>11110</c:v>
                </c:pt>
                <c:pt idx="5380">
                  <c:v>11075</c:v>
                </c:pt>
                <c:pt idx="5381">
                  <c:v>11102</c:v>
                </c:pt>
                <c:pt idx="5382">
                  <c:v>11169</c:v>
                </c:pt>
                <c:pt idx="5383">
                  <c:v>11186</c:v>
                </c:pt>
                <c:pt idx="5384">
                  <c:v>12667</c:v>
                </c:pt>
                <c:pt idx="5385">
                  <c:v>14157</c:v>
                </c:pt>
                <c:pt idx="5386">
                  <c:v>14710</c:v>
                </c:pt>
                <c:pt idx="5387">
                  <c:v>14700</c:v>
                </c:pt>
                <c:pt idx="5388">
                  <c:v>14850</c:v>
                </c:pt>
                <c:pt idx="5389">
                  <c:v>14785</c:v>
                </c:pt>
                <c:pt idx="5390">
                  <c:v>14796</c:v>
                </c:pt>
                <c:pt idx="5391">
                  <c:v>14831</c:v>
                </c:pt>
                <c:pt idx="5392">
                  <c:v>14661</c:v>
                </c:pt>
                <c:pt idx="5393">
                  <c:v>14478</c:v>
                </c:pt>
                <c:pt idx="5394">
                  <c:v>14156</c:v>
                </c:pt>
                <c:pt idx="5395">
                  <c:v>14145</c:v>
                </c:pt>
                <c:pt idx="5396">
                  <c:v>14011</c:v>
                </c:pt>
                <c:pt idx="5397">
                  <c:v>13642</c:v>
                </c:pt>
                <c:pt idx="5398">
                  <c:v>13375</c:v>
                </c:pt>
                <c:pt idx="5399">
                  <c:v>13029</c:v>
                </c:pt>
                <c:pt idx="5400">
                  <c:v>12407</c:v>
                </c:pt>
                <c:pt idx="5401">
                  <c:v>11348</c:v>
                </c:pt>
                <c:pt idx="5402">
                  <c:v>11000</c:v>
                </c:pt>
                <c:pt idx="5403">
                  <c:v>10383</c:v>
                </c:pt>
                <c:pt idx="5404">
                  <c:v>10643</c:v>
                </c:pt>
                <c:pt idx="5405">
                  <c:v>10711</c:v>
                </c:pt>
                <c:pt idx="5406">
                  <c:v>10704</c:v>
                </c:pt>
                <c:pt idx="5407">
                  <c:v>11160</c:v>
                </c:pt>
                <c:pt idx="5408">
                  <c:v>12492</c:v>
                </c:pt>
                <c:pt idx="5409">
                  <c:v>13955</c:v>
                </c:pt>
                <c:pt idx="5410">
                  <c:v>14633</c:v>
                </c:pt>
                <c:pt idx="5411">
                  <c:v>14766</c:v>
                </c:pt>
                <c:pt idx="5412">
                  <c:v>15008</c:v>
                </c:pt>
                <c:pt idx="5413">
                  <c:v>14920</c:v>
                </c:pt>
                <c:pt idx="5414">
                  <c:v>14752</c:v>
                </c:pt>
                <c:pt idx="5415">
                  <c:v>14207</c:v>
                </c:pt>
                <c:pt idx="5416">
                  <c:v>13818</c:v>
                </c:pt>
                <c:pt idx="5417">
                  <c:v>13584</c:v>
                </c:pt>
                <c:pt idx="5418">
                  <c:v>13215</c:v>
                </c:pt>
                <c:pt idx="5419">
                  <c:v>13158</c:v>
                </c:pt>
                <c:pt idx="5420">
                  <c:v>12938</c:v>
                </c:pt>
                <c:pt idx="5421">
                  <c:v>12697</c:v>
                </c:pt>
                <c:pt idx="5422">
                  <c:v>12514</c:v>
                </c:pt>
                <c:pt idx="5423">
                  <c:v>12437</c:v>
                </c:pt>
                <c:pt idx="5424">
                  <c:v>11959</c:v>
                </c:pt>
                <c:pt idx="5425">
                  <c:v>11133</c:v>
                </c:pt>
                <c:pt idx="5426">
                  <c:v>10767</c:v>
                </c:pt>
                <c:pt idx="5427">
                  <c:v>10525</c:v>
                </c:pt>
                <c:pt idx="5428">
                  <c:v>10532</c:v>
                </c:pt>
                <c:pt idx="5429">
                  <c:v>10346</c:v>
                </c:pt>
                <c:pt idx="5430">
                  <c:v>10160</c:v>
                </c:pt>
                <c:pt idx="5431">
                  <c:v>9854</c:v>
                </c:pt>
                <c:pt idx="5432">
                  <c:v>9780</c:v>
                </c:pt>
                <c:pt idx="5433">
                  <c:v>10671</c:v>
                </c:pt>
                <c:pt idx="5434">
                  <c:v>11827</c:v>
                </c:pt>
                <c:pt idx="5435">
                  <c:v>12494</c:v>
                </c:pt>
                <c:pt idx="5436">
                  <c:v>12840</c:v>
                </c:pt>
                <c:pt idx="5437">
                  <c:v>12631</c:v>
                </c:pt>
                <c:pt idx="5438">
                  <c:v>12372</c:v>
                </c:pt>
                <c:pt idx="5439">
                  <c:v>12334</c:v>
                </c:pt>
                <c:pt idx="5440">
                  <c:v>12149</c:v>
                </c:pt>
                <c:pt idx="5441">
                  <c:v>12094</c:v>
                </c:pt>
                <c:pt idx="5442">
                  <c:v>12211</c:v>
                </c:pt>
                <c:pt idx="5443">
                  <c:v>12427</c:v>
                </c:pt>
                <c:pt idx="5444">
                  <c:v>12389</c:v>
                </c:pt>
                <c:pt idx="5445">
                  <c:v>12207</c:v>
                </c:pt>
                <c:pt idx="5446">
                  <c:v>11908</c:v>
                </c:pt>
                <c:pt idx="5447">
                  <c:v>11990</c:v>
                </c:pt>
                <c:pt idx="5448">
                  <c:v>11397</c:v>
                </c:pt>
                <c:pt idx="5449">
                  <c:v>10914</c:v>
                </c:pt>
                <c:pt idx="5450">
                  <c:v>10389</c:v>
                </c:pt>
                <c:pt idx="5451">
                  <c:v>10246</c:v>
                </c:pt>
                <c:pt idx="5452">
                  <c:v>10245</c:v>
                </c:pt>
                <c:pt idx="5453">
                  <c:v>10220</c:v>
                </c:pt>
                <c:pt idx="5454">
                  <c:v>10090</c:v>
                </c:pt>
                <c:pt idx="5455">
                  <c:v>9860</c:v>
                </c:pt>
                <c:pt idx="5456">
                  <c:v>9633</c:v>
                </c:pt>
                <c:pt idx="5457">
                  <c:v>10144</c:v>
                </c:pt>
                <c:pt idx="5458">
                  <c:v>11075</c:v>
                </c:pt>
                <c:pt idx="5459">
                  <c:v>11850</c:v>
                </c:pt>
                <c:pt idx="5460">
                  <c:v>12409</c:v>
                </c:pt>
                <c:pt idx="5461">
                  <c:v>12581</c:v>
                </c:pt>
                <c:pt idx="5462">
                  <c:v>12499</c:v>
                </c:pt>
                <c:pt idx="5463">
                  <c:v>12296</c:v>
                </c:pt>
                <c:pt idx="5464">
                  <c:v>12171</c:v>
                </c:pt>
                <c:pt idx="5465">
                  <c:v>12113</c:v>
                </c:pt>
                <c:pt idx="5466">
                  <c:v>12196</c:v>
                </c:pt>
                <c:pt idx="5467">
                  <c:v>12339</c:v>
                </c:pt>
                <c:pt idx="5468">
                  <c:v>12359</c:v>
                </c:pt>
                <c:pt idx="5469">
                  <c:v>12608</c:v>
                </c:pt>
                <c:pt idx="5470">
                  <c:v>12463</c:v>
                </c:pt>
                <c:pt idx="5471">
                  <c:v>12311</c:v>
                </c:pt>
                <c:pt idx="5472">
                  <c:v>11565</c:v>
                </c:pt>
                <c:pt idx="5473">
                  <c:v>10802</c:v>
                </c:pt>
                <c:pt idx="5474">
                  <c:v>10460</c:v>
                </c:pt>
                <c:pt idx="5475">
                  <c:v>10330</c:v>
                </c:pt>
                <c:pt idx="5476">
                  <c:v>10306</c:v>
                </c:pt>
                <c:pt idx="5477">
                  <c:v>10276</c:v>
                </c:pt>
                <c:pt idx="5478">
                  <c:v>10468</c:v>
                </c:pt>
                <c:pt idx="5479">
                  <c:v>10872</c:v>
                </c:pt>
                <c:pt idx="5480">
                  <c:v>12349</c:v>
                </c:pt>
                <c:pt idx="5481">
                  <c:v>14072</c:v>
                </c:pt>
                <c:pt idx="5482">
                  <c:v>14855</c:v>
                </c:pt>
                <c:pt idx="5483">
                  <c:v>15102</c:v>
                </c:pt>
                <c:pt idx="5484">
                  <c:v>15011</c:v>
                </c:pt>
                <c:pt idx="5485">
                  <c:v>15063</c:v>
                </c:pt>
                <c:pt idx="5486">
                  <c:v>14969</c:v>
                </c:pt>
                <c:pt idx="5487">
                  <c:v>14697</c:v>
                </c:pt>
                <c:pt idx="5488">
                  <c:v>14622</c:v>
                </c:pt>
                <c:pt idx="5489">
                  <c:v>14575</c:v>
                </c:pt>
                <c:pt idx="5490">
                  <c:v>14132</c:v>
                </c:pt>
                <c:pt idx="5491">
                  <c:v>14082</c:v>
                </c:pt>
                <c:pt idx="5492">
                  <c:v>13734</c:v>
                </c:pt>
                <c:pt idx="5493">
                  <c:v>13646</c:v>
                </c:pt>
                <c:pt idx="5494">
                  <c:v>13364</c:v>
                </c:pt>
                <c:pt idx="5495">
                  <c:v>13124</c:v>
                </c:pt>
                <c:pt idx="5496">
                  <c:v>12481</c:v>
                </c:pt>
                <c:pt idx="5497">
                  <c:v>11743</c:v>
                </c:pt>
                <c:pt idx="5498">
                  <c:v>10957</c:v>
                </c:pt>
                <c:pt idx="5499">
                  <c:v>10753</c:v>
                </c:pt>
                <c:pt idx="5500">
                  <c:v>10654</c:v>
                </c:pt>
                <c:pt idx="5501">
                  <c:v>10623</c:v>
                </c:pt>
                <c:pt idx="5502">
                  <c:v>10566</c:v>
                </c:pt>
                <c:pt idx="5503">
                  <c:v>11033</c:v>
                </c:pt>
                <c:pt idx="5504">
                  <c:v>12432</c:v>
                </c:pt>
                <c:pt idx="5505">
                  <c:v>13782</c:v>
                </c:pt>
                <c:pt idx="5506">
                  <c:v>14206</c:v>
                </c:pt>
                <c:pt idx="5507">
                  <c:v>14232</c:v>
                </c:pt>
                <c:pt idx="5508">
                  <c:v>14608</c:v>
                </c:pt>
                <c:pt idx="5509">
                  <c:v>14557</c:v>
                </c:pt>
                <c:pt idx="5510">
                  <c:v>14530</c:v>
                </c:pt>
                <c:pt idx="5511">
                  <c:v>14439</c:v>
                </c:pt>
                <c:pt idx="5512">
                  <c:v>14670</c:v>
                </c:pt>
                <c:pt idx="5513">
                  <c:v>14460</c:v>
                </c:pt>
                <c:pt idx="5514">
                  <c:v>14361</c:v>
                </c:pt>
                <c:pt idx="5515">
                  <c:v>14474</c:v>
                </c:pt>
                <c:pt idx="5516">
                  <c:v>13872</c:v>
                </c:pt>
                <c:pt idx="5517">
                  <c:v>13577</c:v>
                </c:pt>
                <c:pt idx="5518">
                  <c:v>13416</c:v>
                </c:pt>
                <c:pt idx="5519">
                  <c:v>12845</c:v>
                </c:pt>
                <c:pt idx="5520">
                  <c:v>11874</c:v>
                </c:pt>
                <c:pt idx="5521">
                  <c:v>11021</c:v>
                </c:pt>
                <c:pt idx="5522">
                  <c:v>10637</c:v>
                </c:pt>
                <c:pt idx="5523">
                  <c:v>10473</c:v>
                </c:pt>
                <c:pt idx="5524">
                  <c:v>10458</c:v>
                </c:pt>
                <c:pt idx="5525">
                  <c:v>10705</c:v>
                </c:pt>
                <c:pt idx="5526">
                  <c:v>10660</c:v>
                </c:pt>
                <c:pt idx="5527">
                  <c:v>11097</c:v>
                </c:pt>
                <c:pt idx="5528">
                  <c:v>12713</c:v>
                </c:pt>
                <c:pt idx="5529">
                  <c:v>14659</c:v>
                </c:pt>
                <c:pt idx="5530">
                  <c:v>14924</c:v>
                </c:pt>
                <c:pt idx="5531">
                  <c:v>15042</c:v>
                </c:pt>
                <c:pt idx="5532">
                  <c:v>15110</c:v>
                </c:pt>
                <c:pt idx="5533">
                  <c:v>14675</c:v>
                </c:pt>
                <c:pt idx="5534">
                  <c:v>14729</c:v>
                </c:pt>
                <c:pt idx="5535">
                  <c:v>15018</c:v>
                </c:pt>
                <c:pt idx="5536">
                  <c:v>14939</c:v>
                </c:pt>
                <c:pt idx="5537">
                  <c:v>14905</c:v>
                </c:pt>
                <c:pt idx="5538">
                  <c:v>14578</c:v>
                </c:pt>
                <c:pt idx="5539">
                  <c:v>14599</c:v>
                </c:pt>
                <c:pt idx="5540">
                  <c:v>14201</c:v>
                </c:pt>
                <c:pt idx="5541">
                  <c:v>14055</c:v>
                </c:pt>
                <c:pt idx="5542">
                  <c:v>13792</c:v>
                </c:pt>
                <c:pt idx="5543">
                  <c:v>13310</c:v>
                </c:pt>
                <c:pt idx="5544">
                  <c:v>12235</c:v>
                </c:pt>
                <c:pt idx="5545">
                  <c:v>11111</c:v>
                </c:pt>
                <c:pt idx="5546">
                  <c:v>10845</c:v>
                </c:pt>
                <c:pt idx="5547">
                  <c:v>10661</c:v>
                </c:pt>
                <c:pt idx="5548">
                  <c:v>10562</c:v>
                </c:pt>
                <c:pt idx="5549">
                  <c:v>10574</c:v>
                </c:pt>
                <c:pt idx="5550">
                  <c:v>10807</c:v>
                </c:pt>
                <c:pt idx="5551">
                  <c:v>11324</c:v>
                </c:pt>
                <c:pt idx="5552">
                  <c:v>12784</c:v>
                </c:pt>
                <c:pt idx="5553">
                  <c:v>14406</c:v>
                </c:pt>
                <c:pt idx="5554">
                  <c:v>14965</c:v>
                </c:pt>
                <c:pt idx="5555">
                  <c:v>15090</c:v>
                </c:pt>
                <c:pt idx="5556">
                  <c:v>15100</c:v>
                </c:pt>
                <c:pt idx="5557">
                  <c:v>14979</c:v>
                </c:pt>
                <c:pt idx="5558">
                  <c:v>14978</c:v>
                </c:pt>
                <c:pt idx="5559">
                  <c:v>14984</c:v>
                </c:pt>
                <c:pt idx="5560">
                  <c:v>14718</c:v>
                </c:pt>
                <c:pt idx="5561">
                  <c:v>14600</c:v>
                </c:pt>
                <c:pt idx="5562">
                  <c:v>14416</c:v>
                </c:pt>
                <c:pt idx="5563">
                  <c:v>14483</c:v>
                </c:pt>
                <c:pt idx="5564">
                  <c:v>14181</c:v>
                </c:pt>
                <c:pt idx="5565">
                  <c:v>13747</c:v>
                </c:pt>
                <c:pt idx="5566">
                  <c:v>13582</c:v>
                </c:pt>
                <c:pt idx="5567">
                  <c:v>13369</c:v>
                </c:pt>
                <c:pt idx="5568">
                  <c:v>12200</c:v>
                </c:pt>
                <c:pt idx="5569">
                  <c:v>11398</c:v>
                </c:pt>
                <c:pt idx="5570">
                  <c:v>10836</c:v>
                </c:pt>
                <c:pt idx="5571">
                  <c:v>10866</c:v>
                </c:pt>
                <c:pt idx="5572">
                  <c:v>10671</c:v>
                </c:pt>
                <c:pt idx="5573">
                  <c:v>10671</c:v>
                </c:pt>
                <c:pt idx="5574">
                  <c:v>10703</c:v>
                </c:pt>
                <c:pt idx="5575">
                  <c:v>11277</c:v>
                </c:pt>
                <c:pt idx="5576">
                  <c:v>12710</c:v>
                </c:pt>
                <c:pt idx="5577">
                  <c:v>14385</c:v>
                </c:pt>
                <c:pt idx="5578">
                  <c:v>14913</c:v>
                </c:pt>
                <c:pt idx="5579">
                  <c:v>15082</c:v>
                </c:pt>
                <c:pt idx="5580">
                  <c:v>15284</c:v>
                </c:pt>
                <c:pt idx="5581">
                  <c:v>15229</c:v>
                </c:pt>
                <c:pt idx="5582">
                  <c:v>15010</c:v>
                </c:pt>
                <c:pt idx="5583">
                  <c:v>14730</c:v>
                </c:pt>
                <c:pt idx="5584">
                  <c:v>14387</c:v>
                </c:pt>
                <c:pt idx="5585">
                  <c:v>14211</c:v>
                </c:pt>
                <c:pt idx="5586">
                  <c:v>13834</c:v>
                </c:pt>
                <c:pt idx="5587">
                  <c:v>13917</c:v>
                </c:pt>
                <c:pt idx="5588">
                  <c:v>13552</c:v>
                </c:pt>
                <c:pt idx="5589">
                  <c:v>13146</c:v>
                </c:pt>
                <c:pt idx="5590">
                  <c:v>12979</c:v>
                </c:pt>
                <c:pt idx="5591">
                  <c:v>12722</c:v>
                </c:pt>
                <c:pt idx="5592">
                  <c:v>11757</c:v>
                </c:pt>
                <c:pt idx="5593">
                  <c:v>11029</c:v>
                </c:pt>
                <c:pt idx="5594">
                  <c:v>10602</c:v>
                </c:pt>
                <c:pt idx="5595">
                  <c:v>10364</c:v>
                </c:pt>
                <c:pt idx="5596">
                  <c:v>10527</c:v>
                </c:pt>
                <c:pt idx="5597">
                  <c:v>10511</c:v>
                </c:pt>
                <c:pt idx="5598">
                  <c:v>10401</c:v>
                </c:pt>
                <c:pt idx="5599">
                  <c:v>10305</c:v>
                </c:pt>
                <c:pt idx="5600">
                  <c:v>10505</c:v>
                </c:pt>
                <c:pt idx="5601">
                  <c:v>11134</c:v>
                </c:pt>
                <c:pt idx="5602">
                  <c:v>12188</c:v>
                </c:pt>
                <c:pt idx="5603">
                  <c:v>13061</c:v>
                </c:pt>
                <c:pt idx="5604">
                  <c:v>13119</c:v>
                </c:pt>
                <c:pt idx="5605">
                  <c:v>12609</c:v>
                </c:pt>
                <c:pt idx="5606">
                  <c:v>12483</c:v>
                </c:pt>
                <c:pt idx="5607">
                  <c:v>12344</c:v>
                </c:pt>
                <c:pt idx="5608">
                  <c:v>12073</c:v>
                </c:pt>
                <c:pt idx="5609">
                  <c:v>12152</c:v>
                </c:pt>
                <c:pt idx="5610">
                  <c:v>12174</c:v>
                </c:pt>
                <c:pt idx="5611">
                  <c:v>12393</c:v>
                </c:pt>
                <c:pt idx="5612">
                  <c:v>12232</c:v>
                </c:pt>
                <c:pt idx="5613">
                  <c:v>12053</c:v>
                </c:pt>
                <c:pt idx="5614">
                  <c:v>11972</c:v>
                </c:pt>
                <c:pt idx="5615">
                  <c:v>12100</c:v>
                </c:pt>
                <c:pt idx="5616">
                  <c:v>11619</c:v>
                </c:pt>
                <c:pt idx="5617">
                  <c:v>11123</c:v>
                </c:pt>
                <c:pt idx="5618">
                  <c:v>10671</c:v>
                </c:pt>
                <c:pt idx="5619">
                  <c:v>10371</c:v>
                </c:pt>
                <c:pt idx="5620">
                  <c:v>10217</c:v>
                </c:pt>
                <c:pt idx="5621">
                  <c:v>10075</c:v>
                </c:pt>
                <c:pt idx="5622">
                  <c:v>10059</c:v>
                </c:pt>
                <c:pt idx="5623">
                  <c:v>9841</c:v>
                </c:pt>
                <c:pt idx="5624">
                  <c:v>9881</c:v>
                </c:pt>
                <c:pt idx="5625">
                  <c:v>10365</c:v>
                </c:pt>
                <c:pt idx="5626">
                  <c:v>11131</c:v>
                </c:pt>
                <c:pt idx="5627">
                  <c:v>11776</c:v>
                </c:pt>
                <c:pt idx="5628">
                  <c:v>12102</c:v>
                </c:pt>
                <c:pt idx="5629">
                  <c:v>12140</c:v>
                </c:pt>
                <c:pt idx="5630">
                  <c:v>12145</c:v>
                </c:pt>
                <c:pt idx="5631">
                  <c:v>12096</c:v>
                </c:pt>
                <c:pt idx="5632">
                  <c:v>12066</c:v>
                </c:pt>
                <c:pt idx="5633">
                  <c:v>11998</c:v>
                </c:pt>
                <c:pt idx="5634">
                  <c:v>12025</c:v>
                </c:pt>
                <c:pt idx="5635">
                  <c:v>12303</c:v>
                </c:pt>
                <c:pt idx="5636">
                  <c:v>12626</c:v>
                </c:pt>
                <c:pt idx="5637">
                  <c:v>12615</c:v>
                </c:pt>
                <c:pt idx="5638">
                  <c:v>12662</c:v>
                </c:pt>
                <c:pt idx="5639">
                  <c:v>12454</c:v>
                </c:pt>
                <c:pt idx="5640">
                  <c:v>11554</c:v>
                </c:pt>
                <c:pt idx="5641">
                  <c:v>10902</c:v>
                </c:pt>
                <c:pt idx="5642">
                  <c:v>10711</c:v>
                </c:pt>
                <c:pt idx="5643">
                  <c:v>10452</c:v>
                </c:pt>
                <c:pt idx="5644">
                  <c:v>10512</c:v>
                </c:pt>
                <c:pt idx="5645">
                  <c:v>10543</c:v>
                </c:pt>
                <c:pt idx="5646">
                  <c:v>10781</c:v>
                </c:pt>
                <c:pt idx="5647">
                  <c:v>11479</c:v>
                </c:pt>
                <c:pt idx="5648">
                  <c:v>12606</c:v>
                </c:pt>
                <c:pt idx="5649">
                  <c:v>14124</c:v>
                </c:pt>
                <c:pt idx="5650">
                  <c:v>14957</c:v>
                </c:pt>
                <c:pt idx="5651">
                  <c:v>15368</c:v>
                </c:pt>
                <c:pt idx="5652">
                  <c:v>15457</c:v>
                </c:pt>
                <c:pt idx="5653">
                  <c:v>15497</c:v>
                </c:pt>
                <c:pt idx="5654">
                  <c:v>15557</c:v>
                </c:pt>
                <c:pt idx="5655">
                  <c:v>15587</c:v>
                </c:pt>
                <c:pt idx="5656">
                  <c:v>15268</c:v>
                </c:pt>
                <c:pt idx="5657">
                  <c:v>15303</c:v>
                </c:pt>
                <c:pt idx="5658">
                  <c:v>15188</c:v>
                </c:pt>
                <c:pt idx="5659">
                  <c:v>15016</c:v>
                </c:pt>
                <c:pt idx="5660">
                  <c:v>14757</c:v>
                </c:pt>
                <c:pt idx="5661">
                  <c:v>14560</c:v>
                </c:pt>
                <c:pt idx="5662">
                  <c:v>14262</c:v>
                </c:pt>
                <c:pt idx="5663">
                  <c:v>13920</c:v>
                </c:pt>
                <c:pt idx="5664">
                  <c:v>12529</c:v>
                </c:pt>
                <c:pt idx="5665">
                  <c:v>11964</c:v>
                </c:pt>
                <c:pt idx="5666">
                  <c:v>11273</c:v>
                </c:pt>
                <c:pt idx="5667">
                  <c:v>10922</c:v>
                </c:pt>
                <c:pt idx="5668">
                  <c:v>10758</c:v>
                </c:pt>
                <c:pt idx="5669">
                  <c:v>10828</c:v>
                </c:pt>
                <c:pt idx="5670">
                  <c:v>10864</c:v>
                </c:pt>
                <c:pt idx="5671">
                  <c:v>11337</c:v>
                </c:pt>
                <c:pt idx="5672">
                  <c:v>12749</c:v>
                </c:pt>
                <c:pt idx="5673">
                  <c:v>14600</c:v>
                </c:pt>
                <c:pt idx="5674">
                  <c:v>15265</c:v>
                </c:pt>
                <c:pt idx="5675">
                  <c:v>15316</c:v>
                </c:pt>
                <c:pt idx="5676">
                  <c:v>15605</c:v>
                </c:pt>
                <c:pt idx="5677">
                  <c:v>15454</c:v>
                </c:pt>
                <c:pt idx="5678">
                  <c:v>15322</c:v>
                </c:pt>
                <c:pt idx="5679">
                  <c:v>15241</c:v>
                </c:pt>
                <c:pt idx="5680">
                  <c:v>15146</c:v>
                </c:pt>
                <c:pt idx="5681">
                  <c:v>15093</c:v>
                </c:pt>
                <c:pt idx="5682">
                  <c:v>14598</c:v>
                </c:pt>
                <c:pt idx="5683">
                  <c:v>14597</c:v>
                </c:pt>
                <c:pt idx="5684">
                  <c:v>14141</c:v>
                </c:pt>
                <c:pt idx="5685">
                  <c:v>14012</c:v>
                </c:pt>
                <c:pt idx="5686">
                  <c:v>13770</c:v>
                </c:pt>
                <c:pt idx="5687">
                  <c:v>13324</c:v>
                </c:pt>
                <c:pt idx="5688">
                  <c:v>12282</c:v>
                </c:pt>
                <c:pt idx="5689">
                  <c:v>11477</c:v>
                </c:pt>
                <c:pt idx="5690">
                  <c:v>11161</c:v>
                </c:pt>
                <c:pt idx="5691">
                  <c:v>10891</c:v>
                </c:pt>
                <c:pt idx="5692">
                  <c:v>10916</c:v>
                </c:pt>
                <c:pt idx="5693">
                  <c:v>10867</c:v>
                </c:pt>
                <c:pt idx="5694">
                  <c:v>10737</c:v>
                </c:pt>
                <c:pt idx="5695">
                  <c:v>11289</c:v>
                </c:pt>
                <c:pt idx="5696">
                  <c:v>12581</c:v>
                </c:pt>
                <c:pt idx="5697">
                  <c:v>14494</c:v>
                </c:pt>
                <c:pt idx="5698">
                  <c:v>14918</c:v>
                </c:pt>
                <c:pt idx="5699">
                  <c:v>14980</c:v>
                </c:pt>
                <c:pt idx="5700">
                  <c:v>14813</c:v>
                </c:pt>
                <c:pt idx="5701">
                  <c:v>15010</c:v>
                </c:pt>
                <c:pt idx="5702">
                  <c:v>14988</c:v>
                </c:pt>
                <c:pt idx="5703">
                  <c:v>14964</c:v>
                </c:pt>
                <c:pt idx="5704">
                  <c:v>14892</c:v>
                </c:pt>
                <c:pt idx="5705">
                  <c:v>15096</c:v>
                </c:pt>
                <c:pt idx="5706">
                  <c:v>14839</c:v>
                </c:pt>
                <c:pt idx="5707">
                  <c:v>14797</c:v>
                </c:pt>
                <c:pt idx="5708">
                  <c:v>14573</c:v>
                </c:pt>
                <c:pt idx="5709">
                  <c:v>14346</c:v>
                </c:pt>
                <c:pt idx="5710">
                  <c:v>14287</c:v>
                </c:pt>
                <c:pt idx="5711">
                  <c:v>13691</c:v>
                </c:pt>
                <c:pt idx="5712">
                  <c:v>12374</c:v>
                </c:pt>
                <c:pt idx="5713">
                  <c:v>11830</c:v>
                </c:pt>
                <c:pt idx="5714">
                  <c:v>10891</c:v>
                </c:pt>
                <c:pt idx="5715">
                  <c:v>10523</c:v>
                </c:pt>
                <c:pt idx="5716">
                  <c:v>10471</c:v>
                </c:pt>
                <c:pt idx="5717">
                  <c:v>10468</c:v>
                </c:pt>
                <c:pt idx="5718">
                  <c:v>10492</c:v>
                </c:pt>
                <c:pt idx="5719">
                  <c:v>11004</c:v>
                </c:pt>
                <c:pt idx="5720">
                  <c:v>12781</c:v>
                </c:pt>
                <c:pt idx="5721">
                  <c:v>14418</c:v>
                </c:pt>
                <c:pt idx="5722">
                  <c:v>15252</c:v>
                </c:pt>
                <c:pt idx="5723">
                  <c:v>15350</c:v>
                </c:pt>
                <c:pt idx="5724">
                  <c:v>15367</c:v>
                </c:pt>
                <c:pt idx="5725">
                  <c:v>15444</c:v>
                </c:pt>
                <c:pt idx="5726">
                  <c:v>15342</c:v>
                </c:pt>
                <c:pt idx="5727">
                  <c:v>15251</c:v>
                </c:pt>
                <c:pt idx="5728">
                  <c:v>15073</c:v>
                </c:pt>
                <c:pt idx="5729">
                  <c:v>14920</c:v>
                </c:pt>
                <c:pt idx="5730">
                  <c:v>14818</c:v>
                </c:pt>
                <c:pt idx="5731">
                  <c:v>14829</c:v>
                </c:pt>
                <c:pt idx="5732">
                  <c:v>14461</c:v>
                </c:pt>
                <c:pt idx="5733">
                  <c:v>14204</c:v>
                </c:pt>
                <c:pt idx="5734">
                  <c:v>14380</c:v>
                </c:pt>
                <c:pt idx="5735">
                  <c:v>14128</c:v>
                </c:pt>
                <c:pt idx="5736">
                  <c:v>13076</c:v>
                </c:pt>
                <c:pt idx="5737">
                  <c:v>12057</c:v>
                </c:pt>
                <c:pt idx="5738">
                  <c:v>11335</c:v>
                </c:pt>
                <c:pt idx="5739">
                  <c:v>10830</c:v>
                </c:pt>
                <c:pt idx="5740">
                  <c:v>10753</c:v>
                </c:pt>
                <c:pt idx="5741">
                  <c:v>10607</c:v>
                </c:pt>
                <c:pt idx="5742">
                  <c:v>10707</c:v>
                </c:pt>
                <c:pt idx="5743">
                  <c:v>11509</c:v>
                </c:pt>
                <c:pt idx="5744">
                  <c:v>13137</c:v>
                </c:pt>
                <c:pt idx="5745">
                  <c:v>14831</c:v>
                </c:pt>
                <c:pt idx="5746">
                  <c:v>15361</c:v>
                </c:pt>
                <c:pt idx="5747">
                  <c:v>15085</c:v>
                </c:pt>
                <c:pt idx="5748">
                  <c:v>15060</c:v>
                </c:pt>
                <c:pt idx="5749">
                  <c:v>14778</c:v>
                </c:pt>
                <c:pt idx="5750">
                  <c:v>14580</c:v>
                </c:pt>
                <c:pt idx="5751">
                  <c:v>14320</c:v>
                </c:pt>
                <c:pt idx="5752">
                  <c:v>14191</c:v>
                </c:pt>
                <c:pt idx="5753">
                  <c:v>14094</c:v>
                </c:pt>
                <c:pt idx="5754">
                  <c:v>13677</c:v>
                </c:pt>
                <c:pt idx="5755">
                  <c:v>13496</c:v>
                </c:pt>
                <c:pt idx="5756">
                  <c:v>13515</c:v>
                </c:pt>
                <c:pt idx="5757">
                  <c:v>13244</c:v>
                </c:pt>
                <c:pt idx="5758">
                  <c:v>13221</c:v>
                </c:pt>
                <c:pt idx="5759">
                  <c:v>12887</c:v>
                </c:pt>
                <c:pt idx="5760">
                  <c:v>11746</c:v>
                </c:pt>
                <c:pt idx="5761">
                  <c:v>10697</c:v>
                </c:pt>
                <c:pt idx="5762">
                  <c:v>10212</c:v>
                </c:pt>
                <c:pt idx="5763">
                  <c:v>10126</c:v>
                </c:pt>
                <c:pt idx="5764">
                  <c:v>9980</c:v>
                </c:pt>
                <c:pt idx="5765">
                  <c:v>9821</c:v>
                </c:pt>
                <c:pt idx="5766">
                  <c:v>9880</c:v>
                </c:pt>
                <c:pt idx="5767">
                  <c:v>10068</c:v>
                </c:pt>
                <c:pt idx="5768">
                  <c:v>10406</c:v>
                </c:pt>
                <c:pt idx="5769">
                  <c:v>11176</c:v>
                </c:pt>
                <c:pt idx="5770">
                  <c:v>12380</c:v>
                </c:pt>
                <c:pt idx="5771">
                  <c:v>12847</c:v>
                </c:pt>
                <c:pt idx="5772">
                  <c:v>12932</c:v>
                </c:pt>
                <c:pt idx="5773">
                  <c:v>12648</c:v>
                </c:pt>
                <c:pt idx="5774">
                  <c:v>12762</c:v>
                </c:pt>
                <c:pt idx="5775">
                  <c:v>12341</c:v>
                </c:pt>
                <c:pt idx="5776">
                  <c:v>12028</c:v>
                </c:pt>
                <c:pt idx="5777">
                  <c:v>12204</c:v>
                </c:pt>
                <c:pt idx="5778">
                  <c:v>12176</c:v>
                </c:pt>
                <c:pt idx="5779">
                  <c:v>12277</c:v>
                </c:pt>
                <c:pt idx="5780">
                  <c:v>12381</c:v>
                </c:pt>
                <c:pt idx="5781">
                  <c:v>12412</c:v>
                </c:pt>
                <c:pt idx="5782">
                  <c:v>12519</c:v>
                </c:pt>
                <c:pt idx="5783">
                  <c:v>12294</c:v>
                </c:pt>
                <c:pt idx="5784">
                  <c:v>11575</c:v>
                </c:pt>
                <c:pt idx="5785">
                  <c:v>10909</c:v>
                </c:pt>
                <c:pt idx="5786">
                  <c:v>10575</c:v>
                </c:pt>
                <c:pt idx="5787">
                  <c:v>10443</c:v>
                </c:pt>
                <c:pt idx="5788">
                  <c:v>10306</c:v>
                </c:pt>
                <c:pt idx="5789">
                  <c:v>10259</c:v>
                </c:pt>
                <c:pt idx="5790">
                  <c:v>10194</c:v>
                </c:pt>
                <c:pt idx="5791">
                  <c:v>10148</c:v>
                </c:pt>
                <c:pt idx="5792">
                  <c:v>10009</c:v>
                </c:pt>
                <c:pt idx="5793">
                  <c:v>10733</c:v>
                </c:pt>
                <c:pt idx="5794">
                  <c:v>11615</c:v>
                </c:pt>
                <c:pt idx="5795">
                  <c:v>12417</c:v>
                </c:pt>
                <c:pt idx="5796">
                  <c:v>12839</c:v>
                </c:pt>
                <c:pt idx="5797">
                  <c:v>13217</c:v>
                </c:pt>
                <c:pt idx="5798">
                  <c:v>12916</c:v>
                </c:pt>
                <c:pt idx="5799">
                  <c:v>12604</c:v>
                </c:pt>
                <c:pt idx="5800">
                  <c:v>12404</c:v>
                </c:pt>
                <c:pt idx="5801">
                  <c:v>12470</c:v>
                </c:pt>
                <c:pt idx="5802">
                  <c:v>12556</c:v>
                </c:pt>
                <c:pt idx="5803">
                  <c:v>12792</c:v>
                </c:pt>
                <c:pt idx="5804">
                  <c:v>12978</c:v>
                </c:pt>
                <c:pt idx="5805">
                  <c:v>13251</c:v>
                </c:pt>
                <c:pt idx="5806">
                  <c:v>13482</c:v>
                </c:pt>
                <c:pt idx="5807">
                  <c:v>13125</c:v>
                </c:pt>
                <c:pt idx="5808">
                  <c:v>12336</c:v>
                </c:pt>
                <c:pt idx="5809">
                  <c:v>11411</c:v>
                </c:pt>
                <c:pt idx="5810">
                  <c:v>10967</c:v>
                </c:pt>
                <c:pt idx="5811">
                  <c:v>10822</c:v>
                </c:pt>
                <c:pt idx="5812">
                  <c:v>10880</c:v>
                </c:pt>
                <c:pt idx="5813">
                  <c:v>10913</c:v>
                </c:pt>
                <c:pt idx="5814">
                  <c:v>10945</c:v>
                </c:pt>
                <c:pt idx="5815">
                  <c:v>11558</c:v>
                </c:pt>
                <c:pt idx="5816">
                  <c:v>13165</c:v>
                </c:pt>
                <c:pt idx="5817">
                  <c:v>14844</c:v>
                </c:pt>
                <c:pt idx="5818">
                  <c:v>15272</c:v>
                </c:pt>
                <c:pt idx="5819">
                  <c:v>15354</c:v>
                </c:pt>
                <c:pt idx="5820">
                  <c:v>15420</c:v>
                </c:pt>
                <c:pt idx="5821">
                  <c:v>15517</c:v>
                </c:pt>
                <c:pt idx="5822">
                  <c:v>15409</c:v>
                </c:pt>
                <c:pt idx="5823">
                  <c:v>15369</c:v>
                </c:pt>
                <c:pt idx="5824">
                  <c:v>15198</c:v>
                </c:pt>
                <c:pt idx="5825">
                  <c:v>14967</c:v>
                </c:pt>
                <c:pt idx="5826">
                  <c:v>14726</c:v>
                </c:pt>
                <c:pt idx="5827">
                  <c:v>15085</c:v>
                </c:pt>
                <c:pt idx="5828">
                  <c:v>15230</c:v>
                </c:pt>
                <c:pt idx="5829">
                  <c:v>14979</c:v>
                </c:pt>
                <c:pt idx="5830">
                  <c:v>14947</c:v>
                </c:pt>
                <c:pt idx="5831">
                  <c:v>14331</c:v>
                </c:pt>
                <c:pt idx="5832">
                  <c:v>13028</c:v>
                </c:pt>
                <c:pt idx="5833">
                  <c:v>11823</c:v>
                </c:pt>
                <c:pt idx="5834">
                  <c:v>11373</c:v>
                </c:pt>
                <c:pt idx="5835">
                  <c:v>11171</c:v>
                </c:pt>
                <c:pt idx="5836">
                  <c:v>11130</c:v>
                </c:pt>
                <c:pt idx="5837">
                  <c:v>11065</c:v>
                </c:pt>
                <c:pt idx="5838">
                  <c:v>11042</c:v>
                </c:pt>
                <c:pt idx="5839">
                  <c:v>11824</c:v>
                </c:pt>
                <c:pt idx="5840">
                  <c:v>13197</c:v>
                </c:pt>
                <c:pt idx="5841">
                  <c:v>15008</c:v>
                </c:pt>
                <c:pt idx="5842">
                  <c:v>15793</c:v>
                </c:pt>
                <c:pt idx="5843">
                  <c:v>15883</c:v>
                </c:pt>
                <c:pt idx="5844">
                  <c:v>15901</c:v>
                </c:pt>
                <c:pt idx="5845">
                  <c:v>15966</c:v>
                </c:pt>
                <c:pt idx="5846">
                  <c:v>15951</c:v>
                </c:pt>
                <c:pt idx="5847">
                  <c:v>15880</c:v>
                </c:pt>
                <c:pt idx="5848">
                  <c:v>15621</c:v>
                </c:pt>
                <c:pt idx="5849">
                  <c:v>15580</c:v>
                </c:pt>
                <c:pt idx="5850">
                  <c:v>15512</c:v>
                </c:pt>
                <c:pt idx="5851">
                  <c:v>15619</c:v>
                </c:pt>
                <c:pt idx="5852">
                  <c:v>15255</c:v>
                </c:pt>
                <c:pt idx="5853">
                  <c:v>15037</c:v>
                </c:pt>
                <c:pt idx="5854">
                  <c:v>15085</c:v>
                </c:pt>
                <c:pt idx="5855">
                  <c:v>14442</c:v>
                </c:pt>
                <c:pt idx="5856">
                  <c:v>12952</c:v>
                </c:pt>
                <c:pt idx="5857">
                  <c:v>11812</c:v>
                </c:pt>
                <c:pt idx="5858">
                  <c:v>11413</c:v>
                </c:pt>
                <c:pt idx="5859">
                  <c:v>11174</c:v>
                </c:pt>
                <c:pt idx="5860">
                  <c:v>11017</c:v>
                </c:pt>
                <c:pt idx="5861">
                  <c:v>11152</c:v>
                </c:pt>
                <c:pt idx="5862">
                  <c:v>11268</c:v>
                </c:pt>
                <c:pt idx="5863">
                  <c:v>12106</c:v>
                </c:pt>
                <c:pt idx="5864">
                  <c:v>13528</c:v>
                </c:pt>
                <c:pt idx="5865">
                  <c:v>15231</c:v>
                </c:pt>
                <c:pt idx="5866">
                  <c:v>15884</c:v>
                </c:pt>
                <c:pt idx="5867">
                  <c:v>15686</c:v>
                </c:pt>
                <c:pt idx="5868">
                  <c:v>15723</c:v>
                </c:pt>
                <c:pt idx="5869">
                  <c:v>15760</c:v>
                </c:pt>
                <c:pt idx="5870">
                  <c:v>15763</c:v>
                </c:pt>
                <c:pt idx="5871">
                  <c:v>15638</c:v>
                </c:pt>
                <c:pt idx="5872">
                  <c:v>15421</c:v>
                </c:pt>
                <c:pt idx="5873">
                  <c:v>15530</c:v>
                </c:pt>
                <c:pt idx="5874">
                  <c:v>15207</c:v>
                </c:pt>
                <c:pt idx="5875">
                  <c:v>15116</c:v>
                </c:pt>
                <c:pt idx="5876">
                  <c:v>15088</c:v>
                </c:pt>
                <c:pt idx="5877">
                  <c:v>14863</c:v>
                </c:pt>
                <c:pt idx="5878">
                  <c:v>14985</c:v>
                </c:pt>
                <c:pt idx="5879">
                  <c:v>14155</c:v>
                </c:pt>
                <c:pt idx="5880">
                  <c:v>13080</c:v>
                </c:pt>
                <c:pt idx="5881">
                  <c:v>12015</c:v>
                </c:pt>
                <c:pt idx="5882">
                  <c:v>11440</c:v>
                </c:pt>
                <c:pt idx="5883">
                  <c:v>11144</c:v>
                </c:pt>
                <c:pt idx="5884">
                  <c:v>11185</c:v>
                </c:pt>
                <c:pt idx="5885">
                  <c:v>11244</c:v>
                </c:pt>
                <c:pt idx="5886">
                  <c:v>11319</c:v>
                </c:pt>
                <c:pt idx="5887">
                  <c:v>11881</c:v>
                </c:pt>
                <c:pt idx="5888">
                  <c:v>13149</c:v>
                </c:pt>
                <c:pt idx="5889">
                  <c:v>14773</c:v>
                </c:pt>
                <c:pt idx="5890">
                  <c:v>15228</c:v>
                </c:pt>
                <c:pt idx="5891">
                  <c:v>15191</c:v>
                </c:pt>
                <c:pt idx="5892">
                  <c:v>15269</c:v>
                </c:pt>
                <c:pt idx="5893">
                  <c:v>15240</c:v>
                </c:pt>
                <c:pt idx="5894">
                  <c:v>15250</c:v>
                </c:pt>
                <c:pt idx="5895">
                  <c:v>15207</c:v>
                </c:pt>
                <c:pt idx="5896">
                  <c:v>14968</c:v>
                </c:pt>
                <c:pt idx="5897">
                  <c:v>14904</c:v>
                </c:pt>
                <c:pt idx="5898">
                  <c:v>14799</c:v>
                </c:pt>
                <c:pt idx="5899">
                  <c:v>14776</c:v>
                </c:pt>
                <c:pt idx="5900">
                  <c:v>14424</c:v>
                </c:pt>
                <c:pt idx="5901">
                  <c:v>14487</c:v>
                </c:pt>
                <c:pt idx="5902">
                  <c:v>14787</c:v>
                </c:pt>
                <c:pt idx="5903">
                  <c:v>14205</c:v>
                </c:pt>
                <c:pt idx="5904">
                  <c:v>13237</c:v>
                </c:pt>
                <c:pt idx="5905">
                  <c:v>12219</c:v>
                </c:pt>
                <c:pt idx="5906">
                  <c:v>11624</c:v>
                </c:pt>
                <c:pt idx="5907">
                  <c:v>11180</c:v>
                </c:pt>
                <c:pt idx="5908">
                  <c:v>11108</c:v>
                </c:pt>
                <c:pt idx="5909">
                  <c:v>11164</c:v>
                </c:pt>
                <c:pt idx="5910">
                  <c:v>11436</c:v>
                </c:pt>
                <c:pt idx="5911">
                  <c:v>11922</c:v>
                </c:pt>
                <c:pt idx="5912">
                  <c:v>13563</c:v>
                </c:pt>
                <c:pt idx="5913">
                  <c:v>15085</c:v>
                </c:pt>
                <c:pt idx="5914">
                  <c:v>15657</c:v>
                </c:pt>
                <c:pt idx="5915">
                  <c:v>15725</c:v>
                </c:pt>
                <c:pt idx="5916">
                  <c:v>15728</c:v>
                </c:pt>
                <c:pt idx="5917">
                  <c:v>15698</c:v>
                </c:pt>
                <c:pt idx="5918">
                  <c:v>15342</c:v>
                </c:pt>
                <c:pt idx="5919">
                  <c:v>15074</c:v>
                </c:pt>
                <c:pt idx="5920">
                  <c:v>14953</c:v>
                </c:pt>
                <c:pt idx="5921">
                  <c:v>14615</c:v>
                </c:pt>
                <c:pt idx="5922">
                  <c:v>14169</c:v>
                </c:pt>
                <c:pt idx="5923">
                  <c:v>14193</c:v>
                </c:pt>
                <c:pt idx="5924">
                  <c:v>14120</c:v>
                </c:pt>
                <c:pt idx="5925">
                  <c:v>13946</c:v>
                </c:pt>
                <c:pt idx="5926">
                  <c:v>13953</c:v>
                </c:pt>
                <c:pt idx="5927">
                  <c:v>13295</c:v>
                </c:pt>
                <c:pt idx="5928">
                  <c:v>12413</c:v>
                </c:pt>
                <c:pt idx="5929">
                  <c:v>11700</c:v>
                </c:pt>
                <c:pt idx="5930">
                  <c:v>11137</c:v>
                </c:pt>
                <c:pt idx="5931">
                  <c:v>10909</c:v>
                </c:pt>
                <c:pt idx="5932">
                  <c:v>10643</c:v>
                </c:pt>
                <c:pt idx="5933">
                  <c:v>10723</c:v>
                </c:pt>
                <c:pt idx="5934">
                  <c:v>10780</c:v>
                </c:pt>
                <c:pt idx="5935">
                  <c:v>10762</c:v>
                </c:pt>
                <c:pt idx="5936">
                  <c:v>10933</c:v>
                </c:pt>
                <c:pt idx="5937">
                  <c:v>11454</c:v>
                </c:pt>
                <c:pt idx="5938">
                  <c:v>12122</c:v>
                </c:pt>
                <c:pt idx="5939">
                  <c:v>13056</c:v>
                </c:pt>
                <c:pt idx="5940">
                  <c:v>13375</c:v>
                </c:pt>
                <c:pt idx="5941">
                  <c:v>13323</c:v>
                </c:pt>
                <c:pt idx="5942">
                  <c:v>13289</c:v>
                </c:pt>
                <c:pt idx="5943">
                  <c:v>13379</c:v>
                </c:pt>
                <c:pt idx="5944">
                  <c:v>13170</c:v>
                </c:pt>
                <c:pt idx="5945">
                  <c:v>12924</c:v>
                </c:pt>
                <c:pt idx="5946">
                  <c:v>12885</c:v>
                </c:pt>
                <c:pt idx="5947">
                  <c:v>13101</c:v>
                </c:pt>
                <c:pt idx="5948">
                  <c:v>13149</c:v>
                </c:pt>
                <c:pt idx="5949">
                  <c:v>13146</c:v>
                </c:pt>
                <c:pt idx="5950">
                  <c:v>13306</c:v>
                </c:pt>
                <c:pt idx="5951">
                  <c:v>12788</c:v>
                </c:pt>
                <c:pt idx="5952">
                  <c:v>12060</c:v>
                </c:pt>
                <c:pt idx="5953">
                  <c:v>11642</c:v>
                </c:pt>
                <c:pt idx="5954">
                  <c:v>10834</c:v>
                </c:pt>
                <c:pt idx="5955">
                  <c:v>10710</c:v>
                </c:pt>
                <c:pt idx="5956">
                  <c:v>10429</c:v>
                </c:pt>
                <c:pt idx="5957">
                  <c:v>10392</c:v>
                </c:pt>
                <c:pt idx="5958">
                  <c:v>10515</c:v>
                </c:pt>
                <c:pt idx="5959">
                  <c:v>10463</c:v>
                </c:pt>
                <c:pt idx="5960">
                  <c:v>10462</c:v>
                </c:pt>
                <c:pt idx="5961">
                  <c:v>10855</c:v>
                </c:pt>
                <c:pt idx="5962">
                  <c:v>11851</c:v>
                </c:pt>
                <c:pt idx="5963">
                  <c:v>12570</c:v>
                </c:pt>
                <c:pt idx="5964">
                  <c:v>12908</c:v>
                </c:pt>
                <c:pt idx="5965">
                  <c:v>13109</c:v>
                </c:pt>
                <c:pt idx="5966">
                  <c:v>13186</c:v>
                </c:pt>
                <c:pt idx="5967">
                  <c:v>13365</c:v>
                </c:pt>
                <c:pt idx="5968">
                  <c:v>13272</c:v>
                </c:pt>
                <c:pt idx="5969">
                  <c:v>13063</c:v>
                </c:pt>
                <c:pt idx="5970">
                  <c:v>13186</c:v>
                </c:pt>
                <c:pt idx="5971">
                  <c:v>13277</c:v>
                </c:pt>
                <c:pt idx="5972">
                  <c:v>13435</c:v>
                </c:pt>
                <c:pt idx="5973">
                  <c:v>13790</c:v>
                </c:pt>
                <c:pt idx="5974">
                  <c:v>13905</c:v>
                </c:pt>
                <c:pt idx="5975">
                  <c:v>13405</c:v>
                </c:pt>
                <c:pt idx="5976">
                  <c:v>12630</c:v>
                </c:pt>
                <c:pt idx="5977">
                  <c:v>11688</c:v>
                </c:pt>
                <c:pt idx="5978">
                  <c:v>11376</c:v>
                </c:pt>
                <c:pt idx="5979">
                  <c:v>11162</c:v>
                </c:pt>
                <c:pt idx="5980">
                  <c:v>11149</c:v>
                </c:pt>
                <c:pt idx="5981">
                  <c:v>11109</c:v>
                </c:pt>
                <c:pt idx="5982">
                  <c:v>11163</c:v>
                </c:pt>
                <c:pt idx="5983">
                  <c:v>12058</c:v>
                </c:pt>
                <c:pt idx="5984">
                  <c:v>13799</c:v>
                </c:pt>
                <c:pt idx="5985">
                  <c:v>15612</c:v>
                </c:pt>
                <c:pt idx="5986">
                  <c:v>16365</c:v>
                </c:pt>
                <c:pt idx="5987">
                  <c:v>16413</c:v>
                </c:pt>
                <c:pt idx="5988">
                  <c:v>16267</c:v>
                </c:pt>
                <c:pt idx="5989">
                  <c:v>16016</c:v>
                </c:pt>
                <c:pt idx="5990">
                  <c:v>15900</c:v>
                </c:pt>
                <c:pt idx="5991">
                  <c:v>15640</c:v>
                </c:pt>
                <c:pt idx="5992">
                  <c:v>15435</c:v>
                </c:pt>
                <c:pt idx="5993">
                  <c:v>15171</c:v>
                </c:pt>
                <c:pt idx="5994">
                  <c:v>15026</c:v>
                </c:pt>
                <c:pt idx="5995">
                  <c:v>15007</c:v>
                </c:pt>
                <c:pt idx="5996">
                  <c:v>14888</c:v>
                </c:pt>
                <c:pt idx="5997">
                  <c:v>15020</c:v>
                </c:pt>
                <c:pt idx="5998">
                  <c:v>15436</c:v>
                </c:pt>
                <c:pt idx="5999">
                  <c:v>14284</c:v>
                </c:pt>
                <c:pt idx="6000">
                  <c:v>13083</c:v>
                </c:pt>
                <c:pt idx="6001">
                  <c:v>12064</c:v>
                </c:pt>
                <c:pt idx="6002">
                  <c:v>11700</c:v>
                </c:pt>
                <c:pt idx="6003">
                  <c:v>11567</c:v>
                </c:pt>
                <c:pt idx="6004">
                  <c:v>11238</c:v>
                </c:pt>
                <c:pt idx="6005">
                  <c:v>11271</c:v>
                </c:pt>
                <c:pt idx="6006">
                  <c:v>11532</c:v>
                </c:pt>
                <c:pt idx="6007">
                  <c:v>12108</c:v>
                </c:pt>
                <c:pt idx="6008">
                  <c:v>13796</c:v>
                </c:pt>
                <c:pt idx="6009">
                  <c:v>15378</c:v>
                </c:pt>
                <c:pt idx="6010">
                  <c:v>15939</c:v>
                </c:pt>
                <c:pt idx="6011">
                  <c:v>15982</c:v>
                </c:pt>
                <c:pt idx="6012">
                  <c:v>15822</c:v>
                </c:pt>
                <c:pt idx="6013">
                  <c:v>15735</c:v>
                </c:pt>
                <c:pt idx="6014">
                  <c:v>15654</c:v>
                </c:pt>
                <c:pt idx="6015">
                  <c:v>15569</c:v>
                </c:pt>
                <c:pt idx="6016">
                  <c:v>15544</c:v>
                </c:pt>
                <c:pt idx="6017">
                  <c:v>15465</c:v>
                </c:pt>
                <c:pt idx="6018">
                  <c:v>15275</c:v>
                </c:pt>
                <c:pt idx="6019">
                  <c:v>15381</c:v>
                </c:pt>
                <c:pt idx="6020">
                  <c:v>15430</c:v>
                </c:pt>
                <c:pt idx="6021">
                  <c:v>15434</c:v>
                </c:pt>
                <c:pt idx="6022">
                  <c:v>15700</c:v>
                </c:pt>
                <c:pt idx="6023">
                  <c:v>15051</c:v>
                </c:pt>
                <c:pt idx="6024">
                  <c:v>13960</c:v>
                </c:pt>
                <c:pt idx="6025">
                  <c:v>13182</c:v>
                </c:pt>
                <c:pt idx="6026">
                  <c:v>12321</c:v>
                </c:pt>
                <c:pt idx="6027">
                  <c:v>12119</c:v>
                </c:pt>
                <c:pt idx="6028">
                  <c:v>12108</c:v>
                </c:pt>
                <c:pt idx="6029">
                  <c:v>12092</c:v>
                </c:pt>
                <c:pt idx="6030">
                  <c:v>12292</c:v>
                </c:pt>
                <c:pt idx="6031">
                  <c:v>13060</c:v>
                </c:pt>
                <c:pt idx="6032">
                  <c:v>14525</c:v>
                </c:pt>
                <c:pt idx="6033">
                  <c:v>16125</c:v>
                </c:pt>
                <c:pt idx="6034">
                  <c:v>16404</c:v>
                </c:pt>
                <c:pt idx="6035">
                  <c:v>16396</c:v>
                </c:pt>
                <c:pt idx="6036">
                  <c:v>16343</c:v>
                </c:pt>
                <c:pt idx="6037">
                  <c:v>16112</c:v>
                </c:pt>
                <c:pt idx="6038">
                  <c:v>15843</c:v>
                </c:pt>
                <c:pt idx="6039">
                  <c:v>15679</c:v>
                </c:pt>
                <c:pt idx="6040">
                  <c:v>15517</c:v>
                </c:pt>
                <c:pt idx="6041">
                  <c:v>15498</c:v>
                </c:pt>
                <c:pt idx="6042">
                  <c:v>15412</c:v>
                </c:pt>
                <c:pt idx="6043">
                  <c:v>14986</c:v>
                </c:pt>
                <c:pt idx="6044">
                  <c:v>14947</c:v>
                </c:pt>
                <c:pt idx="6045">
                  <c:v>15103</c:v>
                </c:pt>
                <c:pt idx="6046">
                  <c:v>15277</c:v>
                </c:pt>
                <c:pt idx="6047">
                  <c:v>14391</c:v>
                </c:pt>
                <c:pt idx="6048">
                  <c:v>13448</c:v>
                </c:pt>
                <c:pt idx="6049">
                  <c:v>12701</c:v>
                </c:pt>
                <c:pt idx="6050">
                  <c:v>12301</c:v>
                </c:pt>
                <c:pt idx="6051">
                  <c:v>12115</c:v>
                </c:pt>
                <c:pt idx="6052">
                  <c:v>12096</c:v>
                </c:pt>
                <c:pt idx="6053">
                  <c:v>12078</c:v>
                </c:pt>
                <c:pt idx="6054">
                  <c:v>12179</c:v>
                </c:pt>
                <c:pt idx="6055">
                  <c:v>12946</c:v>
                </c:pt>
                <c:pt idx="6056">
                  <c:v>14408</c:v>
                </c:pt>
                <c:pt idx="6057">
                  <c:v>15915</c:v>
                </c:pt>
                <c:pt idx="6058">
                  <c:v>15920</c:v>
                </c:pt>
                <c:pt idx="6059">
                  <c:v>15882</c:v>
                </c:pt>
                <c:pt idx="6060">
                  <c:v>15911</c:v>
                </c:pt>
                <c:pt idx="6061">
                  <c:v>15826</c:v>
                </c:pt>
                <c:pt idx="6062">
                  <c:v>15612</c:v>
                </c:pt>
                <c:pt idx="6063">
                  <c:v>15468</c:v>
                </c:pt>
                <c:pt idx="6064">
                  <c:v>15342</c:v>
                </c:pt>
                <c:pt idx="6065">
                  <c:v>15511</c:v>
                </c:pt>
                <c:pt idx="6066">
                  <c:v>15140</c:v>
                </c:pt>
                <c:pt idx="6067">
                  <c:v>15266</c:v>
                </c:pt>
                <c:pt idx="6068">
                  <c:v>15130</c:v>
                </c:pt>
                <c:pt idx="6069">
                  <c:v>15198</c:v>
                </c:pt>
                <c:pt idx="6070">
                  <c:v>15353</c:v>
                </c:pt>
                <c:pt idx="6071">
                  <c:v>14527</c:v>
                </c:pt>
                <c:pt idx="6072">
                  <c:v>13355</c:v>
                </c:pt>
                <c:pt idx="6073">
                  <c:v>12462</c:v>
                </c:pt>
                <c:pt idx="6074">
                  <c:v>12091</c:v>
                </c:pt>
                <c:pt idx="6075">
                  <c:v>11670</c:v>
                </c:pt>
                <c:pt idx="6076">
                  <c:v>11662</c:v>
                </c:pt>
                <c:pt idx="6077">
                  <c:v>11709</c:v>
                </c:pt>
                <c:pt idx="6078">
                  <c:v>11956</c:v>
                </c:pt>
                <c:pt idx="6079">
                  <c:v>12676</c:v>
                </c:pt>
                <c:pt idx="6080">
                  <c:v>14051</c:v>
                </c:pt>
                <c:pt idx="6081">
                  <c:v>15558</c:v>
                </c:pt>
                <c:pt idx="6082">
                  <c:v>16137</c:v>
                </c:pt>
                <c:pt idx="6083">
                  <c:v>16013</c:v>
                </c:pt>
                <c:pt idx="6084">
                  <c:v>15896</c:v>
                </c:pt>
                <c:pt idx="6085">
                  <c:v>15483</c:v>
                </c:pt>
                <c:pt idx="6086">
                  <c:v>15093</c:v>
                </c:pt>
                <c:pt idx="6087">
                  <c:v>14698</c:v>
                </c:pt>
                <c:pt idx="6088">
                  <c:v>14372</c:v>
                </c:pt>
                <c:pt idx="6089">
                  <c:v>14193</c:v>
                </c:pt>
                <c:pt idx="6090">
                  <c:v>14169</c:v>
                </c:pt>
                <c:pt idx="6091">
                  <c:v>14091</c:v>
                </c:pt>
                <c:pt idx="6092">
                  <c:v>14118</c:v>
                </c:pt>
                <c:pt idx="6093">
                  <c:v>14111</c:v>
                </c:pt>
                <c:pt idx="6094">
                  <c:v>13799</c:v>
                </c:pt>
                <c:pt idx="6095">
                  <c:v>13015</c:v>
                </c:pt>
                <c:pt idx="6096">
                  <c:v>12294</c:v>
                </c:pt>
                <c:pt idx="6097">
                  <c:v>11724</c:v>
                </c:pt>
                <c:pt idx="6098">
                  <c:v>11299</c:v>
                </c:pt>
                <c:pt idx="6099">
                  <c:v>10913</c:v>
                </c:pt>
                <c:pt idx="6100">
                  <c:v>10751</c:v>
                </c:pt>
                <c:pt idx="6101">
                  <c:v>10675</c:v>
                </c:pt>
                <c:pt idx="6102">
                  <c:v>10734</c:v>
                </c:pt>
                <c:pt idx="6103">
                  <c:v>10854</c:v>
                </c:pt>
                <c:pt idx="6104">
                  <c:v>10950</c:v>
                </c:pt>
                <c:pt idx="6105">
                  <c:v>11440</c:v>
                </c:pt>
                <c:pt idx="6106">
                  <c:v>12198</c:v>
                </c:pt>
                <c:pt idx="6107">
                  <c:v>12859</c:v>
                </c:pt>
                <c:pt idx="6108">
                  <c:v>13177</c:v>
                </c:pt>
                <c:pt idx="6109">
                  <c:v>13262</c:v>
                </c:pt>
                <c:pt idx="6110">
                  <c:v>13189</c:v>
                </c:pt>
                <c:pt idx="6111">
                  <c:v>13102</c:v>
                </c:pt>
                <c:pt idx="6112">
                  <c:v>12864</c:v>
                </c:pt>
                <c:pt idx="6113">
                  <c:v>12973</c:v>
                </c:pt>
                <c:pt idx="6114">
                  <c:v>12824</c:v>
                </c:pt>
                <c:pt idx="6115">
                  <c:v>13018</c:v>
                </c:pt>
                <c:pt idx="6116">
                  <c:v>13147</c:v>
                </c:pt>
                <c:pt idx="6117">
                  <c:v>13188</c:v>
                </c:pt>
                <c:pt idx="6118">
                  <c:v>13102</c:v>
                </c:pt>
                <c:pt idx="6119">
                  <c:v>12456</c:v>
                </c:pt>
                <c:pt idx="6120">
                  <c:v>11813</c:v>
                </c:pt>
                <c:pt idx="6121">
                  <c:v>11284</c:v>
                </c:pt>
                <c:pt idx="6122">
                  <c:v>11011</c:v>
                </c:pt>
                <c:pt idx="6123">
                  <c:v>10711</c:v>
                </c:pt>
                <c:pt idx="6124">
                  <c:v>10623</c:v>
                </c:pt>
                <c:pt idx="6125">
                  <c:v>10562</c:v>
                </c:pt>
                <c:pt idx="6126">
                  <c:v>10540</c:v>
                </c:pt>
                <c:pt idx="6127">
                  <c:v>10742</c:v>
                </c:pt>
                <c:pt idx="6128">
                  <c:v>10807</c:v>
                </c:pt>
                <c:pt idx="6129">
                  <c:v>10997</c:v>
                </c:pt>
                <c:pt idx="6130">
                  <c:v>11650</c:v>
                </c:pt>
                <c:pt idx="6131">
                  <c:v>12236</c:v>
                </c:pt>
                <c:pt idx="6132">
                  <c:v>12620</c:v>
                </c:pt>
                <c:pt idx="6133">
                  <c:v>13103</c:v>
                </c:pt>
                <c:pt idx="6134">
                  <c:v>13157</c:v>
                </c:pt>
                <c:pt idx="6135">
                  <c:v>13211</c:v>
                </c:pt>
                <c:pt idx="6136">
                  <c:v>13072</c:v>
                </c:pt>
                <c:pt idx="6137">
                  <c:v>13081</c:v>
                </c:pt>
                <c:pt idx="6138">
                  <c:v>13340</c:v>
                </c:pt>
                <c:pt idx="6139">
                  <c:v>13666</c:v>
                </c:pt>
                <c:pt idx="6140">
                  <c:v>13760</c:v>
                </c:pt>
                <c:pt idx="6141">
                  <c:v>14093</c:v>
                </c:pt>
                <c:pt idx="6142">
                  <c:v>14000</c:v>
                </c:pt>
                <c:pt idx="6143">
                  <c:v>13179</c:v>
                </c:pt>
                <c:pt idx="6144">
                  <c:v>12281</c:v>
                </c:pt>
                <c:pt idx="6145">
                  <c:v>11457</c:v>
                </c:pt>
                <c:pt idx="6146">
                  <c:v>11178</c:v>
                </c:pt>
                <c:pt idx="6147">
                  <c:v>10950</c:v>
                </c:pt>
                <c:pt idx="6148">
                  <c:v>10973</c:v>
                </c:pt>
                <c:pt idx="6149">
                  <c:v>11042</c:v>
                </c:pt>
                <c:pt idx="6150">
                  <c:v>11275</c:v>
                </c:pt>
                <c:pt idx="6151">
                  <c:v>11932</c:v>
                </c:pt>
                <c:pt idx="6152">
                  <c:v>13467</c:v>
                </c:pt>
                <c:pt idx="6153">
                  <c:v>14752</c:v>
                </c:pt>
                <c:pt idx="6154">
                  <c:v>15360</c:v>
                </c:pt>
                <c:pt idx="6155">
                  <c:v>15327</c:v>
                </c:pt>
                <c:pt idx="6156">
                  <c:v>15418</c:v>
                </c:pt>
                <c:pt idx="6157">
                  <c:v>15268</c:v>
                </c:pt>
                <c:pt idx="6158">
                  <c:v>15331</c:v>
                </c:pt>
                <c:pt idx="6159">
                  <c:v>15338</c:v>
                </c:pt>
                <c:pt idx="6160">
                  <c:v>15371</c:v>
                </c:pt>
                <c:pt idx="6161">
                  <c:v>15237</c:v>
                </c:pt>
                <c:pt idx="6162">
                  <c:v>14887</c:v>
                </c:pt>
                <c:pt idx="6163">
                  <c:v>14923</c:v>
                </c:pt>
                <c:pt idx="6164">
                  <c:v>14617</c:v>
                </c:pt>
                <c:pt idx="6165">
                  <c:v>15158</c:v>
                </c:pt>
                <c:pt idx="6166">
                  <c:v>14915</c:v>
                </c:pt>
                <c:pt idx="6167">
                  <c:v>13794</c:v>
                </c:pt>
                <c:pt idx="6168">
                  <c:v>12831</c:v>
                </c:pt>
                <c:pt idx="6169">
                  <c:v>11885</c:v>
                </c:pt>
                <c:pt idx="6170">
                  <c:v>11105</c:v>
                </c:pt>
                <c:pt idx="6171">
                  <c:v>10929</c:v>
                </c:pt>
                <c:pt idx="6172">
                  <c:v>11163</c:v>
                </c:pt>
                <c:pt idx="6173">
                  <c:v>11099</c:v>
                </c:pt>
                <c:pt idx="6174">
                  <c:v>11319</c:v>
                </c:pt>
                <c:pt idx="6175">
                  <c:v>11920</c:v>
                </c:pt>
                <c:pt idx="6176">
                  <c:v>13529</c:v>
                </c:pt>
                <c:pt idx="6177">
                  <c:v>14991</c:v>
                </c:pt>
                <c:pt idx="6178">
                  <c:v>15763</c:v>
                </c:pt>
                <c:pt idx="6179">
                  <c:v>15679</c:v>
                </c:pt>
                <c:pt idx="6180">
                  <c:v>15575</c:v>
                </c:pt>
                <c:pt idx="6181">
                  <c:v>15319</c:v>
                </c:pt>
                <c:pt idx="6182">
                  <c:v>15223</c:v>
                </c:pt>
                <c:pt idx="6183">
                  <c:v>15235</c:v>
                </c:pt>
                <c:pt idx="6184">
                  <c:v>14731</c:v>
                </c:pt>
                <c:pt idx="6185">
                  <c:v>14830</c:v>
                </c:pt>
                <c:pt idx="6186">
                  <c:v>14498</c:v>
                </c:pt>
                <c:pt idx="6187">
                  <c:v>14825</c:v>
                </c:pt>
                <c:pt idx="6188">
                  <c:v>14779</c:v>
                </c:pt>
                <c:pt idx="6189">
                  <c:v>15080</c:v>
                </c:pt>
                <c:pt idx="6190">
                  <c:v>15300</c:v>
                </c:pt>
                <c:pt idx="6191">
                  <c:v>14270</c:v>
                </c:pt>
                <c:pt idx="6192">
                  <c:v>13198</c:v>
                </c:pt>
                <c:pt idx="6193">
                  <c:v>12083</c:v>
                </c:pt>
                <c:pt idx="6194">
                  <c:v>11607</c:v>
                </c:pt>
                <c:pt idx="6195">
                  <c:v>11278</c:v>
                </c:pt>
                <c:pt idx="6196">
                  <c:v>11214</c:v>
                </c:pt>
                <c:pt idx="6197">
                  <c:v>11158</c:v>
                </c:pt>
                <c:pt idx="6198">
                  <c:v>11271</c:v>
                </c:pt>
                <c:pt idx="6199">
                  <c:v>11841</c:v>
                </c:pt>
                <c:pt idx="6200">
                  <c:v>13515</c:v>
                </c:pt>
                <c:pt idx="6201">
                  <c:v>15151</c:v>
                </c:pt>
                <c:pt idx="6202">
                  <c:v>15825</c:v>
                </c:pt>
                <c:pt idx="6203">
                  <c:v>15660</c:v>
                </c:pt>
                <c:pt idx="6204">
                  <c:v>15811</c:v>
                </c:pt>
                <c:pt idx="6205">
                  <c:v>16085</c:v>
                </c:pt>
                <c:pt idx="6206">
                  <c:v>15709</c:v>
                </c:pt>
                <c:pt idx="6207">
                  <c:v>15527</c:v>
                </c:pt>
                <c:pt idx="6208">
                  <c:v>15612</c:v>
                </c:pt>
                <c:pt idx="6209">
                  <c:v>15502</c:v>
                </c:pt>
                <c:pt idx="6210">
                  <c:v>15149</c:v>
                </c:pt>
                <c:pt idx="6211">
                  <c:v>15256</c:v>
                </c:pt>
                <c:pt idx="6212">
                  <c:v>14866</c:v>
                </c:pt>
                <c:pt idx="6213">
                  <c:v>15211</c:v>
                </c:pt>
                <c:pt idx="6214">
                  <c:v>14856</c:v>
                </c:pt>
                <c:pt idx="6215">
                  <c:v>14050</c:v>
                </c:pt>
                <c:pt idx="6216">
                  <c:v>13187</c:v>
                </c:pt>
                <c:pt idx="6217">
                  <c:v>11975</c:v>
                </c:pt>
                <c:pt idx="6218">
                  <c:v>11570</c:v>
                </c:pt>
                <c:pt idx="6219">
                  <c:v>11218</c:v>
                </c:pt>
                <c:pt idx="6220">
                  <c:v>11111</c:v>
                </c:pt>
                <c:pt idx="6221">
                  <c:v>11155</c:v>
                </c:pt>
                <c:pt idx="6222">
                  <c:v>11236</c:v>
                </c:pt>
                <c:pt idx="6223">
                  <c:v>11582</c:v>
                </c:pt>
                <c:pt idx="6224">
                  <c:v>13212</c:v>
                </c:pt>
                <c:pt idx="6225">
                  <c:v>14721</c:v>
                </c:pt>
                <c:pt idx="6226">
                  <c:v>14984</c:v>
                </c:pt>
                <c:pt idx="6227">
                  <c:v>15237</c:v>
                </c:pt>
                <c:pt idx="6228">
                  <c:v>15361</c:v>
                </c:pt>
                <c:pt idx="6229">
                  <c:v>15336</c:v>
                </c:pt>
                <c:pt idx="6230">
                  <c:v>15104</c:v>
                </c:pt>
                <c:pt idx="6231">
                  <c:v>14875</c:v>
                </c:pt>
                <c:pt idx="6232">
                  <c:v>14764</c:v>
                </c:pt>
                <c:pt idx="6233">
                  <c:v>14764</c:v>
                </c:pt>
                <c:pt idx="6234">
                  <c:v>14746</c:v>
                </c:pt>
                <c:pt idx="6235">
                  <c:v>14785</c:v>
                </c:pt>
                <c:pt idx="6236">
                  <c:v>14514</c:v>
                </c:pt>
                <c:pt idx="6237">
                  <c:v>14761</c:v>
                </c:pt>
                <c:pt idx="6238">
                  <c:v>14310</c:v>
                </c:pt>
                <c:pt idx="6239">
                  <c:v>13529</c:v>
                </c:pt>
                <c:pt idx="6240">
                  <c:v>12133</c:v>
                </c:pt>
                <c:pt idx="6241">
                  <c:v>11330</c:v>
                </c:pt>
                <c:pt idx="6242">
                  <c:v>10754</c:v>
                </c:pt>
                <c:pt idx="6243">
                  <c:v>10533</c:v>
                </c:pt>
                <c:pt idx="6244">
                  <c:v>10613</c:v>
                </c:pt>
                <c:pt idx="6245">
                  <c:v>10517</c:v>
                </c:pt>
                <c:pt idx="6246">
                  <c:v>10489</c:v>
                </c:pt>
                <c:pt idx="6247">
                  <c:v>11336</c:v>
                </c:pt>
                <c:pt idx="6248">
                  <c:v>12723</c:v>
                </c:pt>
                <c:pt idx="6249">
                  <c:v>14195</c:v>
                </c:pt>
                <c:pt idx="6250">
                  <c:v>14653</c:v>
                </c:pt>
                <c:pt idx="6251">
                  <c:v>15048</c:v>
                </c:pt>
                <c:pt idx="6252">
                  <c:v>15311</c:v>
                </c:pt>
                <c:pt idx="6253">
                  <c:v>14884</c:v>
                </c:pt>
                <c:pt idx="6254">
                  <c:v>14900</c:v>
                </c:pt>
                <c:pt idx="6255">
                  <c:v>14579</c:v>
                </c:pt>
                <c:pt idx="6256">
                  <c:v>14340</c:v>
                </c:pt>
                <c:pt idx="6257">
                  <c:v>14143</c:v>
                </c:pt>
                <c:pt idx="6258">
                  <c:v>13882</c:v>
                </c:pt>
                <c:pt idx="6259">
                  <c:v>13673</c:v>
                </c:pt>
                <c:pt idx="6260">
                  <c:v>13859</c:v>
                </c:pt>
                <c:pt idx="6261">
                  <c:v>13802</c:v>
                </c:pt>
                <c:pt idx="6262">
                  <c:v>13341</c:v>
                </c:pt>
                <c:pt idx="6263">
                  <c:v>12680</c:v>
                </c:pt>
                <c:pt idx="6264">
                  <c:v>11946</c:v>
                </c:pt>
                <c:pt idx="6265">
                  <c:v>11098</c:v>
                </c:pt>
                <c:pt idx="6266">
                  <c:v>11219</c:v>
                </c:pt>
                <c:pt idx="6267">
                  <c:v>10896</c:v>
                </c:pt>
                <c:pt idx="6268">
                  <c:v>10716</c:v>
                </c:pt>
                <c:pt idx="6269">
                  <c:v>10608</c:v>
                </c:pt>
                <c:pt idx="6270">
                  <c:v>10663</c:v>
                </c:pt>
                <c:pt idx="6271">
                  <c:v>10821</c:v>
                </c:pt>
                <c:pt idx="6272">
                  <c:v>11016</c:v>
                </c:pt>
                <c:pt idx="6273">
                  <c:v>11251</c:v>
                </c:pt>
                <c:pt idx="6274">
                  <c:v>12105</c:v>
                </c:pt>
                <c:pt idx="6275">
                  <c:v>13037</c:v>
                </c:pt>
                <c:pt idx="6276">
                  <c:v>13380</c:v>
                </c:pt>
                <c:pt idx="6277">
                  <c:v>12985</c:v>
                </c:pt>
                <c:pt idx="6278">
                  <c:v>12808</c:v>
                </c:pt>
                <c:pt idx="6279">
                  <c:v>12926</c:v>
                </c:pt>
                <c:pt idx="6280">
                  <c:v>12430</c:v>
                </c:pt>
                <c:pt idx="6281">
                  <c:v>12272</c:v>
                </c:pt>
                <c:pt idx="6282">
                  <c:v>12461</c:v>
                </c:pt>
                <c:pt idx="6283">
                  <c:v>12881</c:v>
                </c:pt>
                <c:pt idx="6284">
                  <c:v>12841</c:v>
                </c:pt>
                <c:pt idx="6285">
                  <c:v>13150</c:v>
                </c:pt>
                <c:pt idx="6286">
                  <c:v>13147</c:v>
                </c:pt>
                <c:pt idx="6287">
                  <c:v>12549</c:v>
                </c:pt>
                <c:pt idx="6288">
                  <c:v>11826</c:v>
                </c:pt>
                <c:pt idx="6289">
                  <c:v>11380</c:v>
                </c:pt>
                <c:pt idx="6290">
                  <c:v>10912</c:v>
                </c:pt>
                <c:pt idx="6291">
                  <c:v>10519</c:v>
                </c:pt>
                <c:pt idx="6292">
                  <c:v>10447</c:v>
                </c:pt>
                <c:pt idx="6293">
                  <c:v>10467</c:v>
                </c:pt>
                <c:pt idx="6294">
                  <c:v>10444</c:v>
                </c:pt>
                <c:pt idx="6295">
                  <c:v>10640</c:v>
                </c:pt>
                <c:pt idx="6296">
                  <c:v>10763</c:v>
                </c:pt>
                <c:pt idx="6297">
                  <c:v>11118</c:v>
                </c:pt>
                <c:pt idx="6298">
                  <c:v>11888</c:v>
                </c:pt>
                <c:pt idx="6299">
                  <c:v>12425</c:v>
                </c:pt>
                <c:pt idx="6300">
                  <c:v>12931</c:v>
                </c:pt>
                <c:pt idx="6301">
                  <c:v>13260</c:v>
                </c:pt>
                <c:pt idx="6302">
                  <c:v>13236</c:v>
                </c:pt>
                <c:pt idx="6303">
                  <c:v>13120</c:v>
                </c:pt>
                <c:pt idx="6304">
                  <c:v>12973</c:v>
                </c:pt>
                <c:pt idx="6305">
                  <c:v>12715</c:v>
                </c:pt>
                <c:pt idx="6306">
                  <c:v>12903</c:v>
                </c:pt>
                <c:pt idx="6307">
                  <c:v>13348</c:v>
                </c:pt>
                <c:pt idx="6308">
                  <c:v>13663</c:v>
                </c:pt>
                <c:pt idx="6309">
                  <c:v>14051</c:v>
                </c:pt>
                <c:pt idx="6310">
                  <c:v>14021</c:v>
                </c:pt>
                <c:pt idx="6311">
                  <c:v>13075</c:v>
                </c:pt>
                <c:pt idx="6312">
                  <c:v>12245</c:v>
                </c:pt>
                <c:pt idx="6313">
                  <c:v>11660</c:v>
                </c:pt>
                <c:pt idx="6314">
                  <c:v>11169</c:v>
                </c:pt>
                <c:pt idx="6315">
                  <c:v>10948</c:v>
                </c:pt>
                <c:pt idx="6316">
                  <c:v>10957</c:v>
                </c:pt>
                <c:pt idx="6317">
                  <c:v>11026</c:v>
                </c:pt>
                <c:pt idx="6318">
                  <c:v>11240</c:v>
                </c:pt>
                <c:pt idx="6319">
                  <c:v>11808</c:v>
                </c:pt>
                <c:pt idx="6320">
                  <c:v>13782</c:v>
                </c:pt>
                <c:pt idx="6321">
                  <c:v>15062</c:v>
                </c:pt>
                <c:pt idx="6322">
                  <c:v>15942</c:v>
                </c:pt>
                <c:pt idx="6323">
                  <c:v>16051</c:v>
                </c:pt>
                <c:pt idx="6324">
                  <c:v>15911</c:v>
                </c:pt>
                <c:pt idx="6325">
                  <c:v>15870</c:v>
                </c:pt>
                <c:pt idx="6326">
                  <c:v>15627</c:v>
                </c:pt>
                <c:pt idx="6327">
                  <c:v>15595</c:v>
                </c:pt>
                <c:pt idx="6328">
                  <c:v>15535</c:v>
                </c:pt>
                <c:pt idx="6329">
                  <c:v>15584</c:v>
                </c:pt>
                <c:pt idx="6330">
                  <c:v>15346</c:v>
                </c:pt>
                <c:pt idx="6331">
                  <c:v>15495</c:v>
                </c:pt>
                <c:pt idx="6332">
                  <c:v>15614</c:v>
                </c:pt>
                <c:pt idx="6333">
                  <c:v>15859</c:v>
                </c:pt>
                <c:pt idx="6334">
                  <c:v>15599</c:v>
                </c:pt>
                <c:pt idx="6335">
                  <c:v>14621</c:v>
                </c:pt>
                <c:pt idx="6336">
                  <c:v>13646</c:v>
                </c:pt>
                <c:pt idx="6337">
                  <c:v>12282</c:v>
                </c:pt>
                <c:pt idx="6338">
                  <c:v>11743</c:v>
                </c:pt>
                <c:pt idx="6339">
                  <c:v>11570</c:v>
                </c:pt>
                <c:pt idx="6340">
                  <c:v>11674</c:v>
                </c:pt>
                <c:pt idx="6341">
                  <c:v>11747</c:v>
                </c:pt>
                <c:pt idx="6342">
                  <c:v>11573</c:v>
                </c:pt>
                <c:pt idx="6343">
                  <c:v>12054</c:v>
                </c:pt>
                <c:pt idx="6344">
                  <c:v>14020</c:v>
                </c:pt>
                <c:pt idx="6345">
                  <c:v>15253</c:v>
                </c:pt>
                <c:pt idx="6346">
                  <c:v>15900</c:v>
                </c:pt>
                <c:pt idx="6347">
                  <c:v>15903</c:v>
                </c:pt>
                <c:pt idx="6348">
                  <c:v>16037</c:v>
                </c:pt>
                <c:pt idx="6349">
                  <c:v>16070</c:v>
                </c:pt>
                <c:pt idx="6350">
                  <c:v>15901</c:v>
                </c:pt>
                <c:pt idx="6351">
                  <c:v>15870</c:v>
                </c:pt>
                <c:pt idx="6352">
                  <c:v>15768</c:v>
                </c:pt>
                <c:pt idx="6353">
                  <c:v>15717</c:v>
                </c:pt>
                <c:pt idx="6354">
                  <c:v>15411</c:v>
                </c:pt>
                <c:pt idx="6355">
                  <c:v>15706</c:v>
                </c:pt>
                <c:pt idx="6356">
                  <c:v>15751</c:v>
                </c:pt>
                <c:pt idx="6357">
                  <c:v>15975</c:v>
                </c:pt>
                <c:pt idx="6358">
                  <c:v>15577</c:v>
                </c:pt>
                <c:pt idx="6359">
                  <c:v>14454</c:v>
                </c:pt>
                <c:pt idx="6360">
                  <c:v>13410</c:v>
                </c:pt>
                <c:pt idx="6361">
                  <c:v>12527</c:v>
                </c:pt>
                <c:pt idx="6362">
                  <c:v>11729</c:v>
                </c:pt>
                <c:pt idx="6363">
                  <c:v>11438</c:v>
                </c:pt>
                <c:pt idx="6364">
                  <c:v>11437</c:v>
                </c:pt>
                <c:pt idx="6365">
                  <c:v>11408</c:v>
                </c:pt>
                <c:pt idx="6366">
                  <c:v>11389</c:v>
                </c:pt>
                <c:pt idx="6367">
                  <c:v>11991</c:v>
                </c:pt>
                <c:pt idx="6368">
                  <c:v>13900</c:v>
                </c:pt>
                <c:pt idx="6369">
                  <c:v>15416</c:v>
                </c:pt>
                <c:pt idx="6370">
                  <c:v>15943</c:v>
                </c:pt>
                <c:pt idx="6371">
                  <c:v>16032</c:v>
                </c:pt>
                <c:pt idx="6372">
                  <c:v>16087</c:v>
                </c:pt>
                <c:pt idx="6373">
                  <c:v>16193</c:v>
                </c:pt>
                <c:pt idx="6374">
                  <c:v>16178</c:v>
                </c:pt>
                <c:pt idx="6375">
                  <c:v>15871</c:v>
                </c:pt>
                <c:pt idx="6376">
                  <c:v>15912</c:v>
                </c:pt>
                <c:pt idx="6377">
                  <c:v>15739</c:v>
                </c:pt>
                <c:pt idx="6378">
                  <c:v>15482</c:v>
                </c:pt>
                <c:pt idx="6379">
                  <c:v>15540</c:v>
                </c:pt>
                <c:pt idx="6380">
                  <c:v>15325</c:v>
                </c:pt>
                <c:pt idx="6381">
                  <c:v>15421</c:v>
                </c:pt>
                <c:pt idx="6382">
                  <c:v>15070</c:v>
                </c:pt>
                <c:pt idx="6383">
                  <c:v>14396</c:v>
                </c:pt>
                <c:pt idx="6384">
                  <c:v>13254</c:v>
                </c:pt>
                <c:pt idx="6385">
                  <c:v>12153</c:v>
                </c:pt>
                <c:pt idx="6386">
                  <c:v>11692</c:v>
                </c:pt>
                <c:pt idx="6387">
                  <c:v>11345</c:v>
                </c:pt>
                <c:pt idx="6388">
                  <c:v>11409</c:v>
                </c:pt>
                <c:pt idx="6389">
                  <c:v>11468</c:v>
                </c:pt>
                <c:pt idx="6390">
                  <c:v>11396</c:v>
                </c:pt>
                <c:pt idx="6391">
                  <c:v>12093</c:v>
                </c:pt>
                <c:pt idx="6392">
                  <c:v>13851</c:v>
                </c:pt>
                <c:pt idx="6393">
                  <c:v>15755</c:v>
                </c:pt>
                <c:pt idx="6394">
                  <c:v>16031</c:v>
                </c:pt>
                <c:pt idx="6395">
                  <c:v>15771</c:v>
                </c:pt>
                <c:pt idx="6396">
                  <c:v>15664</c:v>
                </c:pt>
                <c:pt idx="6397">
                  <c:v>15673</c:v>
                </c:pt>
                <c:pt idx="6398">
                  <c:v>15599</c:v>
                </c:pt>
                <c:pt idx="6399">
                  <c:v>15493</c:v>
                </c:pt>
                <c:pt idx="6400">
                  <c:v>15330</c:v>
                </c:pt>
                <c:pt idx="6401">
                  <c:v>15253</c:v>
                </c:pt>
                <c:pt idx="6402">
                  <c:v>15025</c:v>
                </c:pt>
                <c:pt idx="6403">
                  <c:v>15051</c:v>
                </c:pt>
                <c:pt idx="6404">
                  <c:v>15140</c:v>
                </c:pt>
                <c:pt idx="6405">
                  <c:v>15291</c:v>
                </c:pt>
                <c:pt idx="6406">
                  <c:v>15068</c:v>
                </c:pt>
                <c:pt idx="6407">
                  <c:v>14401</c:v>
                </c:pt>
                <c:pt idx="6408">
                  <c:v>13394</c:v>
                </c:pt>
                <c:pt idx="6409">
                  <c:v>12345</c:v>
                </c:pt>
                <c:pt idx="6410">
                  <c:v>11707</c:v>
                </c:pt>
                <c:pt idx="6411">
                  <c:v>11439</c:v>
                </c:pt>
                <c:pt idx="6412">
                  <c:v>11443</c:v>
                </c:pt>
                <c:pt idx="6413">
                  <c:v>11304</c:v>
                </c:pt>
                <c:pt idx="6414">
                  <c:v>11349</c:v>
                </c:pt>
                <c:pt idx="6415">
                  <c:v>12063</c:v>
                </c:pt>
                <c:pt idx="6416">
                  <c:v>13562</c:v>
                </c:pt>
                <c:pt idx="6417">
                  <c:v>14897</c:v>
                </c:pt>
                <c:pt idx="6418">
                  <c:v>15305</c:v>
                </c:pt>
                <c:pt idx="6419">
                  <c:v>15250</c:v>
                </c:pt>
                <c:pt idx="6420">
                  <c:v>15278</c:v>
                </c:pt>
                <c:pt idx="6421">
                  <c:v>15150</c:v>
                </c:pt>
                <c:pt idx="6422">
                  <c:v>14820</c:v>
                </c:pt>
                <c:pt idx="6423">
                  <c:v>14648</c:v>
                </c:pt>
                <c:pt idx="6424">
                  <c:v>14286</c:v>
                </c:pt>
                <c:pt idx="6425">
                  <c:v>14236</c:v>
                </c:pt>
                <c:pt idx="6426">
                  <c:v>14309</c:v>
                </c:pt>
                <c:pt idx="6427">
                  <c:v>14547</c:v>
                </c:pt>
                <c:pt idx="6428">
                  <c:v>14519</c:v>
                </c:pt>
                <c:pt idx="6429">
                  <c:v>14354</c:v>
                </c:pt>
                <c:pt idx="6430">
                  <c:v>13893</c:v>
                </c:pt>
                <c:pt idx="6431">
                  <c:v>13447</c:v>
                </c:pt>
                <c:pt idx="6432">
                  <c:v>12760</c:v>
                </c:pt>
                <c:pt idx="6433">
                  <c:v>11945</c:v>
                </c:pt>
                <c:pt idx="6434">
                  <c:v>11342</c:v>
                </c:pt>
                <c:pt idx="6435">
                  <c:v>11099</c:v>
                </c:pt>
                <c:pt idx="6436">
                  <c:v>11179</c:v>
                </c:pt>
                <c:pt idx="6437">
                  <c:v>10987</c:v>
                </c:pt>
                <c:pt idx="6438">
                  <c:v>10987</c:v>
                </c:pt>
                <c:pt idx="6439">
                  <c:v>11170</c:v>
                </c:pt>
                <c:pt idx="6440">
                  <c:v>11549</c:v>
                </c:pt>
                <c:pt idx="6441">
                  <c:v>11778</c:v>
                </c:pt>
                <c:pt idx="6442">
                  <c:v>12756</c:v>
                </c:pt>
                <c:pt idx="6443">
                  <c:v>13600</c:v>
                </c:pt>
                <c:pt idx="6444">
                  <c:v>13582</c:v>
                </c:pt>
                <c:pt idx="6445">
                  <c:v>13372</c:v>
                </c:pt>
                <c:pt idx="6446">
                  <c:v>12917</c:v>
                </c:pt>
                <c:pt idx="6447">
                  <c:v>12977</c:v>
                </c:pt>
                <c:pt idx="6448">
                  <c:v>12832</c:v>
                </c:pt>
                <c:pt idx="6449">
                  <c:v>12827</c:v>
                </c:pt>
                <c:pt idx="6450">
                  <c:v>13026</c:v>
                </c:pt>
                <c:pt idx="6451">
                  <c:v>13479</c:v>
                </c:pt>
                <c:pt idx="6452">
                  <c:v>13699</c:v>
                </c:pt>
                <c:pt idx="6453">
                  <c:v>13901</c:v>
                </c:pt>
                <c:pt idx="6454">
                  <c:v>13459</c:v>
                </c:pt>
                <c:pt idx="6455">
                  <c:v>12901</c:v>
                </c:pt>
                <c:pt idx="6456">
                  <c:v>12458</c:v>
                </c:pt>
                <c:pt idx="6457">
                  <c:v>12038</c:v>
                </c:pt>
                <c:pt idx="6458">
                  <c:v>11556</c:v>
                </c:pt>
                <c:pt idx="6459">
                  <c:v>11305</c:v>
                </c:pt>
                <c:pt idx="6460">
                  <c:v>11290</c:v>
                </c:pt>
                <c:pt idx="6461">
                  <c:v>11317</c:v>
                </c:pt>
                <c:pt idx="6462">
                  <c:v>11383</c:v>
                </c:pt>
                <c:pt idx="6463">
                  <c:v>11675</c:v>
                </c:pt>
                <c:pt idx="6464">
                  <c:v>11878</c:v>
                </c:pt>
                <c:pt idx="6465">
                  <c:v>11915</c:v>
                </c:pt>
                <c:pt idx="6466">
                  <c:v>12609</c:v>
                </c:pt>
                <c:pt idx="6467">
                  <c:v>13104</c:v>
                </c:pt>
                <c:pt idx="6468">
                  <c:v>13511</c:v>
                </c:pt>
                <c:pt idx="6469">
                  <c:v>13453</c:v>
                </c:pt>
                <c:pt idx="6470">
                  <c:v>13168</c:v>
                </c:pt>
                <c:pt idx="6471">
                  <c:v>13178</c:v>
                </c:pt>
                <c:pt idx="6472">
                  <c:v>13069</c:v>
                </c:pt>
                <c:pt idx="6473">
                  <c:v>13064</c:v>
                </c:pt>
                <c:pt idx="6474">
                  <c:v>13167</c:v>
                </c:pt>
                <c:pt idx="6475">
                  <c:v>13757</c:v>
                </c:pt>
                <c:pt idx="6476">
                  <c:v>14003</c:v>
                </c:pt>
                <c:pt idx="6477">
                  <c:v>14238</c:v>
                </c:pt>
                <c:pt idx="6478">
                  <c:v>14118</c:v>
                </c:pt>
                <c:pt idx="6479">
                  <c:v>13306</c:v>
                </c:pt>
                <c:pt idx="6480">
                  <c:v>12554</c:v>
                </c:pt>
                <c:pt idx="6481">
                  <c:v>11853</c:v>
                </c:pt>
                <c:pt idx="6482">
                  <c:v>11736</c:v>
                </c:pt>
                <c:pt idx="6483">
                  <c:v>11567</c:v>
                </c:pt>
                <c:pt idx="6484">
                  <c:v>11399</c:v>
                </c:pt>
                <c:pt idx="6485">
                  <c:v>11464</c:v>
                </c:pt>
                <c:pt idx="6486">
                  <c:v>11543</c:v>
                </c:pt>
                <c:pt idx="6487">
                  <c:v>12302</c:v>
                </c:pt>
                <c:pt idx="6488">
                  <c:v>14215</c:v>
                </c:pt>
                <c:pt idx="6489">
                  <c:v>15929</c:v>
                </c:pt>
                <c:pt idx="6490">
                  <c:v>16437</c:v>
                </c:pt>
                <c:pt idx="6491">
                  <c:v>16414</c:v>
                </c:pt>
                <c:pt idx="6492">
                  <c:v>16389</c:v>
                </c:pt>
                <c:pt idx="6493">
                  <c:v>16024</c:v>
                </c:pt>
                <c:pt idx="6494">
                  <c:v>15818</c:v>
                </c:pt>
                <c:pt idx="6495">
                  <c:v>15749</c:v>
                </c:pt>
                <c:pt idx="6496">
                  <c:v>15642</c:v>
                </c:pt>
                <c:pt idx="6497">
                  <c:v>15474</c:v>
                </c:pt>
                <c:pt idx="6498">
                  <c:v>15306</c:v>
                </c:pt>
                <c:pt idx="6499">
                  <c:v>15286</c:v>
                </c:pt>
                <c:pt idx="6500">
                  <c:v>15475</c:v>
                </c:pt>
                <c:pt idx="6501">
                  <c:v>16275</c:v>
                </c:pt>
                <c:pt idx="6502">
                  <c:v>15941</c:v>
                </c:pt>
                <c:pt idx="6503">
                  <c:v>15028</c:v>
                </c:pt>
                <c:pt idx="6504">
                  <c:v>13750</c:v>
                </c:pt>
                <c:pt idx="6505">
                  <c:v>12871</c:v>
                </c:pt>
                <c:pt idx="6506">
                  <c:v>12502</c:v>
                </c:pt>
                <c:pt idx="6507">
                  <c:v>12093</c:v>
                </c:pt>
                <c:pt idx="6508">
                  <c:v>11997</c:v>
                </c:pt>
                <c:pt idx="6509">
                  <c:v>11989</c:v>
                </c:pt>
                <c:pt idx="6510">
                  <c:v>12132</c:v>
                </c:pt>
                <c:pt idx="6511">
                  <c:v>12943</c:v>
                </c:pt>
                <c:pt idx="6512">
                  <c:v>15013</c:v>
                </c:pt>
                <c:pt idx="6513">
                  <c:v>16516</c:v>
                </c:pt>
                <c:pt idx="6514">
                  <c:v>16461</c:v>
                </c:pt>
                <c:pt idx="6515">
                  <c:v>16208</c:v>
                </c:pt>
                <c:pt idx="6516">
                  <c:v>16217</c:v>
                </c:pt>
                <c:pt idx="6517">
                  <c:v>15712</c:v>
                </c:pt>
                <c:pt idx="6518">
                  <c:v>15576</c:v>
                </c:pt>
                <c:pt idx="6519">
                  <c:v>15294</c:v>
                </c:pt>
                <c:pt idx="6520">
                  <c:v>15170</c:v>
                </c:pt>
                <c:pt idx="6521">
                  <c:v>15162</c:v>
                </c:pt>
                <c:pt idx="6522">
                  <c:v>14789</c:v>
                </c:pt>
                <c:pt idx="6523">
                  <c:v>14974</c:v>
                </c:pt>
                <c:pt idx="6524">
                  <c:v>15051</c:v>
                </c:pt>
                <c:pt idx="6525">
                  <c:v>15393</c:v>
                </c:pt>
                <c:pt idx="6526">
                  <c:v>15259</c:v>
                </c:pt>
                <c:pt idx="6527">
                  <c:v>14428</c:v>
                </c:pt>
                <c:pt idx="6528">
                  <c:v>13275</c:v>
                </c:pt>
                <c:pt idx="6529">
                  <c:v>12320</c:v>
                </c:pt>
                <c:pt idx="6530">
                  <c:v>11931</c:v>
                </c:pt>
                <c:pt idx="6531">
                  <c:v>11623</c:v>
                </c:pt>
                <c:pt idx="6532">
                  <c:v>11616</c:v>
                </c:pt>
                <c:pt idx="6533">
                  <c:v>11828</c:v>
                </c:pt>
                <c:pt idx="6534">
                  <c:v>11955</c:v>
                </c:pt>
                <c:pt idx="6535">
                  <c:v>12679</c:v>
                </c:pt>
                <c:pt idx="6536">
                  <c:v>14401</c:v>
                </c:pt>
                <c:pt idx="6537">
                  <c:v>15902</c:v>
                </c:pt>
                <c:pt idx="6538">
                  <c:v>16161</c:v>
                </c:pt>
                <c:pt idx="6539">
                  <c:v>16164</c:v>
                </c:pt>
                <c:pt idx="6540">
                  <c:v>15735</c:v>
                </c:pt>
                <c:pt idx="6541">
                  <c:v>15527</c:v>
                </c:pt>
                <c:pt idx="6542">
                  <c:v>15421</c:v>
                </c:pt>
                <c:pt idx="6543">
                  <c:v>15567</c:v>
                </c:pt>
                <c:pt idx="6544">
                  <c:v>15088</c:v>
                </c:pt>
                <c:pt idx="6545">
                  <c:v>15251</c:v>
                </c:pt>
                <c:pt idx="6546">
                  <c:v>15104</c:v>
                </c:pt>
                <c:pt idx="6547">
                  <c:v>15245</c:v>
                </c:pt>
                <c:pt idx="6548">
                  <c:v>15272</c:v>
                </c:pt>
                <c:pt idx="6549">
                  <c:v>15539</c:v>
                </c:pt>
                <c:pt idx="6550">
                  <c:v>15211</c:v>
                </c:pt>
                <c:pt idx="6551">
                  <c:v>14391</c:v>
                </c:pt>
                <c:pt idx="6552">
                  <c:v>13439</c:v>
                </c:pt>
                <c:pt idx="6553">
                  <c:v>12284</c:v>
                </c:pt>
                <c:pt idx="6554">
                  <c:v>10735</c:v>
                </c:pt>
                <c:pt idx="6555">
                  <c:v>11394</c:v>
                </c:pt>
                <c:pt idx="6556">
                  <c:v>11386</c:v>
                </c:pt>
                <c:pt idx="6557">
                  <c:v>11400</c:v>
                </c:pt>
                <c:pt idx="6558">
                  <c:v>11583</c:v>
                </c:pt>
                <c:pt idx="6559">
                  <c:v>12537</c:v>
                </c:pt>
                <c:pt idx="6560">
                  <c:v>13903</c:v>
                </c:pt>
                <c:pt idx="6561">
                  <c:v>15355</c:v>
                </c:pt>
                <c:pt idx="6562">
                  <c:v>15688</c:v>
                </c:pt>
                <c:pt idx="6563">
                  <c:v>15712</c:v>
                </c:pt>
                <c:pt idx="6564">
                  <c:v>15837</c:v>
                </c:pt>
                <c:pt idx="6565">
                  <c:v>15801</c:v>
                </c:pt>
                <c:pt idx="6566">
                  <c:v>15743</c:v>
                </c:pt>
                <c:pt idx="6567">
                  <c:v>15468</c:v>
                </c:pt>
                <c:pt idx="6568">
                  <c:v>15073</c:v>
                </c:pt>
                <c:pt idx="6569">
                  <c:v>15122</c:v>
                </c:pt>
                <c:pt idx="6570">
                  <c:v>14980</c:v>
                </c:pt>
                <c:pt idx="6571">
                  <c:v>15009</c:v>
                </c:pt>
                <c:pt idx="6572">
                  <c:v>15256</c:v>
                </c:pt>
                <c:pt idx="6573">
                  <c:v>15439</c:v>
                </c:pt>
                <c:pt idx="6574">
                  <c:v>15066</c:v>
                </c:pt>
                <c:pt idx="6575">
                  <c:v>14176</c:v>
                </c:pt>
                <c:pt idx="6576">
                  <c:v>13146</c:v>
                </c:pt>
                <c:pt idx="6577">
                  <c:v>12393</c:v>
                </c:pt>
                <c:pt idx="6578">
                  <c:v>11961</c:v>
                </c:pt>
                <c:pt idx="6579">
                  <c:v>11540</c:v>
                </c:pt>
                <c:pt idx="6580">
                  <c:v>11387</c:v>
                </c:pt>
                <c:pt idx="6581">
                  <c:v>11532</c:v>
                </c:pt>
                <c:pt idx="6582">
                  <c:v>11601</c:v>
                </c:pt>
                <c:pt idx="6583">
                  <c:v>12364</c:v>
                </c:pt>
                <c:pt idx="6584">
                  <c:v>14228</c:v>
                </c:pt>
                <c:pt idx="6585">
                  <c:v>15432</c:v>
                </c:pt>
                <c:pt idx="6586">
                  <c:v>16026</c:v>
                </c:pt>
                <c:pt idx="6587">
                  <c:v>16062</c:v>
                </c:pt>
                <c:pt idx="6588">
                  <c:v>16042</c:v>
                </c:pt>
                <c:pt idx="6589">
                  <c:v>15782</c:v>
                </c:pt>
                <c:pt idx="6590">
                  <c:v>15592</c:v>
                </c:pt>
                <c:pt idx="6591">
                  <c:v>15228</c:v>
                </c:pt>
                <c:pt idx="6592">
                  <c:v>15124</c:v>
                </c:pt>
                <c:pt idx="6593">
                  <c:v>14791</c:v>
                </c:pt>
                <c:pt idx="6594">
                  <c:v>14562</c:v>
                </c:pt>
                <c:pt idx="6595">
                  <c:v>14912</c:v>
                </c:pt>
                <c:pt idx="6596">
                  <c:v>15524</c:v>
                </c:pt>
                <c:pt idx="6597">
                  <c:v>15608</c:v>
                </c:pt>
                <c:pt idx="6598">
                  <c:v>14875</c:v>
                </c:pt>
                <c:pt idx="6599">
                  <c:v>14003</c:v>
                </c:pt>
                <c:pt idx="6600">
                  <c:v>13480</c:v>
                </c:pt>
                <c:pt idx="6601">
                  <c:v>12788</c:v>
                </c:pt>
                <c:pt idx="6602">
                  <c:v>11901</c:v>
                </c:pt>
                <c:pt idx="6603">
                  <c:v>11399</c:v>
                </c:pt>
                <c:pt idx="6604">
                  <c:v>11234</c:v>
                </c:pt>
                <c:pt idx="6605">
                  <c:v>11210</c:v>
                </c:pt>
                <c:pt idx="6606">
                  <c:v>11463</c:v>
                </c:pt>
                <c:pt idx="6607">
                  <c:v>11821</c:v>
                </c:pt>
                <c:pt idx="6608">
                  <c:v>12267</c:v>
                </c:pt>
                <c:pt idx="6609">
                  <c:v>12627</c:v>
                </c:pt>
                <c:pt idx="6610">
                  <c:v>13642</c:v>
                </c:pt>
                <c:pt idx="6611">
                  <c:v>14205</c:v>
                </c:pt>
                <c:pt idx="6612">
                  <c:v>14380</c:v>
                </c:pt>
                <c:pt idx="6613">
                  <c:v>14297</c:v>
                </c:pt>
                <c:pt idx="6614">
                  <c:v>14059</c:v>
                </c:pt>
                <c:pt idx="6615">
                  <c:v>13764</c:v>
                </c:pt>
                <c:pt idx="6616">
                  <c:v>13356</c:v>
                </c:pt>
                <c:pt idx="6617">
                  <c:v>13501</c:v>
                </c:pt>
                <c:pt idx="6618">
                  <c:v>13732</c:v>
                </c:pt>
                <c:pt idx="6619">
                  <c:v>14057</c:v>
                </c:pt>
                <c:pt idx="6620">
                  <c:v>14360</c:v>
                </c:pt>
                <c:pt idx="6621">
                  <c:v>14456</c:v>
                </c:pt>
                <c:pt idx="6622">
                  <c:v>13762</c:v>
                </c:pt>
                <c:pt idx="6623">
                  <c:v>13227</c:v>
                </c:pt>
                <c:pt idx="6624">
                  <c:v>12357</c:v>
                </c:pt>
                <c:pt idx="6625">
                  <c:v>12311</c:v>
                </c:pt>
                <c:pt idx="6626">
                  <c:v>11841</c:v>
                </c:pt>
                <c:pt idx="6627">
                  <c:v>11595</c:v>
                </c:pt>
                <c:pt idx="6628">
                  <c:v>11412</c:v>
                </c:pt>
                <c:pt idx="6629">
                  <c:v>11307</c:v>
                </c:pt>
                <c:pt idx="6630">
                  <c:v>11176</c:v>
                </c:pt>
                <c:pt idx="6631">
                  <c:v>11321</c:v>
                </c:pt>
                <c:pt idx="6632">
                  <c:v>11712</c:v>
                </c:pt>
                <c:pt idx="6633">
                  <c:v>12064</c:v>
                </c:pt>
                <c:pt idx="6634">
                  <c:v>12900</c:v>
                </c:pt>
                <c:pt idx="6635">
                  <c:v>13519</c:v>
                </c:pt>
                <c:pt idx="6636">
                  <c:v>13949</c:v>
                </c:pt>
                <c:pt idx="6637">
                  <c:v>13898</c:v>
                </c:pt>
                <c:pt idx="6638">
                  <c:v>13847</c:v>
                </c:pt>
                <c:pt idx="6639">
                  <c:v>13882</c:v>
                </c:pt>
                <c:pt idx="6640">
                  <c:v>13828</c:v>
                </c:pt>
                <c:pt idx="6641">
                  <c:v>13928</c:v>
                </c:pt>
                <c:pt idx="6642">
                  <c:v>13987</c:v>
                </c:pt>
                <c:pt idx="6643">
                  <c:v>14476</c:v>
                </c:pt>
                <c:pt idx="6644">
                  <c:v>15235</c:v>
                </c:pt>
                <c:pt idx="6645">
                  <c:v>15682</c:v>
                </c:pt>
                <c:pt idx="6646">
                  <c:v>15179</c:v>
                </c:pt>
                <c:pt idx="6647">
                  <c:v>14377</c:v>
                </c:pt>
                <c:pt idx="6648">
                  <c:v>13564</c:v>
                </c:pt>
                <c:pt idx="6649">
                  <c:v>12688</c:v>
                </c:pt>
                <c:pt idx="6650">
                  <c:v>12109</c:v>
                </c:pt>
                <c:pt idx="6651">
                  <c:v>11895</c:v>
                </c:pt>
                <c:pt idx="6652">
                  <c:v>11798</c:v>
                </c:pt>
                <c:pt idx="6653">
                  <c:v>11844</c:v>
                </c:pt>
                <c:pt idx="6654">
                  <c:v>12016</c:v>
                </c:pt>
                <c:pt idx="6655">
                  <c:v>13243</c:v>
                </c:pt>
                <c:pt idx="6656">
                  <c:v>15187</c:v>
                </c:pt>
                <c:pt idx="6657">
                  <c:v>16576</c:v>
                </c:pt>
                <c:pt idx="6658">
                  <c:v>17249</c:v>
                </c:pt>
                <c:pt idx="6659">
                  <c:v>17290</c:v>
                </c:pt>
                <c:pt idx="6660">
                  <c:v>17183</c:v>
                </c:pt>
                <c:pt idx="6661">
                  <c:v>16799</c:v>
                </c:pt>
                <c:pt idx="6662">
                  <c:v>16670</c:v>
                </c:pt>
                <c:pt idx="6663">
                  <c:v>16428</c:v>
                </c:pt>
                <c:pt idx="6664">
                  <c:v>16213</c:v>
                </c:pt>
                <c:pt idx="6665">
                  <c:v>16175</c:v>
                </c:pt>
                <c:pt idx="6666">
                  <c:v>16000</c:v>
                </c:pt>
                <c:pt idx="6667">
                  <c:v>16211</c:v>
                </c:pt>
                <c:pt idx="6668">
                  <c:v>16619</c:v>
                </c:pt>
                <c:pt idx="6669">
                  <c:v>17076</c:v>
                </c:pt>
                <c:pt idx="6670">
                  <c:v>16454</c:v>
                </c:pt>
                <c:pt idx="6671">
                  <c:v>15760</c:v>
                </c:pt>
                <c:pt idx="6672">
                  <c:v>14543</c:v>
                </c:pt>
                <c:pt idx="6673">
                  <c:v>13588</c:v>
                </c:pt>
                <c:pt idx="6674">
                  <c:v>12892</c:v>
                </c:pt>
                <c:pt idx="6675">
                  <c:v>12614</c:v>
                </c:pt>
                <c:pt idx="6676">
                  <c:v>12337</c:v>
                </c:pt>
                <c:pt idx="6677">
                  <c:v>12239</c:v>
                </c:pt>
                <c:pt idx="6678">
                  <c:v>12680</c:v>
                </c:pt>
                <c:pt idx="6679">
                  <c:v>13505</c:v>
                </c:pt>
                <c:pt idx="6680">
                  <c:v>15636</c:v>
                </c:pt>
                <c:pt idx="6681">
                  <c:v>16969</c:v>
                </c:pt>
                <c:pt idx="6682">
                  <c:v>17161</c:v>
                </c:pt>
                <c:pt idx="6683">
                  <c:v>17180</c:v>
                </c:pt>
                <c:pt idx="6684">
                  <c:v>17031</c:v>
                </c:pt>
                <c:pt idx="6685">
                  <c:v>16725</c:v>
                </c:pt>
                <c:pt idx="6686">
                  <c:v>16501</c:v>
                </c:pt>
                <c:pt idx="6687">
                  <c:v>16180</c:v>
                </c:pt>
                <c:pt idx="6688">
                  <c:v>16076</c:v>
                </c:pt>
                <c:pt idx="6689">
                  <c:v>16116</c:v>
                </c:pt>
                <c:pt idx="6690">
                  <c:v>16089</c:v>
                </c:pt>
                <c:pt idx="6691">
                  <c:v>16366</c:v>
                </c:pt>
                <c:pt idx="6692">
                  <c:v>16923</c:v>
                </c:pt>
                <c:pt idx="6693">
                  <c:v>17143</c:v>
                </c:pt>
                <c:pt idx="6694">
                  <c:v>16587</c:v>
                </c:pt>
                <c:pt idx="6695">
                  <c:v>15870</c:v>
                </c:pt>
                <c:pt idx="6696">
                  <c:v>14700</c:v>
                </c:pt>
                <c:pt idx="6697">
                  <c:v>13637</c:v>
                </c:pt>
                <c:pt idx="6698">
                  <c:v>13411</c:v>
                </c:pt>
                <c:pt idx="6699">
                  <c:v>13076</c:v>
                </c:pt>
                <c:pt idx="6700">
                  <c:v>12968</c:v>
                </c:pt>
                <c:pt idx="6701">
                  <c:v>12977</c:v>
                </c:pt>
                <c:pt idx="6702">
                  <c:v>13023</c:v>
                </c:pt>
                <c:pt idx="6703">
                  <c:v>13849</c:v>
                </c:pt>
                <c:pt idx="6704">
                  <c:v>15540</c:v>
                </c:pt>
                <c:pt idx="6705">
                  <c:v>17257</c:v>
                </c:pt>
                <c:pt idx="6706">
                  <c:v>17506</c:v>
                </c:pt>
                <c:pt idx="6707">
                  <c:v>17480</c:v>
                </c:pt>
                <c:pt idx="6708">
                  <c:v>17079</c:v>
                </c:pt>
                <c:pt idx="6709">
                  <c:v>17008</c:v>
                </c:pt>
                <c:pt idx="6710">
                  <c:v>16594</c:v>
                </c:pt>
                <c:pt idx="6711">
                  <c:v>16561</c:v>
                </c:pt>
                <c:pt idx="6712">
                  <c:v>16666</c:v>
                </c:pt>
                <c:pt idx="6713">
                  <c:v>16786</c:v>
                </c:pt>
                <c:pt idx="6714">
                  <c:v>16641</c:v>
                </c:pt>
                <c:pt idx="6715">
                  <c:v>17123</c:v>
                </c:pt>
                <c:pt idx="6716">
                  <c:v>17491</c:v>
                </c:pt>
                <c:pt idx="6717">
                  <c:v>17442</c:v>
                </c:pt>
                <c:pt idx="6718">
                  <c:v>16924</c:v>
                </c:pt>
                <c:pt idx="6719">
                  <c:v>16115</c:v>
                </c:pt>
                <c:pt idx="6720">
                  <c:v>15051</c:v>
                </c:pt>
                <c:pt idx="6721">
                  <c:v>14257</c:v>
                </c:pt>
                <c:pt idx="6722">
                  <c:v>13394</c:v>
                </c:pt>
                <c:pt idx="6723">
                  <c:v>12848</c:v>
                </c:pt>
                <c:pt idx="6724">
                  <c:v>12909</c:v>
                </c:pt>
                <c:pt idx="6725">
                  <c:v>12927</c:v>
                </c:pt>
                <c:pt idx="6726">
                  <c:v>13137</c:v>
                </c:pt>
                <c:pt idx="6727">
                  <c:v>13908</c:v>
                </c:pt>
                <c:pt idx="6728">
                  <c:v>16039</c:v>
                </c:pt>
                <c:pt idx="6729">
                  <c:v>17587</c:v>
                </c:pt>
                <c:pt idx="6730">
                  <c:v>17896</c:v>
                </c:pt>
                <c:pt idx="6731">
                  <c:v>17763</c:v>
                </c:pt>
                <c:pt idx="6732">
                  <c:v>17604</c:v>
                </c:pt>
                <c:pt idx="6733">
                  <c:v>17382</c:v>
                </c:pt>
                <c:pt idx="6734">
                  <c:v>16971</c:v>
                </c:pt>
                <c:pt idx="6735">
                  <c:v>17119</c:v>
                </c:pt>
                <c:pt idx="6736">
                  <c:v>17168</c:v>
                </c:pt>
                <c:pt idx="6737">
                  <c:v>17322</c:v>
                </c:pt>
                <c:pt idx="6738">
                  <c:v>17337</c:v>
                </c:pt>
                <c:pt idx="6739">
                  <c:v>17720</c:v>
                </c:pt>
                <c:pt idx="6740">
                  <c:v>18161</c:v>
                </c:pt>
                <c:pt idx="6741">
                  <c:v>18143</c:v>
                </c:pt>
                <c:pt idx="6742">
                  <c:v>17591</c:v>
                </c:pt>
                <c:pt idx="6743">
                  <c:v>16520</c:v>
                </c:pt>
                <c:pt idx="6744">
                  <c:v>15407</c:v>
                </c:pt>
                <c:pt idx="6745">
                  <c:v>14282</c:v>
                </c:pt>
                <c:pt idx="6746">
                  <c:v>13666</c:v>
                </c:pt>
                <c:pt idx="6747">
                  <c:v>13530</c:v>
                </c:pt>
                <c:pt idx="6748">
                  <c:v>13418</c:v>
                </c:pt>
                <c:pt idx="6749">
                  <c:v>13391</c:v>
                </c:pt>
                <c:pt idx="6750">
                  <c:v>13556</c:v>
                </c:pt>
                <c:pt idx="6751">
                  <c:v>14374</c:v>
                </c:pt>
                <c:pt idx="6752">
                  <c:v>16438</c:v>
                </c:pt>
                <c:pt idx="6753">
                  <c:v>17694</c:v>
                </c:pt>
                <c:pt idx="6754">
                  <c:v>18121</c:v>
                </c:pt>
                <c:pt idx="6755">
                  <c:v>18110</c:v>
                </c:pt>
                <c:pt idx="6756">
                  <c:v>17718</c:v>
                </c:pt>
                <c:pt idx="6757">
                  <c:v>17536</c:v>
                </c:pt>
                <c:pt idx="6758">
                  <c:v>17141</c:v>
                </c:pt>
                <c:pt idx="6759">
                  <c:v>16824</c:v>
                </c:pt>
                <c:pt idx="6760">
                  <c:v>16464</c:v>
                </c:pt>
                <c:pt idx="6761">
                  <c:v>16424</c:v>
                </c:pt>
                <c:pt idx="6762">
                  <c:v>16370</c:v>
                </c:pt>
                <c:pt idx="6763">
                  <c:v>16605</c:v>
                </c:pt>
                <c:pt idx="6764">
                  <c:v>17083</c:v>
                </c:pt>
                <c:pt idx="6765">
                  <c:v>17140</c:v>
                </c:pt>
                <c:pt idx="6766">
                  <c:v>16432</c:v>
                </c:pt>
                <c:pt idx="6767">
                  <c:v>15566</c:v>
                </c:pt>
                <c:pt idx="6768">
                  <c:v>14938</c:v>
                </c:pt>
                <c:pt idx="6769">
                  <c:v>14163</c:v>
                </c:pt>
                <c:pt idx="6770">
                  <c:v>13782</c:v>
                </c:pt>
                <c:pt idx="6771">
                  <c:v>13296</c:v>
                </c:pt>
                <c:pt idx="6772">
                  <c:v>13190</c:v>
                </c:pt>
                <c:pt idx="6773">
                  <c:v>13198</c:v>
                </c:pt>
                <c:pt idx="6774">
                  <c:v>13397</c:v>
                </c:pt>
                <c:pt idx="6775">
                  <c:v>13682</c:v>
                </c:pt>
                <c:pt idx="6776">
                  <c:v>14118</c:v>
                </c:pt>
                <c:pt idx="6777">
                  <c:v>14741</c:v>
                </c:pt>
                <c:pt idx="6778">
                  <c:v>15449</c:v>
                </c:pt>
                <c:pt idx="6779">
                  <c:v>16056</c:v>
                </c:pt>
                <c:pt idx="6780">
                  <c:v>16104</c:v>
                </c:pt>
                <c:pt idx="6781">
                  <c:v>15909</c:v>
                </c:pt>
                <c:pt idx="6782">
                  <c:v>15643</c:v>
                </c:pt>
                <c:pt idx="6783">
                  <c:v>15530</c:v>
                </c:pt>
                <c:pt idx="6784">
                  <c:v>15369</c:v>
                </c:pt>
                <c:pt idx="6785">
                  <c:v>15191</c:v>
                </c:pt>
                <c:pt idx="6786">
                  <c:v>15422</c:v>
                </c:pt>
                <c:pt idx="6787">
                  <c:v>15975</c:v>
                </c:pt>
                <c:pt idx="6788">
                  <c:v>16518</c:v>
                </c:pt>
                <c:pt idx="6789">
                  <c:v>16230</c:v>
                </c:pt>
                <c:pt idx="6790">
                  <c:v>15881</c:v>
                </c:pt>
                <c:pt idx="6791">
                  <c:v>15215</c:v>
                </c:pt>
                <c:pt idx="6792">
                  <c:v>14501</c:v>
                </c:pt>
                <c:pt idx="6793">
                  <c:v>13915</c:v>
                </c:pt>
                <c:pt idx="6794">
                  <c:v>13230</c:v>
                </c:pt>
                <c:pt idx="6795">
                  <c:v>13064</c:v>
                </c:pt>
                <c:pt idx="6796">
                  <c:v>12800</c:v>
                </c:pt>
                <c:pt idx="6797">
                  <c:v>12783</c:v>
                </c:pt>
                <c:pt idx="6798">
                  <c:v>12764</c:v>
                </c:pt>
                <c:pt idx="6799">
                  <c:v>12846</c:v>
                </c:pt>
                <c:pt idx="6800">
                  <c:v>13314</c:v>
                </c:pt>
                <c:pt idx="6801">
                  <c:v>13778</c:v>
                </c:pt>
                <c:pt idx="6802">
                  <c:v>14396</c:v>
                </c:pt>
                <c:pt idx="6803">
                  <c:v>15075</c:v>
                </c:pt>
                <c:pt idx="6804">
                  <c:v>15230</c:v>
                </c:pt>
                <c:pt idx="6805">
                  <c:v>15004</c:v>
                </c:pt>
                <c:pt idx="6806">
                  <c:v>14843</c:v>
                </c:pt>
                <c:pt idx="6807">
                  <c:v>14686</c:v>
                </c:pt>
                <c:pt idx="6808">
                  <c:v>14504</c:v>
                </c:pt>
                <c:pt idx="6809">
                  <c:v>14334</c:v>
                </c:pt>
                <c:pt idx="6810">
                  <c:v>14611</c:v>
                </c:pt>
                <c:pt idx="6811">
                  <c:v>15292</c:v>
                </c:pt>
                <c:pt idx="6812">
                  <c:v>16640</c:v>
                </c:pt>
                <c:pt idx="6813">
                  <c:v>16781</c:v>
                </c:pt>
                <c:pt idx="6814">
                  <c:v>16124</c:v>
                </c:pt>
                <c:pt idx="6815">
                  <c:v>15501</c:v>
                </c:pt>
                <c:pt idx="6816">
                  <c:v>14716</c:v>
                </c:pt>
                <c:pt idx="6817">
                  <c:v>13834</c:v>
                </c:pt>
                <c:pt idx="6818">
                  <c:v>13360</c:v>
                </c:pt>
                <c:pt idx="6819">
                  <c:v>13097</c:v>
                </c:pt>
                <c:pt idx="6820">
                  <c:v>13082</c:v>
                </c:pt>
                <c:pt idx="6821">
                  <c:v>13338</c:v>
                </c:pt>
                <c:pt idx="6822">
                  <c:v>13618</c:v>
                </c:pt>
                <c:pt idx="6823">
                  <c:v>14548</c:v>
                </c:pt>
                <c:pt idx="6824">
                  <c:v>16519</c:v>
                </c:pt>
                <c:pt idx="6825">
                  <c:v>18246</c:v>
                </c:pt>
                <c:pt idx="6826">
                  <c:v>18454</c:v>
                </c:pt>
                <c:pt idx="6827">
                  <c:v>18519</c:v>
                </c:pt>
                <c:pt idx="6828">
                  <c:v>18290</c:v>
                </c:pt>
                <c:pt idx="6829">
                  <c:v>17798</c:v>
                </c:pt>
                <c:pt idx="6830">
                  <c:v>17604</c:v>
                </c:pt>
                <c:pt idx="6831">
                  <c:v>17442</c:v>
                </c:pt>
                <c:pt idx="6832">
                  <c:v>17217</c:v>
                </c:pt>
                <c:pt idx="6833">
                  <c:v>17231</c:v>
                </c:pt>
                <c:pt idx="6834">
                  <c:v>16990</c:v>
                </c:pt>
                <c:pt idx="6835">
                  <c:v>17660</c:v>
                </c:pt>
                <c:pt idx="6836">
                  <c:v>18026</c:v>
                </c:pt>
                <c:pt idx="6837">
                  <c:v>17799</c:v>
                </c:pt>
                <c:pt idx="6838">
                  <c:v>17042</c:v>
                </c:pt>
                <c:pt idx="6839">
                  <c:v>16358</c:v>
                </c:pt>
                <c:pt idx="6840">
                  <c:v>15295</c:v>
                </c:pt>
                <c:pt idx="6841">
                  <c:v>14107</c:v>
                </c:pt>
                <c:pt idx="6842">
                  <c:v>13584</c:v>
                </c:pt>
                <c:pt idx="6843">
                  <c:v>13451</c:v>
                </c:pt>
                <c:pt idx="6844">
                  <c:v>13363</c:v>
                </c:pt>
                <c:pt idx="6845">
                  <c:v>13289</c:v>
                </c:pt>
                <c:pt idx="6846">
                  <c:v>13459</c:v>
                </c:pt>
                <c:pt idx="6847">
                  <c:v>14406</c:v>
                </c:pt>
                <c:pt idx="6848">
                  <c:v>16237</c:v>
                </c:pt>
                <c:pt idx="6849">
                  <c:v>17498</c:v>
                </c:pt>
                <c:pt idx="6850">
                  <c:v>17725</c:v>
                </c:pt>
                <c:pt idx="6851">
                  <c:v>17630</c:v>
                </c:pt>
                <c:pt idx="6852">
                  <c:v>17622</c:v>
                </c:pt>
                <c:pt idx="6853">
                  <c:v>17431</c:v>
                </c:pt>
                <c:pt idx="6854">
                  <c:v>17377</c:v>
                </c:pt>
                <c:pt idx="6855">
                  <c:v>17172</c:v>
                </c:pt>
                <c:pt idx="6856">
                  <c:v>17250</c:v>
                </c:pt>
                <c:pt idx="6857">
                  <c:v>17045</c:v>
                </c:pt>
                <c:pt idx="6858">
                  <c:v>16864</c:v>
                </c:pt>
                <c:pt idx="6859">
                  <c:v>17145</c:v>
                </c:pt>
                <c:pt idx="6860">
                  <c:v>17574</c:v>
                </c:pt>
                <c:pt idx="6861">
                  <c:v>17556</c:v>
                </c:pt>
                <c:pt idx="6862">
                  <c:v>17015</c:v>
                </c:pt>
                <c:pt idx="6863">
                  <c:v>16159</c:v>
                </c:pt>
                <c:pt idx="6864">
                  <c:v>15515</c:v>
                </c:pt>
                <c:pt idx="6865">
                  <c:v>14452</c:v>
                </c:pt>
                <c:pt idx="6866">
                  <c:v>13735</c:v>
                </c:pt>
                <c:pt idx="6867">
                  <c:v>13437</c:v>
                </c:pt>
                <c:pt idx="6868">
                  <c:v>13330</c:v>
                </c:pt>
                <c:pt idx="6869">
                  <c:v>13265</c:v>
                </c:pt>
                <c:pt idx="6870">
                  <c:v>13244</c:v>
                </c:pt>
                <c:pt idx="6871">
                  <c:v>14237</c:v>
                </c:pt>
                <c:pt idx="6872">
                  <c:v>16532</c:v>
                </c:pt>
                <c:pt idx="6873">
                  <c:v>17872</c:v>
                </c:pt>
                <c:pt idx="6874">
                  <c:v>17813</c:v>
                </c:pt>
                <c:pt idx="6875">
                  <c:v>17956</c:v>
                </c:pt>
                <c:pt idx="6876">
                  <c:v>18016</c:v>
                </c:pt>
                <c:pt idx="6877">
                  <c:v>17456</c:v>
                </c:pt>
                <c:pt idx="6878">
                  <c:v>17606</c:v>
                </c:pt>
                <c:pt idx="6879">
                  <c:v>17450</c:v>
                </c:pt>
                <c:pt idx="6880">
                  <c:v>17114</c:v>
                </c:pt>
                <c:pt idx="6881">
                  <c:v>17001</c:v>
                </c:pt>
                <c:pt idx="6882">
                  <c:v>16959</c:v>
                </c:pt>
                <c:pt idx="6883">
                  <c:v>17222</c:v>
                </c:pt>
                <c:pt idx="6884">
                  <c:v>17670</c:v>
                </c:pt>
                <c:pt idx="6885">
                  <c:v>17658</c:v>
                </c:pt>
                <c:pt idx="6886">
                  <c:v>17162</c:v>
                </c:pt>
                <c:pt idx="6887">
                  <c:v>16330</c:v>
                </c:pt>
                <c:pt idx="6888">
                  <c:v>15415</c:v>
                </c:pt>
                <c:pt idx="6889">
                  <c:v>14457</c:v>
                </c:pt>
                <c:pt idx="6890">
                  <c:v>13950</c:v>
                </c:pt>
                <c:pt idx="6891">
                  <c:v>13517</c:v>
                </c:pt>
                <c:pt idx="6892">
                  <c:v>13277</c:v>
                </c:pt>
                <c:pt idx="6893">
                  <c:v>13317</c:v>
                </c:pt>
                <c:pt idx="6894">
                  <c:v>13800</c:v>
                </c:pt>
                <c:pt idx="6895">
                  <c:v>14570</c:v>
                </c:pt>
                <c:pt idx="6896">
                  <c:v>16533</c:v>
                </c:pt>
                <c:pt idx="6897">
                  <c:v>18156</c:v>
                </c:pt>
                <c:pt idx="6898">
                  <c:v>18112</c:v>
                </c:pt>
                <c:pt idx="6899">
                  <c:v>18170</c:v>
                </c:pt>
                <c:pt idx="6900">
                  <c:v>18120</c:v>
                </c:pt>
                <c:pt idx="6901">
                  <c:v>17727</c:v>
                </c:pt>
                <c:pt idx="6902">
                  <c:v>17123</c:v>
                </c:pt>
                <c:pt idx="6903">
                  <c:v>16918</c:v>
                </c:pt>
                <c:pt idx="6904">
                  <c:v>16639</c:v>
                </c:pt>
                <c:pt idx="6905">
                  <c:v>16711</c:v>
                </c:pt>
                <c:pt idx="6906">
                  <c:v>16813</c:v>
                </c:pt>
                <c:pt idx="6907">
                  <c:v>17058</c:v>
                </c:pt>
                <c:pt idx="6908">
                  <c:v>17470</c:v>
                </c:pt>
                <c:pt idx="6909">
                  <c:v>17485</c:v>
                </c:pt>
                <c:pt idx="6910">
                  <c:v>17040</c:v>
                </c:pt>
                <c:pt idx="6911">
                  <c:v>16246</c:v>
                </c:pt>
                <c:pt idx="6912">
                  <c:v>15250</c:v>
                </c:pt>
                <c:pt idx="6913">
                  <c:v>14482</c:v>
                </c:pt>
                <c:pt idx="6914">
                  <c:v>13788</c:v>
                </c:pt>
                <c:pt idx="6915">
                  <c:v>13412</c:v>
                </c:pt>
                <c:pt idx="6916">
                  <c:v>13466</c:v>
                </c:pt>
                <c:pt idx="6917">
                  <c:v>13494</c:v>
                </c:pt>
                <c:pt idx="6918">
                  <c:v>13590</c:v>
                </c:pt>
                <c:pt idx="6919">
                  <c:v>14303</c:v>
                </c:pt>
                <c:pt idx="6920">
                  <c:v>16425</c:v>
                </c:pt>
                <c:pt idx="6921">
                  <c:v>18266</c:v>
                </c:pt>
                <c:pt idx="6922">
                  <c:v>18617</c:v>
                </c:pt>
                <c:pt idx="6923">
                  <c:v>18597</c:v>
                </c:pt>
                <c:pt idx="6924">
                  <c:v>18446</c:v>
                </c:pt>
                <c:pt idx="6925">
                  <c:v>18137</c:v>
                </c:pt>
                <c:pt idx="6926">
                  <c:v>17505</c:v>
                </c:pt>
                <c:pt idx="6927">
                  <c:v>16842</c:v>
                </c:pt>
                <c:pt idx="6928">
                  <c:v>16344</c:v>
                </c:pt>
                <c:pt idx="6929">
                  <c:v>16163</c:v>
                </c:pt>
                <c:pt idx="6930">
                  <c:v>16192</c:v>
                </c:pt>
                <c:pt idx="6931">
                  <c:v>16435</c:v>
                </c:pt>
                <c:pt idx="6932">
                  <c:v>17088</c:v>
                </c:pt>
                <c:pt idx="6933">
                  <c:v>16965</c:v>
                </c:pt>
                <c:pt idx="6934">
                  <c:v>16046</c:v>
                </c:pt>
                <c:pt idx="6935">
                  <c:v>15373</c:v>
                </c:pt>
                <c:pt idx="6936">
                  <c:v>14696</c:v>
                </c:pt>
                <c:pt idx="6937">
                  <c:v>13929</c:v>
                </c:pt>
                <c:pt idx="6938">
                  <c:v>13390</c:v>
                </c:pt>
                <c:pt idx="6939">
                  <c:v>13240</c:v>
                </c:pt>
                <c:pt idx="6940">
                  <c:v>13118</c:v>
                </c:pt>
                <c:pt idx="6941">
                  <c:v>13120</c:v>
                </c:pt>
                <c:pt idx="6942">
                  <c:v>13229</c:v>
                </c:pt>
                <c:pt idx="6943">
                  <c:v>13355</c:v>
                </c:pt>
                <c:pt idx="6944">
                  <c:v>13990</c:v>
                </c:pt>
                <c:pt idx="6945">
                  <c:v>14557</c:v>
                </c:pt>
                <c:pt idx="6946">
                  <c:v>15152</c:v>
                </c:pt>
                <c:pt idx="6947">
                  <c:v>15807</c:v>
                </c:pt>
                <c:pt idx="6948">
                  <c:v>16200</c:v>
                </c:pt>
                <c:pt idx="6949">
                  <c:v>16212</c:v>
                </c:pt>
                <c:pt idx="6950">
                  <c:v>15892</c:v>
                </c:pt>
                <c:pt idx="6951">
                  <c:v>15589</c:v>
                </c:pt>
                <c:pt idx="6952">
                  <c:v>15322</c:v>
                </c:pt>
                <c:pt idx="6953">
                  <c:v>15301</c:v>
                </c:pt>
                <c:pt idx="6954">
                  <c:v>15824</c:v>
                </c:pt>
                <c:pt idx="6955">
                  <c:v>16341</c:v>
                </c:pt>
                <c:pt idx="6956">
                  <c:v>16895</c:v>
                </c:pt>
                <c:pt idx="6957">
                  <c:v>16348</c:v>
                </c:pt>
                <c:pt idx="6958">
                  <c:v>15664</c:v>
                </c:pt>
                <c:pt idx="6959">
                  <c:v>15020</c:v>
                </c:pt>
                <c:pt idx="6960">
                  <c:v>14337</c:v>
                </c:pt>
                <c:pt idx="6961">
                  <c:v>13834</c:v>
                </c:pt>
                <c:pt idx="6962">
                  <c:v>13121</c:v>
                </c:pt>
                <c:pt idx="6963">
                  <c:v>12653</c:v>
                </c:pt>
                <c:pt idx="6964">
                  <c:v>12564</c:v>
                </c:pt>
                <c:pt idx="6965">
                  <c:v>12415</c:v>
                </c:pt>
                <c:pt idx="6966">
                  <c:v>12393</c:v>
                </c:pt>
                <c:pt idx="6967">
                  <c:v>12694</c:v>
                </c:pt>
                <c:pt idx="6968">
                  <c:v>13008</c:v>
                </c:pt>
                <c:pt idx="6969">
                  <c:v>13514</c:v>
                </c:pt>
                <c:pt idx="6970">
                  <c:v>14177</c:v>
                </c:pt>
                <c:pt idx="6971">
                  <c:v>14687</c:v>
                </c:pt>
                <c:pt idx="6972">
                  <c:v>15270</c:v>
                </c:pt>
                <c:pt idx="6973">
                  <c:v>15364</c:v>
                </c:pt>
                <c:pt idx="6974">
                  <c:v>15117</c:v>
                </c:pt>
                <c:pt idx="6975">
                  <c:v>15026</c:v>
                </c:pt>
                <c:pt idx="6976">
                  <c:v>14705</c:v>
                </c:pt>
                <c:pt idx="6977">
                  <c:v>14682</c:v>
                </c:pt>
                <c:pt idx="6978">
                  <c:v>14759</c:v>
                </c:pt>
                <c:pt idx="6979">
                  <c:v>15466</c:v>
                </c:pt>
                <c:pt idx="6980">
                  <c:v>16239</c:v>
                </c:pt>
                <c:pt idx="6981">
                  <c:v>16077</c:v>
                </c:pt>
                <c:pt idx="6982">
                  <c:v>15655</c:v>
                </c:pt>
                <c:pt idx="6983">
                  <c:v>15043</c:v>
                </c:pt>
                <c:pt idx="6984">
                  <c:v>14401</c:v>
                </c:pt>
                <c:pt idx="6985">
                  <c:v>13663</c:v>
                </c:pt>
                <c:pt idx="6986">
                  <c:v>13342</c:v>
                </c:pt>
                <c:pt idx="6987">
                  <c:v>13142</c:v>
                </c:pt>
                <c:pt idx="6988">
                  <c:v>13077</c:v>
                </c:pt>
                <c:pt idx="6989">
                  <c:v>13162</c:v>
                </c:pt>
                <c:pt idx="6990">
                  <c:v>13579</c:v>
                </c:pt>
                <c:pt idx="6991">
                  <c:v>14494</c:v>
                </c:pt>
                <c:pt idx="6992">
                  <c:v>16551</c:v>
                </c:pt>
                <c:pt idx="6993">
                  <c:v>18175</c:v>
                </c:pt>
                <c:pt idx="6994">
                  <c:v>18587</c:v>
                </c:pt>
                <c:pt idx="6995">
                  <c:v>18424</c:v>
                </c:pt>
                <c:pt idx="6996">
                  <c:v>18336</c:v>
                </c:pt>
                <c:pt idx="6997">
                  <c:v>18045</c:v>
                </c:pt>
                <c:pt idx="6998">
                  <c:v>17640</c:v>
                </c:pt>
                <c:pt idx="6999">
                  <c:v>17512</c:v>
                </c:pt>
                <c:pt idx="7000">
                  <c:v>17317</c:v>
                </c:pt>
                <c:pt idx="7001">
                  <c:v>17201</c:v>
                </c:pt>
                <c:pt idx="7002">
                  <c:v>17198</c:v>
                </c:pt>
                <c:pt idx="7003">
                  <c:v>17601</c:v>
                </c:pt>
                <c:pt idx="7004">
                  <c:v>18286</c:v>
                </c:pt>
                <c:pt idx="7005">
                  <c:v>17799</c:v>
                </c:pt>
                <c:pt idx="7006">
                  <c:v>16978</c:v>
                </c:pt>
                <c:pt idx="7007">
                  <c:v>16189</c:v>
                </c:pt>
                <c:pt idx="7008">
                  <c:v>15273</c:v>
                </c:pt>
                <c:pt idx="7009">
                  <c:v>13957</c:v>
                </c:pt>
                <c:pt idx="7010">
                  <c:v>13352</c:v>
                </c:pt>
                <c:pt idx="7011">
                  <c:v>13078</c:v>
                </c:pt>
                <c:pt idx="7012">
                  <c:v>12947</c:v>
                </c:pt>
                <c:pt idx="7013">
                  <c:v>12956</c:v>
                </c:pt>
                <c:pt idx="7014">
                  <c:v>12977</c:v>
                </c:pt>
                <c:pt idx="7015">
                  <c:v>13929</c:v>
                </c:pt>
                <c:pt idx="7016">
                  <c:v>16144</c:v>
                </c:pt>
                <c:pt idx="7017">
                  <c:v>17804</c:v>
                </c:pt>
                <c:pt idx="7018">
                  <c:v>17730</c:v>
                </c:pt>
                <c:pt idx="7019">
                  <c:v>17715</c:v>
                </c:pt>
                <c:pt idx="7020">
                  <c:v>17804</c:v>
                </c:pt>
                <c:pt idx="7021">
                  <c:v>17590</c:v>
                </c:pt>
                <c:pt idx="7022">
                  <c:v>17345</c:v>
                </c:pt>
                <c:pt idx="7023">
                  <c:v>17332</c:v>
                </c:pt>
                <c:pt idx="7024">
                  <c:v>17349</c:v>
                </c:pt>
                <c:pt idx="7025">
                  <c:v>17237</c:v>
                </c:pt>
                <c:pt idx="7026">
                  <c:v>17217</c:v>
                </c:pt>
                <c:pt idx="7027">
                  <c:v>17608</c:v>
                </c:pt>
                <c:pt idx="7028">
                  <c:v>18168</c:v>
                </c:pt>
                <c:pt idx="7029">
                  <c:v>17828</c:v>
                </c:pt>
                <c:pt idx="7030">
                  <c:v>17108</c:v>
                </c:pt>
                <c:pt idx="7031">
                  <c:v>16299</c:v>
                </c:pt>
                <c:pt idx="7032">
                  <c:v>15119</c:v>
                </c:pt>
                <c:pt idx="7033">
                  <c:v>13949</c:v>
                </c:pt>
                <c:pt idx="7034">
                  <c:v>13334</c:v>
                </c:pt>
                <c:pt idx="7035">
                  <c:v>13028</c:v>
                </c:pt>
                <c:pt idx="7036">
                  <c:v>12982</c:v>
                </c:pt>
                <c:pt idx="7037">
                  <c:v>12940</c:v>
                </c:pt>
                <c:pt idx="7038">
                  <c:v>13286</c:v>
                </c:pt>
                <c:pt idx="7039">
                  <c:v>13951</c:v>
                </c:pt>
                <c:pt idx="7040">
                  <c:v>16119</c:v>
                </c:pt>
                <c:pt idx="7041">
                  <c:v>17581</c:v>
                </c:pt>
                <c:pt idx="7042">
                  <c:v>17769</c:v>
                </c:pt>
                <c:pt idx="7043">
                  <c:v>17450</c:v>
                </c:pt>
                <c:pt idx="7044">
                  <c:v>17264</c:v>
                </c:pt>
                <c:pt idx="7045">
                  <c:v>17295</c:v>
                </c:pt>
                <c:pt idx="7046">
                  <c:v>16946</c:v>
                </c:pt>
                <c:pt idx="7047">
                  <c:v>17067</c:v>
                </c:pt>
                <c:pt idx="7048">
                  <c:v>16673</c:v>
                </c:pt>
                <c:pt idx="7049">
                  <c:v>16677</c:v>
                </c:pt>
                <c:pt idx="7050">
                  <c:v>16754</c:v>
                </c:pt>
                <c:pt idx="7051">
                  <c:v>17336</c:v>
                </c:pt>
                <c:pt idx="7052">
                  <c:v>17534</c:v>
                </c:pt>
                <c:pt idx="7053">
                  <c:v>17012</c:v>
                </c:pt>
                <c:pt idx="7054">
                  <c:v>16406</c:v>
                </c:pt>
                <c:pt idx="7055">
                  <c:v>15626</c:v>
                </c:pt>
                <c:pt idx="7056">
                  <c:v>14524</c:v>
                </c:pt>
                <c:pt idx="7057">
                  <c:v>13720</c:v>
                </c:pt>
                <c:pt idx="7058">
                  <c:v>13058</c:v>
                </c:pt>
                <c:pt idx="7059">
                  <c:v>12626</c:v>
                </c:pt>
                <c:pt idx="7060">
                  <c:v>12522</c:v>
                </c:pt>
                <c:pt idx="7061">
                  <c:v>12491</c:v>
                </c:pt>
                <c:pt idx="7062">
                  <c:v>12622</c:v>
                </c:pt>
                <c:pt idx="7063">
                  <c:v>13423</c:v>
                </c:pt>
                <c:pt idx="7064">
                  <c:v>15240</c:v>
                </c:pt>
                <c:pt idx="7065">
                  <c:v>16860</c:v>
                </c:pt>
                <c:pt idx="7066">
                  <c:v>16951</c:v>
                </c:pt>
                <c:pt idx="7067">
                  <c:v>17123</c:v>
                </c:pt>
                <c:pt idx="7068">
                  <c:v>17078</c:v>
                </c:pt>
                <c:pt idx="7069">
                  <c:v>17045</c:v>
                </c:pt>
                <c:pt idx="7070">
                  <c:v>16942</c:v>
                </c:pt>
                <c:pt idx="7071">
                  <c:v>16796</c:v>
                </c:pt>
                <c:pt idx="7072">
                  <c:v>16855</c:v>
                </c:pt>
                <c:pt idx="7073">
                  <c:v>16923</c:v>
                </c:pt>
                <c:pt idx="7074">
                  <c:v>16613</c:v>
                </c:pt>
                <c:pt idx="7075">
                  <c:v>16914</c:v>
                </c:pt>
                <c:pt idx="7076">
                  <c:v>17376</c:v>
                </c:pt>
                <c:pt idx="7077">
                  <c:v>17215</c:v>
                </c:pt>
                <c:pt idx="7078">
                  <c:v>16541</c:v>
                </c:pt>
                <c:pt idx="7079">
                  <c:v>15719</c:v>
                </c:pt>
                <c:pt idx="7080">
                  <c:v>14859</c:v>
                </c:pt>
                <c:pt idx="7081">
                  <c:v>13700</c:v>
                </c:pt>
                <c:pt idx="7082">
                  <c:v>13163</c:v>
                </c:pt>
                <c:pt idx="7083">
                  <c:v>12941</c:v>
                </c:pt>
                <c:pt idx="7084">
                  <c:v>12757</c:v>
                </c:pt>
                <c:pt idx="7085">
                  <c:v>12616</c:v>
                </c:pt>
                <c:pt idx="7086">
                  <c:v>13371</c:v>
                </c:pt>
                <c:pt idx="7087">
                  <c:v>14336</c:v>
                </c:pt>
                <c:pt idx="7088">
                  <c:v>16025</c:v>
                </c:pt>
                <c:pt idx="7089">
                  <c:v>17976</c:v>
                </c:pt>
                <c:pt idx="7090">
                  <c:v>18451</c:v>
                </c:pt>
                <c:pt idx="7091">
                  <c:v>17811</c:v>
                </c:pt>
                <c:pt idx="7092">
                  <c:v>17050</c:v>
                </c:pt>
                <c:pt idx="7093">
                  <c:v>16609</c:v>
                </c:pt>
                <c:pt idx="7094">
                  <c:v>16466</c:v>
                </c:pt>
                <c:pt idx="7095">
                  <c:v>15777</c:v>
                </c:pt>
                <c:pt idx="7096">
                  <c:v>15555</c:v>
                </c:pt>
                <c:pt idx="7097">
                  <c:v>15448</c:v>
                </c:pt>
                <c:pt idx="7098">
                  <c:v>15619</c:v>
                </c:pt>
                <c:pt idx="7099">
                  <c:v>16250</c:v>
                </c:pt>
                <c:pt idx="7100">
                  <c:v>16837</c:v>
                </c:pt>
                <c:pt idx="7101">
                  <c:v>16238</c:v>
                </c:pt>
                <c:pt idx="7102">
                  <c:v>15717</c:v>
                </c:pt>
                <c:pt idx="7103">
                  <c:v>15171</c:v>
                </c:pt>
                <c:pt idx="7104">
                  <c:v>14031</c:v>
                </c:pt>
                <c:pt idx="7105">
                  <c:v>13442</c:v>
                </c:pt>
                <c:pt idx="7106">
                  <c:v>12844</c:v>
                </c:pt>
                <c:pt idx="7107">
                  <c:v>12297</c:v>
                </c:pt>
                <c:pt idx="7108">
                  <c:v>12052</c:v>
                </c:pt>
                <c:pt idx="7109">
                  <c:v>11963</c:v>
                </c:pt>
                <c:pt idx="7110">
                  <c:v>12172</c:v>
                </c:pt>
                <c:pt idx="7111">
                  <c:v>12547</c:v>
                </c:pt>
                <c:pt idx="7112">
                  <c:v>13101</c:v>
                </c:pt>
                <c:pt idx="7113">
                  <c:v>13667</c:v>
                </c:pt>
                <c:pt idx="7114">
                  <c:v>14052</c:v>
                </c:pt>
                <c:pt idx="7115">
                  <c:v>14928</c:v>
                </c:pt>
                <c:pt idx="7116">
                  <c:v>15301</c:v>
                </c:pt>
                <c:pt idx="7117">
                  <c:v>15309</c:v>
                </c:pt>
                <c:pt idx="7118">
                  <c:v>15230</c:v>
                </c:pt>
                <c:pt idx="7119">
                  <c:v>14878</c:v>
                </c:pt>
                <c:pt idx="7120">
                  <c:v>14794</c:v>
                </c:pt>
                <c:pt idx="7121">
                  <c:v>14740</c:v>
                </c:pt>
                <c:pt idx="7122">
                  <c:v>15064</c:v>
                </c:pt>
                <c:pt idx="7123">
                  <c:v>15557</c:v>
                </c:pt>
                <c:pt idx="7124">
                  <c:v>15580</c:v>
                </c:pt>
                <c:pt idx="7125">
                  <c:v>15022</c:v>
                </c:pt>
                <c:pt idx="7126">
                  <c:v>14579</c:v>
                </c:pt>
                <c:pt idx="7127">
                  <c:v>13777</c:v>
                </c:pt>
                <c:pt idx="7128">
                  <c:v>13456</c:v>
                </c:pt>
                <c:pt idx="7129">
                  <c:v>12841</c:v>
                </c:pt>
                <c:pt idx="7130">
                  <c:v>12245</c:v>
                </c:pt>
                <c:pt idx="7131">
                  <c:v>11815</c:v>
                </c:pt>
                <c:pt idx="7132">
                  <c:v>11437</c:v>
                </c:pt>
                <c:pt idx="7133">
                  <c:v>11635</c:v>
                </c:pt>
                <c:pt idx="7134">
                  <c:v>11761</c:v>
                </c:pt>
                <c:pt idx="7135">
                  <c:v>12033</c:v>
                </c:pt>
                <c:pt idx="7136">
                  <c:v>12669</c:v>
                </c:pt>
                <c:pt idx="7137">
                  <c:v>12888</c:v>
                </c:pt>
                <c:pt idx="7138">
                  <c:v>13796</c:v>
                </c:pt>
                <c:pt idx="7139">
                  <c:v>14365</c:v>
                </c:pt>
                <c:pt idx="7140">
                  <c:v>14485</c:v>
                </c:pt>
                <c:pt idx="7141">
                  <c:v>14248</c:v>
                </c:pt>
                <c:pt idx="7142">
                  <c:v>14399</c:v>
                </c:pt>
                <c:pt idx="7143">
                  <c:v>14102</c:v>
                </c:pt>
                <c:pt idx="7144">
                  <c:v>14136</c:v>
                </c:pt>
                <c:pt idx="7145">
                  <c:v>14571</c:v>
                </c:pt>
                <c:pt idx="7146">
                  <c:v>15316</c:v>
                </c:pt>
                <c:pt idx="7147">
                  <c:v>16212</c:v>
                </c:pt>
                <c:pt idx="7148">
                  <c:v>16139</c:v>
                </c:pt>
                <c:pt idx="7149">
                  <c:v>16042</c:v>
                </c:pt>
                <c:pt idx="7150">
                  <c:v>15705</c:v>
                </c:pt>
                <c:pt idx="7151">
                  <c:v>14993</c:v>
                </c:pt>
                <c:pt idx="7152">
                  <c:v>14421</c:v>
                </c:pt>
                <c:pt idx="7153">
                  <c:v>14200</c:v>
                </c:pt>
                <c:pt idx="7154">
                  <c:v>13918</c:v>
                </c:pt>
                <c:pt idx="7155">
                  <c:v>13575</c:v>
                </c:pt>
                <c:pt idx="7156">
                  <c:v>13672</c:v>
                </c:pt>
                <c:pt idx="7157">
                  <c:v>13842</c:v>
                </c:pt>
                <c:pt idx="7158">
                  <c:v>14007</c:v>
                </c:pt>
                <c:pt idx="7159">
                  <c:v>14770</c:v>
                </c:pt>
                <c:pt idx="7160">
                  <c:v>16786</c:v>
                </c:pt>
                <c:pt idx="7161">
                  <c:v>17999</c:v>
                </c:pt>
                <c:pt idx="7162">
                  <c:v>18267</c:v>
                </c:pt>
                <c:pt idx="7163">
                  <c:v>18376</c:v>
                </c:pt>
                <c:pt idx="7164">
                  <c:v>18245</c:v>
                </c:pt>
                <c:pt idx="7165">
                  <c:v>17819</c:v>
                </c:pt>
                <c:pt idx="7166">
                  <c:v>17556</c:v>
                </c:pt>
                <c:pt idx="7167">
                  <c:v>17361</c:v>
                </c:pt>
                <c:pt idx="7168">
                  <c:v>17512</c:v>
                </c:pt>
                <c:pt idx="7169">
                  <c:v>17735</c:v>
                </c:pt>
                <c:pt idx="7170">
                  <c:v>18287</c:v>
                </c:pt>
                <c:pt idx="7171">
                  <c:v>19021</c:v>
                </c:pt>
                <c:pt idx="7172">
                  <c:v>18830</c:v>
                </c:pt>
                <c:pt idx="7173">
                  <c:v>18186</c:v>
                </c:pt>
                <c:pt idx="7174">
                  <c:v>17361</c:v>
                </c:pt>
                <c:pt idx="7175">
                  <c:v>16746</c:v>
                </c:pt>
                <c:pt idx="7176">
                  <c:v>15829</c:v>
                </c:pt>
                <c:pt idx="7177">
                  <c:v>15051</c:v>
                </c:pt>
                <c:pt idx="7178">
                  <c:v>13918</c:v>
                </c:pt>
                <c:pt idx="7179">
                  <c:v>13575</c:v>
                </c:pt>
                <c:pt idx="7180">
                  <c:v>13672</c:v>
                </c:pt>
                <c:pt idx="7181">
                  <c:v>13842</c:v>
                </c:pt>
                <c:pt idx="7182">
                  <c:v>14007</c:v>
                </c:pt>
                <c:pt idx="7183">
                  <c:v>14770</c:v>
                </c:pt>
                <c:pt idx="7184">
                  <c:v>16786</c:v>
                </c:pt>
                <c:pt idx="7185">
                  <c:v>17999</c:v>
                </c:pt>
                <c:pt idx="7186">
                  <c:v>18267</c:v>
                </c:pt>
                <c:pt idx="7187">
                  <c:v>18376</c:v>
                </c:pt>
                <c:pt idx="7188">
                  <c:v>18245</c:v>
                </c:pt>
                <c:pt idx="7189">
                  <c:v>17819</c:v>
                </c:pt>
                <c:pt idx="7190">
                  <c:v>17556</c:v>
                </c:pt>
                <c:pt idx="7191">
                  <c:v>17361</c:v>
                </c:pt>
                <c:pt idx="7192">
                  <c:v>17512</c:v>
                </c:pt>
                <c:pt idx="7193">
                  <c:v>17735</c:v>
                </c:pt>
                <c:pt idx="7194">
                  <c:v>18287</c:v>
                </c:pt>
                <c:pt idx="7195">
                  <c:v>19021</c:v>
                </c:pt>
                <c:pt idx="7196">
                  <c:v>18830</c:v>
                </c:pt>
                <c:pt idx="7197">
                  <c:v>18186</c:v>
                </c:pt>
                <c:pt idx="7198">
                  <c:v>17361</c:v>
                </c:pt>
                <c:pt idx="7199">
                  <c:v>16746</c:v>
                </c:pt>
                <c:pt idx="7200">
                  <c:v>15829</c:v>
                </c:pt>
                <c:pt idx="7201">
                  <c:v>15051</c:v>
                </c:pt>
                <c:pt idx="7202">
                  <c:v>14600</c:v>
                </c:pt>
                <c:pt idx="7203">
                  <c:v>13575</c:v>
                </c:pt>
                <c:pt idx="7204">
                  <c:v>13672</c:v>
                </c:pt>
                <c:pt idx="7205">
                  <c:v>13842</c:v>
                </c:pt>
                <c:pt idx="7206">
                  <c:v>14007</c:v>
                </c:pt>
                <c:pt idx="7207">
                  <c:v>14770</c:v>
                </c:pt>
                <c:pt idx="7208">
                  <c:v>16786</c:v>
                </c:pt>
                <c:pt idx="7209">
                  <c:v>17999</c:v>
                </c:pt>
                <c:pt idx="7210">
                  <c:v>18267</c:v>
                </c:pt>
                <c:pt idx="7211">
                  <c:v>18376</c:v>
                </c:pt>
                <c:pt idx="7212">
                  <c:v>18245</c:v>
                </c:pt>
                <c:pt idx="7213">
                  <c:v>17819</c:v>
                </c:pt>
                <c:pt idx="7214">
                  <c:v>17556</c:v>
                </c:pt>
                <c:pt idx="7215">
                  <c:v>17361</c:v>
                </c:pt>
                <c:pt idx="7216">
                  <c:v>17512</c:v>
                </c:pt>
                <c:pt idx="7217">
                  <c:v>17735</c:v>
                </c:pt>
                <c:pt idx="7218">
                  <c:v>18287</c:v>
                </c:pt>
                <c:pt idx="7219">
                  <c:v>19021</c:v>
                </c:pt>
                <c:pt idx="7220">
                  <c:v>18830</c:v>
                </c:pt>
                <c:pt idx="7221">
                  <c:v>18186</c:v>
                </c:pt>
                <c:pt idx="7222">
                  <c:v>17361</c:v>
                </c:pt>
                <c:pt idx="7223">
                  <c:v>16746</c:v>
                </c:pt>
                <c:pt idx="7224">
                  <c:v>15829</c:v>
                </c:pt>
                <c:pt idx="7225">
                  <c:v>15051</c:v>
                </c:pt>
                <c:pt idx="7226">
                  <c:v>14498</c:v>
                </c:pt>
                <c:pt idx="7227">
                  <c:v>14062</c:v>
                </c:pt>
                <c:pt idx="7228">
                  <c:v>14057</c:v>
                </c:pt>
                <c:pt idx="7229">
                  <c:v>13987</c:v>
                </c:pt>
                <c:pt idx="7230">
                  <c:v>14108</c:v>
                </c:pt>
                <c:pt idx="7231">
                  <c:v>14883</c:v>
                </c:pt>
                <c:pt idx="7232">
                  <c:v>16763</c:v>
                </c:pt>
                <c:pt idx="7233">
                  <c:v>18320</c:v>
                </c:pt>
                <c:pt idx="7234">
                  <c:v>18578</c:v>
                </c:pt>
                <c:pt idx="7235">
                  <c:v>18513</c:v>
                </c:pt>
                <c:pt idx="7236">
                  <c:v>18396</c:v>
                </c:pt>
                <c:pt idx="7237">
                  <c:v>18213</c:v>
                </c:pt>
                <c:pt idx="7238">
                  <c:v>18026</c:v>
                </c:pt>
                <c:pt idx="7239">
                  <c:v>17762</c:v>
                </c:pt>
                <c:pt idx="7240">
                  <c:v>17798</c:v>
                </c:pt>
                <c:pt idx="7241">
                  <c:v>17899</c:v>
                </c:pt>
                <c:pt idx="7242">
                  <c:v>18418</c:v>
                </c:pt>
                <c:pt idx="7243">
                  <c:v>18963</c:v>
                </c:pt>
                <c:pt idx="7244">
                  <c:v>18738</c:v>
                </c:pt>
                <c:pt idx="7245">
                  <c:v>18272</c:v>
                </c:pt>
                <c:pt idx="7246">
                  <c:v>17718</c:v>
                </c:pt>
                <c:pt idx="7247">
                  <c:v>16938</c:v>
                </c:pt>
                <c:pt idx="7248">
                  <c:v>15795</c:v>
                </c:pt>
                <c:pt idx="7249">
                  <c:v>14604</c:v>
                </c:pt>
                <c:pt idx="7250">
                  <c:v>13884</c:v>
                </c:pt>
                <c:pt idx="7251">
                  <c:v>13487</c:v>
                </c:pt>
                <c:pt idx="7252">
                  <c:v>13273</c:v>
                </c:pt>
                <c:pt idx="7253">
                  <c:v>13296</c:v>
                </c:pt>
                <c:pt idx="7254">
                  <c:v>13453</c:v>
                </c:pt>
                <c:pt idx="7255">
                  <c:v>14250</c:v>
                </c:pt>
                <c:pt idx="7256">
                  <c:v>16013</c:v>
                </c:pt>
                <c:pt idx="7257">
                  <c:v>17448</c:v>
                </c:pt>
                <c:pt idx="7258">
                  <c:v>17874</c:v>
                </c:pt>
                <c:pt idx="7259">
                  <c:v>18056</c:v>
                </c:pt>
                <c:pt idx="7260">
                  <c:v>18266</c:v>
                </c:pt>
                <c:pt idx="7261">
                  <c:v>17756</c:v>
                </c:pt>
                <c:pt idx="7262">
                  <c:v>17334</c:v>
                </c:pt>
                <c:pt idx="7263">
                  <c:v>17049</c:v>
                </c:pt>
                <c:pt idx="7264">
                  <c:v>17118</c:v>
                </c:pt>
                <c:pt idx="7265">
                  <c:v>17233</c:v>
                </c:pt>
                <c:pt idx="7266">
                  <c:v>17727</c:v>
                </c:pt>
                <c:pt idx="7267">
                  <c:v>18008</c:v>
                </c:pt>
                <c:pt idx="7268">
                  <c:v>17256</c:v>
                </c:pt>
                <c:pt idx="7269">
                  <c:v>16391</c:v>
                </c:pt>
                <c:pt idx="7270">
                  <c:v>15493</c:v>
                </c:pt>
                <c:pt idx="7271">
                  <c:v>14978</c:v>
                </c:pt>
                <c:pt idx="7272">
                  <c:v>14098</c:v>
                </c:pt>
                <c:pt idx="7273">
                  <c:v>13324</c:v>
                </c:pt>
                <c:pt idx="7274">
                  <c:v>12600</c:v>
                </c:pt>
                <c:pt idx="7275">
                  <c:v>12389</c:v>
                </c:pt>
                <c:pt idx="7276">
                  <c:v>12347</c:v>
                </c:pt>
                <c:pt idx="7277">
                  <c:v>12307</c:v>
                </c:pt>
                <c:pt idx="7278">
                  <c:v>12255</c:v>
                </c:pt>
                <c:pt idx="7279">
                  <c:v>12491</c:v>
                </c:pt>
                <c:pt idx="7280">
                  <c:v>12996</c:v>
                </c:pt>
                <c:pt idx="7281">
                  <c:v>13349</c:v>
                </c:pt>
                <c:pt idx="7282">
                  <c:v>14058</c:v>
                </c:pt>
                <c:pt idx="7283">
                  <c:v>14733</c:v>
                </c:pt>
                <c:pt idx="7284">
                  <c:v>14914</c:v>
                </c:pt>
                <c:pt idx="7285">
                  <c:v>15098</c:v>
                </c:pt>
                <c:pt idx="7286">
                  <c:v>14899</c:v>
                </c:pt>
                <c:pt idx="7287">
                  <c:v>14585</c:v>
                </c:pt>
                <c:pt idx="7288">
                  <c:v>14528</c:v>
                </c:pt>
                <c:pt idx="7289">
                  <c:v>14727</c:v>
                </c:pt>
                <c:pt idx="7290">
                  <c:v>15443</c:v>
                </c:pt>
                <c:pt idx="7291">
                  <c:v>15629</c:v>
                </c:pt>
                <c:pt idx="7292">
                  <c:v>15008</c:v>
                </c:pt>
                <c:pt idx="7293">
                  <c:v>14716</c:v>
                </c:pt>
                <c:pt idx="7294">
                  <c:v>14361</c:v>
                </c:pt>
                <c:pt idx="7295">
                  <c:v>13948</c:v>
                </c:pt>
                <c:pt idx="7296">
                  <c:v>13293</c:v>
                </c:pt>
                <c:pt idx="7297">
                  <c:v>12754</c:v>
                </c:pt>
                <c:pt idx="7298">
                  <c:v>12461</c:v>
                </c:pt>
                <c:pt idx="7299">
                  <c:v>12470</c:v>
                </c:pt>
                <c:pt idx="7300">
                  <c:v>12336</c:v>
                </c:pt>
                <c:pt idx="7301">
                  <c:v>12191</c:v>
                </c:pt>
                <c:pt idx="7302">
                  <c:v>12153</c:v>
                </c:pt>
                <c:pt idx="7303">
                  <c:v>12319</c:v>
                </c:pt>
                <c:pt idx="7304">
                  <c:v>12804</c:v>
                </c:pt>
                <c:pt idx="7305">
                  <c:v>13057</c:v>
                </c:pt>
                <c:pt idx="7306">
                  <c:v>13410</c:v>
                </c:pt>
                <c:pt idx="7307">
                  <c:v>13972</c:v>
                </c:pt>
                <c:pt idx="7308">
                  <c:v>14495</c:v>
                </c:pt>
                <c:pt idx="7309">
                  <c:v>14759</c:v>
                </c:pt>
                <c:pt idx="7310">
                  <c:v>14788</c:v>
                </c:pt>
                <c:pt idx="7311">
                  <c:v>14750</c:v>
                </c:pt>
                <c:pt idx="7312">
                  <c:v>14712</c:v>
                </c:pt>
                <c:pt idx="7313">
                  <c:v>14775</c:v>
                </c:pt>
                <c:pt idx="7314">
                  <c:v>15725</c:v>
                </c:pt>
                <c:pt idx="7315">
                  <c:v>16112</c:v>
                </c:pt>
                <c:pt idx="7316">
                  <c:v>15983</c:v>
                </c:pt>
                <c:pt idx="7317">
                  <c:v>15691</c:v>
                </c:pt>
                <c:pt idx="7318">
                  <c:v>15287</c:v>
                </c:pt>
                <c:pt idx="7319">
                  <c:v>14596</c:v>
                </c:pt>
                <c:pt idx="7320">
                  <c:v>13678</c:v>
                </c:pt>
                <c:pt idx="7321">
                  <c:v>12948</c:v>
                </c:pt>
                <c:pt idx="7322">
                  <c:v>12306</c:v>
                </c:pt>
                <c:pt idx="7323">
                  <c:v>12267</c:v>
                </c:pt>
                <c:pt idx="7324">
                  <c:v>12140</c:v>
                </c:pt>
                <c:pt idx="7325">
                  <c:v>12071</c:v>
                </c:pt>
                <c:pt idx="7326">
                  <c:v>12352</c:v>
                </c:pt>
                <c:pt idx="7327">
                  <c:v>13247</c:v>
                </c:pt>
                <c:pt idx="7328">
                  <c:v>14992</c:v>
                </c:pt>
                <c:pt idx="7329">
                  <c:v>16583</c:v>
                </c:pt>
                <c:pt idx="7330">
                  <c:v>16827</c:v>
                </c:pt>
                <c:pt idx="7331">
                  <c:v>16778</c:v>
                </c:pt>
                <c:pt idx="7332">
                  <c:v>16740</c:v>
                </c:pt>
                <c:pt idx="7333">
                  <c:v>16637</c:v>
                </c:pt>
                <c:pt idx="7334">
                  <c:v>16768</c:v>
                </c:pt>
                <c:pt idx="7335">
                  <c:v>16769</c:v>
                </c:pt>
                <c:pt idx="7336">
                  <c:v>16562</c:v>
                </c:pt>
                <c:pt idx="7337">
                  <c:v>16879</c:v>
                </c:pt>
                <c:pt idx="7338">
                  <c:v>17703</c:v>
                </c:pt>
                <c:pt idx="7339">
                  <c:v>18171</c:v>
                </c:pt>
                <c:pt idx="7340">
                  <c:v>17621</c:v>
                </c:pt>
                <c:pt idx="7341">
                  <c:v>16963</c:v>
                </c:pt>
                <c:pt idx="7342">
                  <c:v>16324</c:v>
                </c:pt>
                <c:pt idx="7343">
                  <c:v>15410</c:v>
                </c:pt>
                <c:pt idx="7344">
                  <c:v>14221</c:v>
                </c:pt>
                <c:pt idx="7345">
                  <c:v>13287</c:v>
                </c:pt>
                <c:pt idx="7346">
                  <c:v>12705</c:v>
                </c:pt>
                <c:pt idx="7347">
                  <c:v>12381</c:v>
                </c:pt>
                <c:pt idx="7348">
                  <c:v>12335</c:v>
                </c:pt>
                <c:pt idx="7349">
                  <c:v>12483</c:v>
                </c:pt>
                <c:pt idx="7350">
                  <c:v>12680</c:v>
                </c:pt>
                <c:pt idx="7351">
                  <c:v>13824</c:v>
                </c:pt>
                <c:pt idx="7352">
                  <c:v>15840</c:v>
                </c:pt>
                <c:pt idx="7353">
                  <c:v>17263</c:v>
                </c:pt>
                <c:pt idx="7354">
                  <c:v>17538</c:v>
                </c:pt>
                <c:pt idx="7355">
                  <c:v>17294</c:v>
                </c:pt>
                <c:pt idx="7356">
                  <c:v>17209</c:v>
                </c:pt>
                <c:pt idx="7357">
                  <c:v>17504</c:v>
                </c:pt>
                <c:pt idx="7358">
                  <c:v>17496</c:v>
                </c:pt>
                <c:pt idx="7359">
                  <c:v>17680</c:v>
                </c:pt>
                <c:pt idx="7360">
                  <c:v>17724</c:v>
                </c:pt>
                <c:pt idx="7361">
                  <c:v>17602</c:v>
                </c:pt>
                <c:pt idx="7362">
                  <c:v>18222</c:v>
                </c:pt>
                <c:pt idx="7363">
                  <c:v>18432</c:v>
                </c:pt>
                <c:pt idx="7364">
                  <c:v>18141</c:v>
                </c:pt>
                <c:pt idx="7365">
                  <c:v>17513</c:v>
                </c:pt>
                <c:pt idx="7366">
                  <c:v>16878</c:v>
                </c:pt>
                <c:pt idx="7367">
                  <c:v>15694</c:v>
                </c:pt>
                <c:pt idx="7368">
                  <c:v>14485</c:v>
                </c:pt>
                <c:pt idx="7369">
                  <c:v>13551</c:v>
                </c:pt>
                <c:pt idx="7370">
                  <c:v>12644</c:v>
                </c:pt>
                <c:pt idx="7371">
                  <c:v>12475</c:v>
                </c:pt>
                <c:pt idx="7372">
                  <c:v>12511</c:v>
                </c:pt>
                <c:pt idx="7373">
                  <c:v>12645</c:v>
                </c:pt>
                <c:pt idx="7374">
                  <c:v>12669</c:v>
                </c:pt>
                <c:pt idx="7375">
                  <c:v>13514</c:v>
                </c:pt>
                <c:pt idx="7376">
                  <c:v>15713</c:v>
                </c:pt>
                <c:pt idx="7377">
                  <c:v>17136</c:v>
                </c:pt>
                <c:pt idx="7378">
                  <c:v>17616</c:v>
                </c:pt>
                <c:pt idx="7379">
                  <c:v>17644</c:v>
                </c:pt>
                <c:pt idx="7380">
                  <c:v>17799</c:v>
                </c:pt>
                <c:pt idx="7381">
                  <c:v>17846</c:v>
                </c:pt>
                <c:pt idx="7382">
                  <c:v>17586</c:v>
                </c:pt>
                <c:pt idx="7383">
                  <c:v>17636</c:v>
                </c:pt>
                <c:pt idx="7384">
                  <c:v>17464</c:v>
                </c:pt>
                <c:pt idx="7385">
                  <c:v>17499</c:v>
                </c:pt>
                <c:pt idx="7386">
                  <c:v>18115</c:v>
                </c:pt>
                <c:pt idx="7387">
                  <c:v>18577</c:v>
                </c:pt>
                <c:pt idx="7388">
                  <c:v>18198</c:v>
                </c:pt>
                <c:pt idx="7389">
                  <c:v>17680</c:v>
                </c:pt>
                <c:pt idx="7390">
                  <c:v>17272</c:v>
                </c:pt>
                <c:pt idx="7391">
                  <c:v>16507</c:v>
                </c:pt>
                <c:pt idx="7392">
                  <c:v>15394</c:v>
                </c:pt>
                <c:pt idx="7393">
                  <c:v>14166</c:v>
                </c:pt>
                <c:pt idx="7394">
                  <c:v>13577</c:v>
                </c:pt>
                <c:pt idx="7395">
                  <c:v>13336</c:v>
                </c:pt>
                <c:pt idx="7396">
                  <c:v>13244</c:v>
                </c:pt>
                <c:pt idx="7397">
                  <c:v>13250</c:v>
                </c:pt>
                <c:pt idx="7398">
                  <c:v>13299</c:v>
                </c:pt>
                <c:pt idx="7399">
                  <c:v>14182</c:v>
                </c:pt>
                <c:pt idx="7400">
                  <c:v>16230</c:v>
                </c:pt>
                <c:pt idx="7401">
                  <c:v>17719</c:v>
                </c:pt>
                <c:pt idx="7402">
                  <c:v>18264</c:v>
                </c:pt>
                <c:pt idx="7403">
                  <c:v>18090</c:v>
                </c:pt>
                <c:pt idx="7404">
                  <c:v>17950</c:v>
                </c:pt>
                <c:pt idx="7405">
                  <c:v>18010</c:v>
                </c:pt>
                <c:pt idx="7406">
                  <c:v>18018</c:v>
                </c:pt>
                <c:pt idx="7407">
                  <c:v>17812</c:v>
                </c:pt>
                <c:pt idx="7408">
                  <c:v>17959</c:v>
                </c:pt>
                <c:pt idx="7409">
                  <c:v>18307</c:v>
                </c:pt>
                <c:pt idx="7410">
                  <c:v>18756</c:v>
                </c:pt>
                <c:pt idx="7411">
                  <c:v>19108</c:v>
                </c:pt>
                <c:pt idx="7412">
                  <c:v>18524</c:v>
                </c:pt>
                <c:pt idx="7413">
                  <c:v>17750</c:v>
                </c:pt>
                <c:pt idx="7414">
                  <c:v>17341</c:v>
                </c:pt>
                <c:pt idx="7415">
                  <c:v>16226</c:v>
                </c:pt>
                <c:pt idx="7416">
                  <c:v>15232</c:v>
                </c:pt>
                <c:pt idx="7417">
                  <c:v>14029</c:v>
                </c:pt>
                <c:pt idx="7418">
                  <c:v>13268</c:v>
                </c:pt>
                <c:pt idx="7419">
                  <c:v>13037</c:v>
                </c:pt>
                <c:pt idx="7420">
                  <c:v>12906</c:v>
                </c:pt>
                <c:pt idx="7421">
                  <c:v>12874</c:v>
                </c:pt>
                <c:pt idx="7422">
                  <c:v>12953</c:v>
                </c:pt>
                <c:pt idx="7423">
                  <c:v>13657</c:v>
                </c:pt>
                <c:pt idx="7424">
                  <c:v>15499</c:v>
                </c:pt>
                <c:pt idx="7425">
                  <c:v>17082</c:v>
                </c:pt>
                <c:pt idx="7426">
                  <c:v>17435</c:v>
                </c:pt>
                <c:pt idx="7427">
                  <c:v>17475</c:v>
                </c:pt>
                <c:pt idx="7428">
                  <c:v>17399</c:v>
                </c:pt>
                <c:pt idx="7429">
                  <c:v>17401</c:v>
                </c:pt>
                <c:pt idx="7430">
                  <c:v>17207</c:v>
                </c:pt>
                <c:pt idx="7431">
                  <c:v>17063</c:v>
                </c:pt>
                <c:pt idx="7432">
                  <c:v>16982</c:v>
                </c:pt>
                <c:pt idx="7433">
                  <c:v>16837</c:v>
                </c:pt>
                <c:pt idx="7434">
                  <c:v>17420</c:v>
                </c:pt>
                <c:pt idx="7435">
                  <c:v>17367</c:v>
                </c:pt>
                <c:pt idx="7436">
                  <c:v>17020</c:v>
                </c:pt>
                <c:pt idx="7437">
                  <c:v>16507</c:v>
                </c:pt>
                <c:pt idx="7438">
                  <c:v>15614</c:v>
                </c:pt>
                <c:pt idx="7439">
                  <c:v>14714</c:v>
                </c:pt>
                <c:pt idx="7440">
                  <c:v>14194</c:v>
                </c:pt>
                <c:pt idx="7441">
                  <c:v>13417</c:v>
                </c:pt>
                <c:pt idx="7442">
                  <c:v>12811</c:v>
                </c:pt>
                <c:pt idx="7443">
                  <c:v>12524</c:v>
                </c:pt>
                <c:pt idx="7444">
                  <c:v>12245</c:v>
                </c:pt>
                <c:pt idx="7445">
                  <c:v>12127</c:v>
                </c:pt>
                <c:pt idx="7446">
                  <c:v>12263</c:v>
                </c:pt>
                <c:pt idx="7447">
                  <c:v>12546</c:v>
                </c:pt>
                <c:pt idx="7448">
                  <c:v>13215</c:v>
                </c:pt>
                <c:pt idx="7449">
                  <c:v>13351</c:v>
                </c:pt>
                <c:pt idx="7450">
                  <c:v>14004</c:v>
                </c:pt>
                <c:pt idx="7451">
                  <c:v>14733</c:v>
                </c:pt>
                <c:pt idx="7452">
                  <c:v>15321</c:v>
                </c:pt>
                <c:pt idx="7453">
                  <c:v>15557</c:v>
                </c:pt>
                <c:pt idx="7454">
                  <c:v>15629</c:v>
                </c:pt>
                <c:pt idx="7455">
                  <c:v>15394</c:v>
                </c:pt>
                <c:pt idx="7456">
                  <c:v>15237</c:v>
                </c:pt>
                <c:pt idx="7457">
                  <c:v>15171</c:v>
                </c:pt>
                <c:pt idx="7458">
                  <c:v>16000</c:v>
                </c:pt>
                <c:pt idx="7459">
                  <c:v>16166</c:v>
                </c:pt>
                <c:pt idx="7460">
                  <c:v>15468</c:v>
                </c:pt>
                <c:pt idx="7461">
                  <c:v>14963</c:v>
                </c:pt>
                <c:pt idx="7462">
                  <c:v>14469</c:v>
                </c:pt>
                <c:pt idx="7463">
                  <c:v>13814</c:v>
                </c:pt>
                <c:pt idx="7464">
                  <c:v>13136</c:v>
                </c:pt>
                <c:pt idx="7465">
                  <c:v>12401</c:v>
                </c:pt>
                <c:pt idx="7466">
                  <c:v>11946</c:v>
                </c:pt>
                <c:pt idx="7467">
                  <c:v>11815</c:v>
                </c:pt>
                <c:pt idx="7468">
                  <c:v>11836</c:v>
                </c:pt>
                <c:pt idx="7469">
                  <c:v>11808</c:v>
                </c:pt>
                <c:pt idx="7470">
                  <c:v>11846</c:v>
                </c:pt>
                <c:pt idx="7471">
                  <c:v>11945</c:v>
                </c:pt>
                <c:pt idx="7472">
                  <c:v>12253</c:v>
                </c:pt>
                <c:pt idx="7473">
                  <c:v>12508</c:v>
                </c:pt>
                <c:pt idx="7474">
                  <c:v>13038</c:v>
                </c:pt>
                <c:pt idx="7475">
                  <c:v>13995</c:v>
                </c:pt>
                <c:pt idx="7476">
                  <c:v>14323</c:v>
                </c:pt>
                <c:pt idx="7477">
                  <c:v>14751</c:v>
                </c:pt>
                <c:pt idx="7478">
                  <c:v>14875</c:v>
                </c:pt>
                <c:pt idx="7479">
                  <c:v>14761</c:v>
                </c:pt>
                <c:pt idx="7480">
                  <c:v>14771</c:v>
                </c:pt>
                <c:pt idx="7481">
                  <c:v>15056</c:v>
                </c:pt>
                <c:pt idx="7482">
                  <c:v>16332</c:v>
                </c:pt>
                <c:pt idx="7483">
                  <c:v>16657</c:v>
                </c:pt>
                <c:pt idx="7484">
                  <c:v>16702</c:v>
                </c:pt>
                <c:pt idx="7485">
                  <c:v>16547</c:v>
                </c:pt>
                <c:pt idx="7486">
                  <c:v>15943</c:v>
                </c:pt>
                <c:pt idx="7487">
                  <c:v>14943</c:v>
                </c:pt>
                <c:pt idx="7488">
                  <c:v>14227</c:v>
                </c:pt>
                <c:pt idx="7489">
                  <c:v>13247</c:v>
                </c:pt>
                <c:pt idx="7490">
                  <c:v>12661</c:v>
                </c:pt>
                <c:pt idx="7491">
                  <c:v>12460</c:v>
                </c:pt>
                <c:pt idx="7492">
                  <c:v>12391</c:v>
                </c:pt>
                <c:pt idx="7493">
                  <c:v>12652</c:v>
                </c:pt>
                <c:pt idx="7494">
                  <c:v>13057</c:v>
                </c:pt>
                <c:pt idx="7495">
                  <c:v>13714</c:v>
                </c:pt>
                <c:pt idx="7496">
                  <c:v>15751</c:v>
                </c:pt>
                <c:pt idx="7497">
                  <c:v>17331</c:v>
                </c:pt>
                <c:pt idx="7498">
                  <c:v>17718</c:v>
                </c:pt>
                <c:pt idx="7499">
                  <c:v>17859</c:v>
                </c:pt>
                <c:pt idx="7500">
                  <c:v>17615</c:v>
                </c:pt>
                <c:pt idx="7501">
                  <c:v>17557</c:v>
                </c:pt>
                <c:pt idx="7502">
                  <c:v>17438</c:v>
                </c:pt>
                <c:pt idx="7503">
                  <c:v>17340</c:v>
                </c:pt>
                <c:pt idx="7504">
                  <c:v>17429</c:v>
                </c:pt>
                <c:pt idx="7505">
                  <c:v>17845</c:v>
                </c:pt>
                <c:pt idx="7506">
                  <c:v>18513</c:v>
                </c:pt>
                <c:pt idx="7507">
                  <c:v>18851</c:v>
                </c:pt>
                <c:pt idx="7508">
                  <c:v>18578</c:v>
                </c:pt>
                <c:pt idx="7509">
                  <c:v>17936</c:v>
                </c:pt>
                <c:pt idx="7510">
                  <c:v>17209</c:v>
                </c:pt>
                <c:pt idx="7511">
                  <c:v>16265</c:v>
                </c:pt>
                <c:pt idx="7512">
                  <c:v>15028</c:v>
                </c:pt>
                <c:pt idx="7513">
                  <c:v>14147</c:v>
                </c:pt>
                <c:pt idx="7514">
                  <c:v>13473</c:v>
                </c:pt>
                <c:pt idx="7515">
                  <c:v>13241</c:v>
                </c:pt>
                <c:pt idx="7516">
                  <c:v>13185</c:v>
                </c:pt>
                <c:pt idx="7517">
                  <c:v>13265</c:v>
                </c:pt>
                <c:pt idx="7518">
                  <c:v>13270</c:v>
                </c:pt>
                <c:pt idx="7519">
                  <c:v>14096</c:v>
                </c:pt>
                <c:pt idx="7520">
                  <c:v>15752</c:v>
                </c:pt>
                <c:pt idx="7521">
                  <c:v>17129</c:v>
                </c:pt>
                <c:pt idx="7522">
                  <c:v>17226</c:v>
                </c:pt>
                <c:pt idx="7523">
                  <c:v>17542</c:v>
                </c:pt>
                <c:pt idx="7524">
                  <c:v>18001</c:v>
                </c:pt>
                <c:pt idx="7525">
                  <c:v>18077</c:v>
                </c:pt>
                <c:pt idx="7526">
                  <c:v>17677</c:v>
                </c:pt>
                <c:pt idx="7527">
                  <c:v>17145</c:v>
                </c:pt>
                <c:pt idx="7528">
                  <c:v>17499</c:v>
                </c:pt>
                <c:pt idx="7529">
                  <c:v>17861</c:v>
                </c:pt>
                <c:pt idx="7530">
                  <c:v>18614</c:v>
                </c:pt>
                <c:pt idx="7531">
                  <c:v>18551</c:v>
                </c:pt>
                <c:pt idx="7532">
                  <c:v>18151</c:v>
                </c:pt>
                <c:pt idx="7533">
                  <c:v>17943</c:v>
                </c:pt>
                <c:pt idx="7534">
                  <c:v>17381</c:v>
                </c:pt>
                <c:pt idx="7535">
                  <c:v>16340</c:v>
                </c:pt>
                <c:pt idx="7536">
                  <c:v>15205</c:v>
                </c:pt>
                <c:pt idx="7537">
                  <c:v>14032</c:v>
                </c:pt>
                <c:pt idx="7538">
                  <c:v>13488</c:v>
                </c:pt>
                <c:pt idx="7539">
                  <c:v>12887</c:v>
                </c:pt>
                <c:pt idx="7540">
                  <c:v>12721</c:v>
                </c:pt>
                <c:pt idx="7541">
                  <c:v>12764</c:v>
                </c:pt>
                <c:pt idx="7542">
                  <c:v>13034</c:v>
                </c:pt>
                <c:pt idx="7543">
                  <c:v>13775</c:v>
                </c:pt>
                <c:pt idx="7544">
                  <c:v>15873</c:v>
                </c:pt>
                <c:pt idx="7545">
                  <c:v>17030</c:v>
                </c:pt>
                <c:pt idx="7546">
                  <c:v>17326</c:v>
                </c:pt>
                <c:pt idx="7547">
                  <c:v>17218</c:v>
                </c:pt>
                <c:pt idx="7548">
                  <c:v>17589</c:v>
                </c:pt>
                <c:pt idx="7549">
                  <c:v>17575</c:v>
                </c:pt>
                <c:pt idx="7550">
                  <c:v>17408</c:v>
                </c:pt>
                <c:pt idx="7551">
                  <c:v>17020</c:v>
                </c:pt>
                <c:pt idx="7552">
                  <c:v>17449</c:v>
                </c:pt>
                <c:pt idx="7553">
                  <c:v>17837</c:v>
                </c:pt>
                <c:pt idx="7554">
                  <c:v>18483</c:v>
                </c:pt>
                <c:pt idx="7555">
                  <c:v>19064</c:v>
                </c:pt>
                <c:pt idx="7556">
                  <c:v>18590</c:v>
                </c:pt>
                <c:pt idx="7557">
                  <c:v>18111</c:v>
                </c:pt>
                <c:pt idx="7558">
                  <c:v>17253</c:v>
                </c:pt>
                <c:pt idx="7559">
                  <c:v>16389</c:v>
                </c:pt>
                <c:pt idx="7560">
                  <c:v>15631</c:v>
                </c:pt>
                <c:pt idx="7561">
                  <c:v>14528</c:v>
                </c:pt>
                <c:pt idx="7562">
                  <c:v>13774</c:v>
                </c:pt>
                <c:pt idx="7563">
                  <c:v>13579</c:v>
                </c:pt>
                <c:pt idx="7564">
                  <c:v>13498</c:v>
                </c:pt>
                <c:pt idx="7565">
                  <c:v>13407</c:v>
                </c:pt>
                <c:pt idx="7566">
                  <c:v>13636</c:v>
                </c:pt>
                <c:pt idx="7567">
                  <c:v>14592</c:v>
                </c:pt>
                <c:pt idx="7568">
                  <c:v>16433</c:v>
                </c:pt>
                <c:pt idx="7569">
                  <c:v>17898</c:v>
                </c:pt>
                <c:pt idx="7570">
                  <c:v>17840</c:v>
                </c:pt>
                <c:pt idx="7571">
                  <c:v>17872</c:v>
                </c:pt>
                <c:pt idx="7572">
                  <c:v>17698</c:v>
                </c:pt>
                <c:pt idx="7573">
                  <c:v>17547</c:v>
                </c:pt>
                <c:pt idx="7574">
                  <c:v>17436</c:v>
                </c:pt>
                <c:pt idx="7575">
                  <c:v>17233</c:v>
                </c:pt>
                <c:pt idx="7576">
                  <c:v>17608</c:v>
                </c:pt>
                <c:pt idx="7577">
                  <c:v>18307</c:v>
                </c:pt>
                <c:pt idx="7578">
                  <c:v>19095</c:v>
                </c:pt>
                <c:pt idx="7579">
                  <c:v>19606</c:v>
                </c:pt>
                <c:pt idx="7580">
                  <c:v>19355</c:v>
                </c:pt>
                <c:pt idx="7581">
                  <c:v>18597</c:v>
                </c:pt>
                <c:pt idx="7582">
                  <c:v>17921</c:v>
                </c:pt>
                <c:pt idx="7583">
                  <c:v>17216</c:v>
                </c:pt>
                <c:pt idx="7584">
                  <c:v>16243</c:v>
                </c:pt>
                <c:pt idx="7585">
                  <c:v>15219</c:v>
                </c:pt>
                <c:pt idx="7586">
                  <c:v>14389</c:v>
                </c:pt>
                <c:pt idx="7587">
                  <c:v>13967</c:v>
                </c:pt>
                <c:pt idx="7588">
                  <c:v>13740</c:v>
                </c:pt>
                <c:pt idx="7589">
                  <c:v>13712</c:v>
                </c:pt>
                <c:pt idx="7590">
                  <c:v>13676</c:v>
                </c:pt>
                <c:pt idx="7591">
                  <c:v>14218</c:v>
                </c:pt>
                <c:pt idx="7592">
                  <c:v>16030</c:v>
                </c:pt>
                <c:pt idx="7593">
                  <c:v>17830</c:v>
                </c:pt>
                <c:pt idx="7594">
                  <c:v>18099</c:v>
                </c:pt>
                <c:pt idx="7595">
                  <c:v>18168</c:v>
                </c:pt>
                <c:pt idx="7596">
                  <c:v>18468</c:v>
                </c:pt>
                <c:pt idx="7597">
                  <c:v>18543</c:v>
                </c:pt>
                <c:pt idx="7598">
                  <c:v>18433</c:v>
                </c:pt>
                <c:pt idx="7599">
                  <c:v>18264</c:v>
                </c:pt>
                <c:pt idx="7600">
                  <c:v>17872</c:v>
                </c:pt>
                <c:pt idx="7601">
                  <c:v>17768</c:v>
                </c:pt>
                <c:pt idx="7602">
                  <c:v>18239</c:v>
                </c:pt>
                <c:pt idx="7603">
                  <c:v>18356</c:v>
                </c:pt>
                <c:pt idx="7604">
                  <c:v>17920</c:v>
                </c:pt>
                <c:pt idx="7605">
                  <c:v>17153</c:v>
                </c:pt>
                <c:pt idx="7606">
                  <c:v>16354</c:v>
                </c:pt>
                <c:pt idx="7607">
                  <c:v>15771</c:v>
                </c:pt>
                <c:pt idx="7608">
                  <c:v>14789</c:v>
                </c:pt>
                <c:pt idx="7609">
                  <c:v>14124</c:v>
                </c:pt>
                <c:pt idx="7610">
                  <c:v>13600</c:v>
                </c:pt>
                <c:pt idx="7611">
                  <c:v>13294</c:v>
                </c:pt>
                <c:pt idx="7612">
                  <c:v>13174</c:v>
                </c:pt>
                <c:pt idx="7613">
                  <c:v>13141</c:v>
                </c:pt>
                <c:pt idx="7614">
                  <c:v>13195</c:v>
                </c:pt>
                <c:pt idx="7615">
                  <c:v>13062</c:v>
                </c:pt>
                <c:pt idx="7616">
                  <c:v>13853</c:v>
                </c:pt>
                <c:pt idx="7617">
                  <c:v>14338</c:v>
                </c:pt>
                <c:pt idx="7618">
                  <c:v>15101</c:v>
                </c:pt>
                <c:pt idx="7619">
                  <c:v>15885</c:v>
                </c:pt>
                <c:pt idx="7620">
                  <c:v>16064</c:v>
                </c:pt>
                <c:pt idx="7621">
                  <c:v>16034</c:v>
                </c:pt>
                <c:pt idx="7622">
                  <c:v>15839</c:v>
                </c:pt>
                <c:pt idx="7623">
                  <c:v>15765</c:v>
                </c:pt>
                <c:pt idx="7624">
                  <c:v>15881</c:v>
                </c:pt>
                <c:pt idx="7625">
                  <c:v>16580</c:v>
                </c:pt>
                <c:pt idx="7626">
                  <c:v>17456</c:v>
                </c:pt>
                <c:pt idx="7627">
                  <c:v>17700</c:v>
                </c:pt>
                <c:pt idx="7628">
                  <c:v>17370</c:v>
                </c:pt>
                <c:pt idx="7629">
                  <c:v>16939</c:v>
                </c:pt>
                <c:pt idx="7630">
                  <c:v>16454</c:v>
                </c:pt>
                <c:pt idx="7631">
                  <c:v>15747</c:v>
                </c:pt>
                <c:pt idx="7632">
                  <c:v>14990</c:v>
                </c:pt>
                <c:pt idx="7633">
                  <c:v>14342</c:v>
                </c:pt>
                <c:pt idx="7634">
                  <c:v>13618</c:v>
                </c:pt>
                <c:pt idx="7635">
                  <c:v>13450</c:v>
                </c:pt>
                <c:pt idx="7636">
                  <c:v>13404</c:v>
                </c:pt>
                <c:pt idx="7637">
                  <c:v>13417</c:v>
                </c:pt>
                <c:pt idx="7638">
                  <c:v>13505</c:v>
                </c:pt>
                <c:pt idx="7639">
                  <c:v>13570</c:v>
                </c:pt>
                <c:pt idx="7640">
                  <c:v>13907</c:v>
                </c:pt>
                <c:pt idx="7641">
                  <c:v>14440</c:v>
                </c:pt>
                <c:pt idx="7642">
                  <c:v>14876</c:v>
                </c:pt>
                <c:pt idx="7643">
                  <c:v>15585</c:v>
                </c:pt>
                <c:pt idx="7644">
                  <c:v>16018</c:v>
                </c:pt>
                <c:pt idx="7645">
                  <c:v>16386</c:v>
                </c:pt>
                <c:pt idx="7646">
                  <c:v>16297</c:v>
                </c:pt>
                <c:pt idx="7647">
                  <c:v>16136</c:v>
                </c:pt>
                <c:pt idx="7648">
                  <c:v>16289</c:v>
                </c:pt>
                <c:pt idx="7649">
                  <c:v>16732</c:v>
                </c:pt>
                <c:pt idx="7650">
                  <c:v>17601</c:v>
                </c:pt>
                <c:pt idx="7651">
                  <c:v>17851</c:v>
                </c:pt>
                <c:pt idx="7652">
                  <c:v>17746</c:v>
                </c:pt>
                <c:pt idx="7653">
                  <c:v>17453</c:v>
                </c:pt>
                <c:pt idx="7654">
                  <c:v>16815</c:v>
                </c:pt>
                <c:pt idx="7655">
                  <c:v>16038</c:v>
                </c:pt>
                <c:pt idx="7656">
                  <c:v>15245</c:v>
                </c:pt>
                <c:pt idx="7657">
                  <c:v>14530</c:v>
                </c:pt>
                <c:pt idx="7658">
                  <c:v>14038</c:v>
                </c:pt>
                <c:pt idx="7659">
                  <c:v>13994</c:v>
                </c:pt>
                <c:pt idx="7660">
                  <c:v>13908</c:v>
                </c:pt>
                <c:pt idx="7661">
                  <c:v>13924</c:v>
                </c:pt>
                <c:pt idx="7662">
                  <c:v>14294</c:v>
                </c:pt>
                <c:pt idx="7663">
                  <c:v>15144</c:v>
                </c:pt>
                <c:pt idx="7664">
                  <c:v>17139</c:v>
                </c:pt>
                <c:pt idx="7665">
                  <c:v>19050</c:v>
                </c:pt>
                <c:pt idx="7666">
                  <c:v>19347</c:v>
                </c:pt>
                <c:pt idx="7667">
                  <c:v>18743</c:v>
                </c:pt>
                <c:pt idx="7668">
                  <c:v>18817</c:v>
                </c:pt>
                <c:pt idx="7669">
                  <c:v>19042</c:v>
                </c:pt>
                <c:pt idx="7670">
                  <c:v>19056</c:v>
                </c:pt>
                <c:pt idx="7671">
                  <c:v>18883</c:v>
                </c:pt>
                <c:pt idx="7672">
                  <c:v>18760</c:v>
                </c:pt>
                <c:pt idx="7673">
                  <c:v>19018</c:v>
                </c:pt>
                <c:pt idx="7674">
                  <c:v>19281</c:v>
                </c:pt>
                <c:pt idx="7675">
                  <c:v>19472</c:v>
                </c:pt>
                <c:pt idx="7676">
                  <c:v>19183</c:v>
                </c:pt>
                <c:pt idx="7677">
                  <c:v>18555</c:v>
                </c:pt>
                <c:pt idx="7678">
                  <c:v>17900</c:v>
                </c:pt>
                <c:pt idx="7679">
                  <c:v>16799</c:v>
                </c:pt>
                <c:pt idx="7680">
                  <c:v>15965</c:v>
                </c:pt>
                <c:pt idx="7681">
                  <c:v>14952</c:v>
                </c:pt>
                <c:pt idx="7682">
                  <c:v>14005</c:v>
                </c:pt>
                <c:pt idx="7683">
                  <c:v>13865</c:v>
                </c:pt>
                <c:pt idx="7684">
                  <c:v>13920</c:v>
                </c:pt>
                <c:pt idx="7685">
                  <c:v>14041</c:v>
                </c:pt>
                <c:pt idx="7686">
                  <c:v>14184</c:v>
                </c:pt>
                <c:pt idx="7687">
                  <c:v>14898</c:v>
                </c:pt>
                <c:pt idx="7688">
                  <c:v>17154</c:v>
                </c:pt>
                <c:pt idx="7689">
                  <c:v>18802</c:v>
                </c:pt>
                <c:pt idx="7690">
                  <c:v>19050</c:v>
                </c:pt>
                <c:pt idx="7691">
                  <c:v>19031</c:v>
                </c:pt>
                <c:pt idx="7692">
                  <c:v>18896</c:v>
                </c:pt>
                <c:pt idx="7693">
                  <c:v>18753</c:v>
                </c:pt>
                <c:pt idx="7694">
                  <c:v>18686</c:v>
                </c:pt>
                <c:pt idx="7695">
                  <c:v>18538</c:v>
                </c:pt>
                <c:pt idx="7696">
                  <c:v>18577</c:v>
                </c:pt>
                <c:pt idx="7697">
                  <c:v>19164</c:v>
                </c:pt>
                <c:pt idx="7698">
                  <c:v>19178</c:v>
                </c:pt>
                <c:pt idx="7699">
                  <c:v>19533</c:v>
                </c:pt>
                <c:pt idx="7700">
                  <c:v>18905</c:v>
                </c:pt>
                <c:pt idx="7701">
                  <c:v>18734</c:v>
                </c:pt>
                <c:pt idx="7702">
                  <c:v>18172</c:v>
                </c:pt>
                <c:pt idx="7703">
                  <c:v>17043</c:v>
                </c:pt>
                <c:pt idx="7704">
                  <c:v>16123</c:v>
                </c:pt>
                <c:pt idx="7705">
                  <c:v>15098</c:v>
                </c:pt>
                <c:pt idx="7706">
                  <c:v>14266</c:v>
                </c:pt>
                <c:pt idx="7707">
                  <c:v>13842</c:v>
                </c:pt>
                <c:pt idx="7708">
                  <c:v>13697</c:v>
                </c:pt>
                <c:pt idx="7709">
                  <c:v>13789</c:v>
                </c:pt>
                <c:pt idx="7710">
                  <c:v>14039</c:v>
                </c:pt>
                <c:pt idx="7711">
                  <c:v>15002</c:v>
                </c:pt>
                <c:pt idx="7712">
                  <c:v>16797</c:v>
                </c:pt>
                <c:pt idx="7713">
                  <c:v>18357</c:v>
                </c:pt>
                <c:pt idx="7714">
                  <c:v>18795</c:v>
                </c:pt>
                <c:pt idx="7715">
                  <c:v>18871</c:v>
                </c:pt>
                <c:pt idx="7716">
                  <c:v>18614</c:v>
                </c:pt>
                <c:pt idx="7717">
                  <c:v>18884</c:v>
                </c:pt>
                <c:pt idx="7718">
                  <c:v>18518</c:v>
                </c:pt>
                <c:pt idx="7719">
                  <c:v>18456</c:v>
                </c:pt>
                <c:pt idx="7720">
                  <c:v>18262</c:v>
                </c:pt>
                <c:pt idx="7721">
                  <c:v>18824</c:v>
                </c:pt>
                <c:pt idx="7722">
                  <c:v>19612</c:v>
                </c:pt>
                <c:pt idx="7723">
                  <c:v>19751</c:v>
                </c:pt>
                <c:pt idx="7724">
                  <c:v>19234</c:v>
                </c:pt>
                <c:pt idx="7725">
                  <c:v>18788</c:v>
                </c:pt>
                <c:pt idx="7726">
                  <c:v>18199</c:v>
                </c:pt>
                <c:pt idx="7727">
                  <c:v>17215</c:v>
                </c:pt>
                <c:pt idx="7728">
                  <c:v>15908</c:v>
                </c:pt>
                <c:pt idx="7729">
                  <c:v>14861</c:v>
                </c:pt>
                <c:pt idx="7730">
                  <c:v>14029</c:v>
                </c:pt>
                <c:pt idx="7731">
                  <c:v>13666</c:v>
                </c:pt>
                <c:pt idx="7732">
                  <c:v>13601</c:v>
                </c:pt>
                <c:pt idx="7733">
                  <c:v>13537</c:v>
                </c:pt>
                <c:pt idx="7734">
                  <c:v>13676</c:v>
                </c:pt>
                <c:pt idx="7735">
                  <c:v>14551</c:v>
                </c:pt>
                <c:pt idx="7736">
                  <c:v>16481</c:v>
                </c:pt>
                <c:pt idx="7737">
                  <c:v>18214</c:v>
                </c:pt>
                <c:pt idx="7738">
                  <c:v>18226</c:v>
                </c:pt>
                <c:pt idx="7739">
                  <c:v>18458</c:v>
                </c:pt>
                <c:pt idx="7740">
                  <c:v>18633</c:v>
                </c:pt>
                <c:pt idx="7741">
                  <c:v>18525</c:v>
                </c:pt>
                <c:pt idx="7742">
                  <c:v>18527</c:v>
                </c:pt>
                <c:pt idx="7743">
                  <c:v>18587</c:v>
                </c:pt>
                <c:pt idx="7744">
                  <c:v>18701</c:v>
                </c:pt>
                <c:pt idx="7745">
                  <c:v>19174</c:v>
                </c:pt>
                <c:pt idx="7746">
                  <c:v>19520</c:v>
                </c:pt>
                <c:pt idx="7747">
                  <c:v>19584</c:v>
                </c:pt>
                <c:pt idx="7748">
                  <c:v>19335</c:v>
                </c:pt>
                <c:pt idx="7749">
                  <c:v>18690</c:v>
                </c:pt>
                <c:pt idx="7750">
                  <c:v>17981</c:v>
                </c:pt>
                <c:pt idx="7751">
                  <c:v>17356</c:v>
                </c:pt>
                <c:pt idx="7752">
                  <c:v>16309</c:v>
                </c:pt>
                <c:pt idx="7753">
                  <c:v>15263</c:v>
                </c:pt>
                <c:pt idx="7754">
                  <c:v>15032</c:v>
                </c:pt>
                <c:pt idx="7755">
                  <c:v>14660</c:v>
                </c:pt>
                <c:pt idx="7756">
                  <c:v>14460</c:v>
                </c:pt>
                <c:pt idx="7757">
                  <c:v>14564</c:v>
                </c:pt>
                <c:pt idx="7758">
                  <c:v>14771</c:v>
                </c:pt>
                <c:pt idx="7759">
                  <c:v>15905</c:v>
                </c:pt>
                <c:pt idx="7760">
                  <c:v>17668</c:v>
                </c:pt>
                <c:pt idx="7761">
                  <c:v>19719</c:v>
                </c:pt>
                <c:pt idx="7762">
                  <c:v>19928</c:v>
                </c:pt>
                <c:pt idx="7763">
                  <c:v>20511</c:v>
                </c:pt>
                <c:pt idx="7764">
                  <c:v>20625</c:v>
                </c:pt>
                <c:pt idx="7765">
                  <c:v>20012</c:v>
                </c:pt>
                <c:pt idx="7766">
                  <c:v>19738</c:v>
                </c:pt>
                <c:pt idx="7767">
                  <c:v>19638</c:v>
                </c:pt>
                <c:pt idx="7768">
                  <c:v>19615</c:v>
                </c:pt>
                <c:pt idx="7769">
                  <c:v>19979</c:v>
                </c:pt>
                <c:pt idx="7770">
                  <c:v>20655</c:v>
                </c:pt>
                <c:pt idx="7771">
                  <c:v>20659</c:v>
                </c:pt>
                <c:pt idx="7772">
                  <c:v>20371</c:v>
                </c:pt>
                <c:pt idx="7773">
                  <c:v>19771</c:v>
                </c:pt>
                <c:pt idx="7774">
                  <c:v>19011</c:v>
                </c:pt>
                <c:pt idx="7775">
                  <c:v>17982</c:v>
                </c:pt>
                <c:pt idx="7776">
                  <c:v>17089</c:v>
                </c:pt>
                <c:pt idx="7777">
                  <c:v>16220</c:v>
                </c:pt>
                <c:pt idx="7778">
                  <c:v>15839</c:v>
                </c:pt>
                <c:pt idx="7779">
                  <c:v>15657</c:v>
                </c:pt>
                <c:pt idx="7780">
                  <c:v>15375</c:v>
                </c:pt>
                <c:pt idx="7781">
                  <c:v>15297</c:v>
                </c:pt>
                <c:pt idx="7782">
                  <c:v>15275</c:v>
                </c:pt>
                <c:pt idx="7783">
                  <c:v>15540</c:v>
                </c:pt>
                <c:pt idx="7784">
                  <c:v>16096</c:v>
                </c:pt>
                <c:pt idx="7785">
                  <c:v>17226</c:v>
                </c:pt>
                <c:pt idx="7786">
                  <c:v>17843</c:v>
                </c:pt>
                <c:pt idx="7787">
                  <c:v>18488</c:v>
                </c:pt>
                <c:pt idx="7788">
                  <c:v>18988</c:v>
                </c:pt>
                <c:pt idx="7789">
                  <c:v>19024</c:v>
                </c:pt>
                <c:pt idx="7790">
                  <c:v>18840</c:v>
                </c:pt>
                <c:pt idx="7791">
                  <c:v>18636</c:v>
                </c:pt>
                <c:pt idx="7792">
                  <c:v>18672</c:v>
                </c:pt>
                <c:pt idx="7793">
                  <c:v>18584</c:v>
                </c:pt>
                <c:pt idx="7794">
                  <c:v>18885</c:v>
                </c:pt>
                <c:pt idx="7795">
                  <c:v>18905</c:v>
                </c:pt>
                <c:pt idx="7796">
                  <c:v>19317</c:v>
                </c:pt>
                <c:pt idx="7797">
                  <c:v>18678</c:v>
                </c:pt>
                <c:pt idx="7798">
                  <c:v>18233</c:v>
                </c:pt>
                <c:pt idx="7799">
                  <c:v>17533</c:v>
                </c:pt>
                <c:pt idx="7800">
                  <c:v>16679</c:v>
                </c:pt>
                <c:pt idx="7801">
                  <c:v>16029</c:v>
                </c:pt>
                <c:pt idx="7802">
                  <c:v>15640</c:v>
                </c:pt>
                <c:pt idx="7803">
                  <c:v>15310</c:v>
                </c:pt>
                <c:pt idx="7804">
                  <c:v>15282</c:v>
                </c:pt>
                <c:pt idx="7805">
                  <c:v>15232</c:v>
                </c:pt>
                <c:pt idx="7806">
                  <c:v>15257</c:v>
                </c:pt>
                <c:pt idx="7807">
                  <c:v>15362</c:v>
                </c:pt>
                <c:pt idx="7808">
                  <c:v>15769</c:v>
                </c:pt>
                <c:pt idx="7809">
                  <c:v>16461</c:v>
                </c:pt>
                <c:pt idx="7810">
                  <c:v>17041</c:v>
                </c:pt>
                <c:pt idx="7811">
                  <c:v>17907</c:v>
                </c:pt>
                <c:pt idx="7812">
                  <c:v>18362</c:v>
                </c:pt>
                <c:pt idx="7813">
                  <c:v>18438</c:v>
                </c:pt>
                <c:pt idx="7814">
                  <c:v>18609</c:v>
                </c:pt>
                <c:pt idx="7815">
                  <c:v>18616</c:v>
                </c:pt>
                <c:pt idx="7816">
                  <c:v>18675</c:v>
                </c:pt>
                <c:pt idx="7817">
                  <c:v>19262</c:v>
                </c:pt>
                <c:pt idx="7818">
                  <c:v>20349</c:v>
                </c:pt>
                <c:pt idx="7819">
                  <c:v>20629</c:v>
                </c:pt>
                <c:pt idx="7820">
                  <c:v>20648</c:v>
                </c:pt>
                <c:pt idx="7821">
                  <c:v>20497</c:v>
                </c:pt>
                <c:pt idx="7822">
                  <c:v>19881</c:v>
                </c:pt>
                <c:pt idx="7823">
                  <c:v>19397</c:v>
                </c:pt>
                <c:pt idx="7824">
                  <c:v>18689</c:v>
                </c:pt>
                <c:pt idx="7825">
                  <c:v>17995</c:v>
                </c:pt>
                <c:pt idx="7826">
                  <c:v>17056</c:v>
                </c:pt>
                <c:pt idx="7827">
                  <c:v>17134</c:v>
                </c:pt>
                <c:pt idx="7828">
                  <c:v>17169</c:v>
                </c:pt>
                <c:pt idx="7829">
                  <c:v>17312</c:v>
                </c:pt>
                <c:pt idx="7830">
                  <c:v>17701</c:v>
                </c:pt>
                <c:pt idx="7831">
                  <c:v>18694</c:v>
                </c:pt>
                <c:pt idx="7832">
                  <c:v>21204</c:v>
                </c:pt>
                <c:pt idx="7833">
                  <c:v>22886</c:v>
                </c:pt>
                <c:pt idx="7834">
                  <c:v>22772</c:v>
                </c:pt>
                <c:pt idx="7835">
                  <c:v>22593</c:v>
                </c:pt>
                <c:pt idx="7836">
                  <c:v>22448</c:v>
                </c:pt>
                <c:pt idx="7837">
                  <c:v>22135</c:v>
                </c:pt>
                <c:pt idx="7838">
                  <c:v>21823</c:v>
                </c:pt>
                <c:pt idx="7839">
                  <c:v>21343</c:v>
                </c:pt>
                <c:pt idx="7840">
                  <c:v>21402</c:v>
                </c:pt>
                <c:pt idx="7841">
                  <c:v>21814</c:v>
                </c:pt>
                <c:pt idx="7842">
                  <c:v>22073</c:v>
                </c:pt>
                <c:pt idx="7843">
                  <c:v>22291</c:v>
                </c:pt>
                <c:pt idx="7844">
                  <c:v>21703</c:v>
                </c:pt>
                <c:pt idx="7845">
                  <c:v>20959</c:v>
                </c:pt>
                <c:pt idx="7846">
                  <c:v>20484</c:v>
                </c:pt>
                <c:pt idx="7847">
                  <c:v>19269</c:v>
                </c:pt>
                <c:pt idx="7848">
                  <c:v>18208</c:v>
                </c:pt>
                <c:pt idx="7849">
                  <c:v>16934</c:v>
                </c:pt>
                <c:pt idx="7850">
                  <c:v>15781</c:v>
                </c:pt>
                <c:pt idx="7851">
                  <c:v>15745</c:v>
                </c:pt>
                <c:pt idx="7852">
                  <c:v>15782</c:v>
                </c:pt>
                <c:pt idx="7853">
                  <c:v>15672</c:v>
                </c:pt>
                <c:pt idx="7854">
                  <c:v>15826</c:v>
                </c:pt>
                <c:pt idx="7855">
                  <c:v>16697</c:v>
                </c:pt>
                <c:pt idx="7856">
                  <c:v>18806</c:v>
                </c:pt>
                <c:pt idx="7857">
                  <c:v>20429</c:v>
                </c:pt>
                <c:pt idx="7858">
                  <c:v>20891</c:v>
                </c:pt>
                <c:pt idx="7859">
                  <c:v>20788</c:v>
                </c:pt>
                <c:pt idx="7860">
                  <c:v>21018</c:v>
                </c:pt>
                <c:pt idx="7861">
                  <c:v>20826</c:v>
                </c:pt>
                <c:pt idx="7862">
                  <c:v>20721</c:v>
                </c:pt>
                <c:pt idx="7863">
                  <c:v>20474</c:v>
                </c:pt>
                <c:pt idx="7864">
                  <c:v>20676</c:v>
                </c:pt>
                <c:pt idx="7865">
                  <c:v>21134</c:v>
                </c:pt>
                <c:pt idx="7866">
                  <c:v>21327</c:v>
                </c:pt>
                <c:pt idx="7867">
                  <c:v>21179</c:v>
                </c:pt>
                <c:pt idx="7868">
                  <c:v>20626</c:v>
                </c:pt>
                <c:pt idx="7869">
                  <c:v>20020</c:v>
                </c:pt>
                <c:pt idx="7870">
                  <c:v>19268</c:v>
                </c:pt>
                <c:pt idx="7871">
                  <c:v>18263</c:v>
                </c:pt>
                <c:pt idx="7872">
                  <c:v>17140</c:v>
                </c:pt>
                <c:pt idx="7873">
                  <c:v>16096</c:v>
                </c:pt>
                <c:pt idx="7874">
                  <c:v>15249</c:v>
                </c:pt>
                <c:pt idx="7875">
                  <c:v>14953</c:v>
                </c:pt>
                <c:pt idx="7876">
                  <c:v>14986</c:v>
                </c:pt>
                <c:pt idx="7877">
                  <c:v>14923</c:v>
                </c:pt>
                <c:pt idx="7878">
                  <c:v>15149</c:v>
                </c:pt>
                <c:pt idx="7879">
                  <c:v>15745</c:v>
                </c:pt>
                <c:pt idx="7880">
                  <c:v>18046</c:v>
                </c:pt>
                <c:pt idx="7881">
                  <c:v>19838</c:v>
                </c:pt>
                <c:pt idx="7882">
                  <c:v>20029</c:v>
                </c:pt>
                <c:pt idx="7883">
                  <c:v>19946</c:v>
                </c:pt>
                <c:pt idx="7884">
                  <c:v>20072</c:v>
                </c:pt>
                <c:pt idx="7885">
                  <c:v>19861</c:v>
                </c:pt>
                <c:pt idx="7886">
                  <c:v>19820</c:v>
                </c:pt>
                <c:pt idx="7887">
                  <c:v>20003</c:v>
                </c:pt>
                <c:pt idx="7888">
                  <c:v>20005</c:v>
                </c:pt>
                <c:pt idx="7889">
                  <c:v>20517</c:v>
                </c:pt>
                <c:pt idx="7890">
                  <c:v>20605</c:v>
                </c:pt>
                <c:pt idx="7891">
                  <c:v>20653</c:v>
                </c:pt>
                <c:pt idx="7892">
                  <c:v>20178</c:v>
                </c:pt>
                <c:pt idx="7893">
                  <c:v>19563</c:v>
                </c:pt>
                <c:pt idx="7894">
                  <c:v>18834</c:v>
                </c:pt>
                <c:pt idx="7895">
                  <c:v>18168</c:v>
                </c:pt>
                <c:pt idx="7896">
                  <c:v>17166</c:v>
                </c:pt>
                <c:pt idx="7897">
                  <c:v>15980</c:v>
                </c:pt>
                <c:pt idx="7898">
                  <c:v>15048</c:v>
                </c:pt>
                <c:pt idx="7899">
                  <c:v>14862</c:v>
                </c:pt>
                <c:pt idx="7900">
                  <c:v>14688</c:v>
                </c:pt>
                <c:pt idx="7901">
                  <c:v>14699</c:v>
                </c:pt>
                <c:pt idx="7902">
                  <c:v>14966</c:v>
                </c:pt>
                <c:pt idx="7903">
                  <c:v>15960</c:v>
                </c:pt>
                <c:pt idx="7904">
                  <c:v>17968</c:v>
                </c:pt>
                <c:pt idx="7905">
                  <c:v>19693</c:v>
                </c:pt>
                <c:pt idx="7906">
                  <c:v>20097</c:v>
                </c:pt>
                <c:pt idx="7907">
                  <c:v>20184</c:v>
                </c:pt>
                <c:pt idx="7908">
                  <c:v>20222</c:v>
                </c:pt>
                <c:pt idx="7909">
                  <c:v>20101</c:v>
                </c:pt>
                <c:pt idx="7910">
                  <c:v>19825</c:v>
                </c:pt>
                <c:pt idx="7911">
                  <c:v>19514</c:v>
                </c:pt>
                <c:pt idx="7912">
                  <c:v>19456</c:v>
                </c:pt>
                <c:pt idx="7913">
                  <c:v>19855</c:v>
                </c:pt>
                <c:pt idx="7914">
                  <c:v>20141</c:v>
                </c:pt>
                <c:pt idx="7915">
                  <c:v>20243</c:v>
                </c:pt>
                <c:pt idx="7916">
                  <c:v>19738</c:v>
                </c:pt>
                <c:pt idx="7917">
                  <c:v>19416</c:v>
                </c:pt>
                <c:pt idx="7918">
                  <c:v>18874</c:v>
                </c:pt>
                <c:pt idx="7919">
                  <c:v>17765</c:v>
                </c:pt>
                <c:pt idx="7920">
                  <c:v>16541</c:v>
                </c:pt>
                <c:pt idx="7921">
                  <c:v>15623</c:v>
                </c:pt>
                <c:pt idx="7922">
                  <c:v>14660</c:v>
                </c:pt>
                <c:pt idx="7923">
                  <c:v>14368</c:v>
                </c:pt>
                <c:pt idx="7924">
                  <c:v>14191</c:v>
                </c:pt>
                <c:pt idx="7925">
                  <c:v>14138</c:v>
                </c:pt>
                <c:pt idx="7926">
                  <c:v>14291</c:v>
                </c:pt>
                <c:pt idx="7927">
                  <c:v>14898</c:v>
                </c:pt>
                <c:pt idx="7928">
                  <c:v>17116</c:v>
                </c:pt>
                <c:pt idx="7929">
                  <c:v>18859</c:v>
                </c:pt>
                <c:pt idx="7930">
                  <c:v>19085</c:v>
                </c:pt>
                <c:pt idx="7931">
                  <c:v>19014</c:v>
                </c:pt>
                <c:pt idx="7932">
                  <c:v>19041</c:v>
                </c:pt>
                <c:pt idx="7933">
                  <c:v>18870</c:v>
                </c:pt>
                <c:pt idx="7934">
                  <c:v>18547</c:v>
                </c:pt>
                <c:pt idx="7935">
                  <c:v>18235</c:v>
                </c:pt>
                <c:pt idx="7936">
                  <c:v>18126</c:v>
                </c:pt>
                <c:pt idx="7937">
                  <c:v>18347</c:v>
                </c:pt>
                <c:pt idx="7938">
                  <c:v>18533</c:v>
                </c:pt>
                <c:pt idx="7939">
                  <c:v>18431</c:v>
                </c:pt>
                <c:pt idx="7940">
                  <c:v>17875</c:v>
                </c:pt>
                <c:pt idx="7941">
                  <c:v>17413</c:v>
                </c:pt>
                <c:pt idx="7942">
                  <c:v>16578</c:v>
                </c:pt>
                <c:pt idx="7943">
                  <c:v>15746</c:v>
                </c:pt>
                <c:pt idx="7944">
                  <c:v>15095</c:v>
                </c:pt>
                <c:pt idx="7945">
                  <c:v>14442</c:v>
                </c:pt>
                <c:pt idx="7946">
                  <c:v>14322</c:v>
                </c:pt>
                <c:pt idx="7947">
                  <c:v>13949</c:v>
                </c:pt>
                <c:pt idx="7948">
                  <c:v>13767</c:v>
                </c:pt>
                <c:pt idx="7949">
                  <c:v>13551</c:v>
                </c:pt>
                <c:pt idx="7950">
                  <c:v>13358</c:v>
                </c:pt>
                <c:pt idx="7951">
                  <c:v>13516</c:v>
                </c:pt>
                <c:pt idx="7952">
                  <c:v>13936</c:v>
                </c:pt>
                <c:pt idx="7953">
                  <c:v>14755</c:v>
                </c:pt>
                <c:pt idx="7954">
                  <c:v>15494</c:v>
                </c:pt>
                <c:pt idx="7955">
                  <c:v>16316</c:v>
                </c:pt>
                <c:pt idx="7956">
                  <c:v>17102</c:v>
                </c:pt>
                <c:pt idx="7957">
                  <c:v>17271</c:v>
                </c:pt>
                <c:pt idx="7958">
                  <c:v>17390</c:v>
                </c:pt>
                <c:pt idx="7959">
                  <c:v>17327</c:v>
                </c:pt>
                <c:pt idx="7960">
                  <c:v>17224</c:v>
                </c:pt>
                <c:pt idx="7961">
                  <c:v>17570</c:v>
                </c:pt>
                <c:pt idx="7962">
                  <c:v>18088</c:v>
                </c:pt>
                <c:pt idx="7963">
                  <c:v>18121</c:v>
                </c:pt>
                <c:pt idx="7964">
                  <c:v>17563</c:v>
                </c:pt>
                <c:pt idx="7965">
                  <c:v>16998</c:v>
                </c:pt>
                <c:pt idx="7966">
                  <c:v>16534</c:v>
                </c:pt>
                <c:pt idx="7967">
                  <c:v>16058</c:v>
                </c:pt>
                <c:pt idx="7968">
                  <c:v>15498</c:v>
                </c:pt>
                <c:pt idx="7969">
                  <c:v>14882</c:v>
                </c:pt>
                <c:pt idx="7970">
                  <c:v>14438</c:v>
                </c:pt>
                <c:pt idx="7971">
                  <c:v>14160</c:v>
                </c:pt>
                <c:pt idx="7972">
                  <c:v>14061</c:v>
                </c:pt>
                <c:pt idx="7973">
                  <c:v>13996</c:v>
                </c:pt>
                <c:pt idx="7974">
                  <c:v>14117</c:v>
                </c:pt>
                <c:pt idx="7975">
                  <c:v>14302</c:v>
                </c:pt>
                <c:pt idx="7976">
                  <c:v>14731</c:v>
                </c:pt>
                <c:pt idx="7977">
                  <c:v>15293</c:v>
                </c:pt>
                <c:pt idx="7978">
                  <c:v>15855</c:v>
                </c:pt>
                <c:pt idx="7979">
                  <c:v>16605</c:v>
                </c:pt>
                <c:pt idx="7980">
                  <c:v>16995</c:v>
                </c:pt>
                <c:pt idx="7981">
                  <c:v>17262</c:v>
                </c:pt>
                <c:pt idx="7982">
                  <c:v>17505</c:v>
                </c:pt>
                <c:pt idx="7983">
                  <c:v>17285</c:v>
                </c:pt>
                <c:pt idx="7984">
                  <c:v>17283</c:v>
                </c:pt>
                <c:pt idx="7985">
                  <c:v>17722</c:v>
                </c:pt>
                <c:pt idx="7986">
                  <c:v>18275</c:v>
                </c:pt>
                <c:pt idx="7987">
                  <c:v>18366</c:v>
                </c:pt>
                <c:pt idx="7988">
                  <c:v>18085</c:v>
                </c:pt>
                <c:pt idx="7989">
                  <c:v>17922</c:v>
                </c:pt>
                <c:pt idx="7990">
                  <c:v>17561</c:v>
                </c:pt>
                <c:pt idx="7991">
                  <c:v>16876</c:v>
                </c:pt>
                <c:pt idx="7992">
                  <c:v>16283</c:v>
                </c:pt>
                <c:pt idx="7993">
                  <c:v>15936</c:v>
                </c:pt>
                <c:pt idx="7994">
                  <c:v>15600</c:v>
                </c:pt>
                <c:pt idx="7995">
                  <c:v>15310</c:v>
                </c:pt>
                <c:pt idx="7996">
                  <c:v>15231</c:v>
                </c:pt>
                <c:pt idx="7997">
                  <c:v>15361</c:v>
                </c:pt>
                <c:pt idx="7998">
                  <c:v>15500</c:v>
                </c:pt>
                <c:pt idx="7999">
                  <c:v>15985</c:v>
                </c:pt>
                <c:pt idx="8000">
                  <c:v>18441</c:v>
                </c:pt>
                <c:pt idx="8001">
                  <c:v>20324</c:v>
                </c:pt>
                <c:pt idx="8002">
                  <c:v>20565</c:v>
                </c:pt>
                <c:pt idx="8003">
                  <c:v>20312</c:v>
                </c:pt>
                <c:pt idx="8004">
                  <c:v>20316</c:v>
                </c:pt>
                <c:pt idx="8005">
                  <c:v>20223</c:v>
                </c:pt>
                <c:pt idx="8006">
                  <c:v>20026</c:v>
                </c:pt>
                <c:pt idx="8007">
                  <c:v>19927</c:v>
                </c:pt>
                <c:pt idx="8008">
                  <c:v>20027</c:v>
                </c:pt>
                <c:pt idx="8009">
                  <c:v>20759</c:v>
                </c:pt>
                <c:pt idx="8010">
                  <c:v>21090</c:v>
                </c:pt>
                <c:pt idx="8011">
                  <c:v>21129</c:v>
                </c:pt>
                <c:pt idx="8012">
                  <c:v>20965</c:v>
                </c:pt>
                <c:pt idx="8013">
                  <c:v>20453</c:v>
                </c:pt>
                <c:pt idx="8014">
                  <c:v>19737</c:v>
                </c:pt>
                <c:pt idx="8015">
                  <c:v>19061</c:v>
                </c:pt>
                <c:pt idx="8016">
                  <c:v>17801</c:v>
                </c:pt>
                <c:pt idx="8017">
                  <c:v>16580</c:v>
                </c:pt>
                <c:pt idx="8018">
                  <c:v>15904</c:v>
                </c:pt>
                <c:pt idx="8019">
                  <c:v>15705</c:v>
                </c:pt>
                <c:pt idx="8020">
                  <c:v>15648</c:v>
                </c:pt>
                <c:pt idx="8021">
                  <c:v>15620</c:v>
                </c:pt>
                <c:pt idx="8022">
                  <c:v>15739</c:v>
                </c:pt>
                <c:pt idx="8023">
                  <c:v>16662</c:v>
                </c:pt>
                <c:pt idx="8024">
                  <c:v>18695</c:v>
                </c:pt>
                <c:pt idx="8025">
                  <c:v>20328</c:v>
                </c:pt>
                <c:pt idx="8026">
                  <c:v>20454</c:v>
                </c:pt>
                <c:pt idx="8027">
                  <c:v>20401</c:v>
                </c:pt>
                <c:pt idx="8028">
                  <c:v>20416</c:v>
                </c:pt>
                <c:pt idx="8029">
                  <c:v>20300</c:v>
                </c:pt>
                <c:pt idx="8030">
                  <c:v>20103</c:v>
                </c:pt>
                <c:pt idx="8031">
                  <c:v>19938</c:v>
                </c:pt>
                <c:pt idx="8032">
                  <c:v>19899</c:v>
                </c:pt>
                <c:pt idx="8033">
                  <c:v>20721</c:v>
                </c:pt>
                <c:pt idx="8034">
                  <c:v>21069</c:v>
                </c:pt>
                <c:pt idx="8035">
                  <c:v>21115</c:v>
                </c:pt>
                <c:pt idx="8036">
                  <c:v>20839</c:v>
                </c:pt>
                <c:pt idx="8037">
                  <c:v>20303</c:v>
                </c:pt>
                <c:pt idx="8038">
                  <c:v>19892</c:v>
                </c:pt>
                <c:pt idx="8039">
                  <c:v>18816</c:v>
                </c:pt>
                <c:pt idx="8040">
                  <c:v>17639</c:v>
                </c:pt>
                <c:pt idx="8041">
                  <c:v>16343</c:v>
                </c:pt>
                <c:pt idx="8042">
                  <c:v>15857</c:v>
                </c:pt>
                <c:pt idx="8043">
                  <c:v>15574</c:v>
                </c:pt>
                <c:pt idx="8044">
                  <c:v>15483</c:v>
                </c:pt>
                <c:pt idx="8045">
                  <c:v>15663</c:v>
                </c:pt>
                <c:pt idx="8046">
                  <c:v>15815</c:v>
                </c:pt>
                <c:pt idx="8047">
                  <c:v>16866</c:v>
                </c:pt>
                <c:pt idx="8048">
                  <c:v>19063</c:v>
                </c:pt>
                <c:pt idx="8049">
                  <c:v>20904</c:v>
                </c:pt>
                <c:pt idx="8050">
                  <c:v>21206</c:v>
                </c:pt>
                <c:pt idx="8051">
                  <c:v>20958</c:v>
                </c:pt>
                <c:pt idx="8052">
                  <c:v>20892</c:v>
                </c:pt>
                <c:pt idx="8053">
                  <c:v>20739</c:v>
                </c:pt>
                <c:pt idx="8054">
                  <c:v>20319</c:v>
                </c:pt>
                <c:pt idx="8055">
                  <c:v>20025</c:v>
                </c:pt>
                <c:pt idx="8056">
                  <c:v>20049</c:v>
                </c:pt>
                <c:pt idx="8057">
                  <c:v>20639</c:v>
                </c:pt>
                <c:pt idx="8058">
                  <c:v>20706</c:v>
                </c:pt>
                <c:pt idx="8059">
                  <c:v>20937</c:v>
                </c:pt>
                <c:pt idx="8060">
                  <c:v>20153</c:v>
                </c:pt>
                <c:pt idx="8061">
                  <c:v>19920</c:v>
                </c:pt>
                <c:pt idx="8062">
                  <c:v>19159</c:v>
                </c:pt>
                <c:pt idx="8063">
                  <c:v>18134</c:v>
                </c:pt>
                <c:pt idx="8064">
                  <c:v>16615</c:v>
                </c:pt>
                <c:pt idx="8065">
                  <c:v>15862</c:v>
                </c:pt>
                <c:pt idx="8066">
                  <c:v>14751</c:v>
                </c:pt>
                <c:pt idx="8067">
                  <c:v>14377</c:v>
                </c:pt>
                <c:pt idx="8068">
                  <c:v>14187</c:v>
                </c:pt>
                <c:pt idx="8069">
                  <c:v>14059</c:v>
                </c:pt>
                <c:pt idx="8070">
                  <c:v>14193</c:v>
                </c:pt>
                <c:pt idx="8071">
                  <c:v>15067</c:v>
                </c:pt>
                <c:pt idx="8072">
                  <c:v>17146</c:v>
                </c:pt>
                <c:pt idx="8073">
                  <c:v>19022</c:v>
                </c:pt>
                <c:pt idx="8074">
                  <c:v>18749</c:v>
                </c:pt>
                <c:pt idx="8075">
                  <c:v>18250</c:v>
                </c:pt>
                <c:pt idx="8076">
                  <c:v>19082</c:v>
                </c:pt>
                <c:pt idx="8077">
                  <c:v>19281</c:v>
                </c:pt>
                <c:pt idx="8078">
                  <c:v>19052</c:v>
                </c:pt>
                <c:pt idx="8079">
                  <c:v>19192</c:v>
                </c:pt>
                <c:pt idx="8080">
                  <c:v>19432</c:v>
                </c:pt>
                <c:pt idx="8081">
                  <c:v>20525</c:v>
                </c:pt>
                <c:pt idx="8082">
                  <c:v>20250</c:v>
                </c:pt>
                <c:pt idx="8083">
                  <c:v>20223</c:v>
                </c:pt>
                <c:pt idx="8084">
                  <c:v>19853</c:v>
                </c:pt>
                <c:pt idx="8085">
                  <c:v>19694</c:v>
                </c:pt>
                <c:pt idx="8086">
                  <c:v>19089</c:v>
                </c:pt>
                <c:pt idx="8087">
                  <c:v>18049</c:v>
                </c:pt>
                <c:pt idx="8088">
                  <c:v>16745</c:v>
                </c:pt>
                <c:pt idx="8089">
                  <c:v>15432</c:v>
                </c:pt>
                <c:pt idx="8090">
                  <c:v>14639</c:v>
                </c:pt>
                <c:pt idx="8091">
                  <c:v>14539</c:v>
                </c:pt>
                <c:pt idx="8092">
                  <c:v>14394</c:v>
                </c:pt>
                <c:pt idx="8093">
                  <c:v>14313</c:v>
                </c:pt>
                <c:pt idx="8094">
                  <c:v>14498</c:v>
                </c:pt>
                <c:pt idx="8095">
                  <c:v>15342</c:v>
                </c:pt>
                <c:pt idx="8096">
                  <c:v>17261</c:v>
                </c:pt>
                <c:pt idx="8097">
                  <c:v>18997</c:v>
                </c:pt>
                <c:pt idx="8098">
                  <c:v>19255</c:v>
                </c:pt>
                <c:pt idx="8099">
                  <c:v>19208</c:v>
                </c:pt>
                <c:pt idx="8100">
                  <c:v>19594</c:v>
                </c:pt>
                <c:pt idx="8101">
                  <c:v>19834</c:v>
                </c:pt>
                <c:pt idx="8102">
                  <c:v>19852</c:v>
                </c:pt>
                <c:pt idx="8103">
                  <c:v>19801</c:v>
                </c:pt>
                <c:pt idx="8104">
                  <c:v>19487</c:v>
                </c:pt>
                <c:pt idx="8105">
                  <c:v>19196</c:v>
                </c:pt>
                <c:pt idx="8106">
                  <c:v>19311</c:v>
                </c:pt>
                <c:pt idx="8107">
                  <c:v>19082</c:v>
                </c:pt>
                <c:pt idx="8108">
                  <c:v>18782</c:v>
                </c:pt>
                <c:pt idx="8109">
                  <c:v>18111</c:v>
                </c:pt>
                <c:pt idx="8110">
                  <c:v>17303</c:v>
                </c:pt>
                <c:pt idx="8111">
                  <c:v>16782</c:v>
                </c:pt>
                <c:pt idx="8112">
                  <c:v>16096</c:v>
                </c:pt>
                <c:pt idx="8113">
                  <c:v>15353</c:v>
                </c:pt>
                <c:pt idx="8114">
                  <c:v>14835</c:v>
                </c:pt>
                <c:pt idx="8115">
                  <c:v>14341</c:v>
                </c:pt>
                <c:pt idx="8116">
                  <c:v>13936</c:v>
                </c:pt>
                <c:pt idx="8117">
                  <c:v>13816</c:v>
                </c:pt>
                <c:pt idx="8118">
                  <c:v>13796</c:v>
                </c:pt>
                <c:pt idx="8119">
                  <c:v>13964</c:v>
                </c:pt>
                <c:pt idx="8120">
                  <c:v>14298</c:v>
                </c:pt>
                <c:pt idx="8121">
                  <c:v>15211</c:v>
                </c:pt>
                <c:pt idx="8122">
                  <c:v>15837</c:v>
                </c:pt>
                <c:pt idx="8123">
                  <c:v>16737</c:v>
                </c:pt>
                <c:pt idx="8124">
                  <c:v>16867</c:v>
                </c:pt>
                <c:pt idx="8125">
                  <c:v>17307</c:v>
                </c:pt>
                <c:pt idx="8126">
                  <c:v>17206</c:v>
                </c:pt>
                <c:pt idx="8127">
                  <c:v>17205</c:v>
                </c:pt>
                <c:pt idx="8128">
                  <c:v>17126</c:v>
                </c:pt>
                <c:pt idx="8129">
                  <c:v>17490</c:v>
                </c:pt>
                <c:pt idx="8130">
                  <c:v>17840</c:v>
                </c:pt>
                <c:pt idx="8131">
                  <c:v>17951</c:v>
                </c:pt>
                <c:pt idx="8132">
                  <c:v>17573</c:v>
                </c:pt>
                <c:pt idx="8133">
                  <c:v>16818</c:v>
                </c:pt>
                <c:pt idx="8134">
                  <c:v>16249</c:v>
                </c:pt>
                <c:pt idx="8135">
                  <c:v>15572</c:v>
                </c:pt>
                <c:pt idx="8136">
                  <c:v>14881</c:v>
                </c:pt>
                <c:pt idx="8137">
                  <c:v>14341</c:v>
                </c:pt>
                <c:pt idx="8138">
                  <c:v>14030</c:v>
                </c:pt>
                <c:pt idx="8139">
                  <c:v>13776</c:v>
                </c:pt>
                <c:pt idx="8140">
                  <c:v>13595</c:v>
                </c:pt>
                <c:pt idx="8141">
                  <c:v>13564</c:v>
                </c:pt>
                <c:pt idx="8142">
                  <c:v>13627</c:v>
                </c:pt>
                <c:pt idx="8143">
                  <c:v>13677</c:v>
                </c:pt>
                <c:pt idx="8144">
                  <c:v>13959</c:v>
                </c:pt>
                <c:pt idx="8145">
                  <c:v>14479</c:v>
                </c:pt>
                <c:pt idx="8146">
                  <c:v>15061</c:v>
                </c:pt>
                <c:pt idx="8147">
                  <c:v>15547</c:v>
                </c:pt>
                <c:pt idx="8148">
                  <c:v>16040</c:v>
                </c:pt>
                <c:pt idx="8149">
                  <c:v>16381</c:v>
                </c:pt>
                <c:pt idx="8150">
                  <c:v>16519</c:v>
                </c:pt>
                <c:pt idx="8151">
                  <c:v>16449</c:v>
                </c:pt>
                <c:pt idx="8152">
                  <c:v>16802</c:v>
                </c:pt>
                <c:pt idx="8153">
                  <c:v>17606</c:v>
                </c:pt>
                <c:pt idx="8154">
                  <c:v>17860</c:v>
                </c:pt>
                <c:pt idx="8155">
                  <c:v>17864</c:v>
                </c:pt>
                <c:pt idx="8156">
                  <c:v>17875</c:v>
                </c:pt>
                <c:pt idx="8157">
                  <c:v>17717</c:v>
                </c:pt>
                <c:pt idx="8158">
                  <c:v>17206</c:v>
                </c:pt>
                <c:pt idx="8159">
                  <c:v>16590</c:v>
                </c:pt>
                <c:pt idx="8160">
                  <c:v>15951</c:v>
                </c:pt>
                <c:pt idx="8161">
                  <c:v>15053</c:v>
                </c:pt>
                <c:pt idx="8162">
                  <c:v>14550</c:v>
                </c:pt>
                <c:pt idx="8163">
                  <c:v>14237</c:v>
                </c:pt>
                <c:pt idx="8164">
                  <c:v>14234</c:v>
                </c:pt>
                <c:pt idx="8165">
                  <c:v>14283</c:v>
                </c:pt>
                <c:pt idx="8166">
                  <c:v>14580</c:v>
                </c:pt>
                <c:pt idx="8167">
                  <c:v>15687</c:v>
                </c:pt>
                <c:pt idx="8168">
                  <c:v>17735</c:v>
                </c:pt>
                <c:pt idx="8169">
                  <c:v>19701</c:v>
                </c:pt>
                <c:pt idx="8170">
                  <c:v>19780</c:v>
                </c:pt>
                <c:pt idx="8171">
                  <c:v>19544</c:v>
                </c:pt>
                <c:pt idx="8172">
                  <c:v>19697</c:v>
                </c:pt>
                <c:pt idx="8173">
                  <c:v>19539</c:v>
                </c:pt>
                <c:pt idx="8174">
                  <c:v>19243</c:v>
                </c:pt>
                <c:pt idx="8175">
                  <c:v>19175</c:v>
                </c:pt>
                <c:pt idx="8176">
                  <c:v>19403</c:v>
                </c:pt>
                <c:pt idx="8177">
                  <c:v>19929</c:v>
                </c:pt>
                <c:pt idx="8178">
                  <c:v>20314</c:v>
                </c:pt>
                <c:pt idx="8179">
                  <c:v>20597</c:v>
                </c:pt>
                <c:pt idx="8180">
                  <c:v>20386</c:v>
                </c:pt>
                <c:pt idx="8181">
                  <c:v>20002</c:v>
                </c:pt>
                <c:pt idx="8182">
                  <c:v>19601</c:v>
                </c:pt>
                <c:pt idx="8183">
                  <c:v>18794</c:v>
                </c:pt>
                <c:pt idx="8184">
                  <c:v>17637</c:v>
                </c:pt>
                <c:pt idx="8185">
                  <c:v>16731</c:v>
                </c:pt>
                <c:pt idx="8186">
                  <c:v>15735</c:v>
                </c:pt>
                <c:pt idx="8187">
                  <c:v>15432</c:v>
                </c:pt>
                <c:pt idx="8188">
                  <c:v>15459</c:v>
                </c:pt>
                <c:pt idx="8189">
                  <c:v>15560</c:v>
                </c:pt>
                <c:pt idx="8190">
                  <c:v>15716</c:v>
                </c:pt>
                <c:pt idx="8191">
                  <c:v>16463</c:v>
                </c:pt>
                <c:pt idx="8192">
                  <c:v>18230</c:v>
                </c:pt>
                <c:pt idx="8193">
                  <c:v>20087</c:v>
                </c:pt>
                <c:pt idx="8194">
                  <c:v>20310</c:v>
                </c:pt>
                <c:pt idx="8195">
                  <c:v>19937</c:v>
                </c:pt>
                <c:pt idx="8196">
                  <c:v>20021</c:v>
                </c:pt>
                <c:pt idx="8197">
                  <c:v>19971</c:v>
                </c:pt>
                <c:pt idx="8198">
                  <c:v>20021</c:v>
                </c:pt>
                <c:pt idx="8199">
                  <c:v>19951</c:v>
                </c:pt>
                <c:pt idx="8200">
                  <c:v>19871</c:v>
                </c:pt>
                <c:pt idx="8201">
                  <c:v>20222</c:v>
                </c:pt>
                <c:pt idx="8202">
                  <c:v>20268</c:v>
                </c:pt>
                <c:pt idx="8203">
                  <c:v>20123</c:v>
                </c:pt>
                <c:pt idx="8204">
                  <c:v>19479</c:v>
                </c:pt>
                <c:pt idx="8205">
                  <c:v>19023</c:v>
                </c:pt>
                <c:pt idx="8206">
                  <c:v>18313</c:v>
                </c:pt>
                <c:pt idx="8207">
                  <c:v>17449</c:v>
                </c:pt>
                <c:pt idx="8208">
                  <c:v>16478</c:v>
                </c:pt>
                <c:pt idx="8209">
                  <c:v>15286</c:v>
                </c:pt>
                <c:pt idx="8210">
                  <c:v>14581</c:v>
                </c:pt>
                <c:pt idx="8211">
                  <c:v>14285</c:v>
                </c:pt>
                <c:pt idx="8212">
                  <c:v>14027</c:v>
                </c:pt>
                <c:pt idx="8213">
                  <c:v>13932</c:v>
                </c:pt>
                <c:pt idx="8214">
                  <c:v>14089</c:v>
                </c:pt>
                <c:pt idx="8215">
                  <c:v>14850</c:v>
                </c:pt>
                <c:pt idx="8216">
                  <c:v>16672</c:v>
                </c:pt>
                <c:pt idx="8217">
                  <c:v>18505</c:v>
                </c:pt>
                <c:pt idx="8218">
                  <c:v>18958</c:v>
                </c:pt>
                <c:pt idx="8219">
                  <c:v>18906</c:v>
                </c:pt>
                <c:pt idx="8220">
                  <c:v>18964</c:v>
                </c:pt>
                <c:pt idx="8221">
                  <c:v>18719</c:v>
                </c:pt>
                <c:pt idx="8222">
                  <c:v>18545</c:v>
                </c:pt>
                <c:pt idx="8223">
                  <c:v>18298</c:v>
                </c:pt>
                <c:pt idx="8224">
                  <c:v>18345</c:v>
                </c:pt>
                <c:pt idx="8225">
                  <c:v>19396</c:v>
                </c:pt>
                <c:pt idx="8226">
                  <c:v>19860</c:v>
                </c:pt>
                <c:pt idx="8227">
                  <c:v>19911</c:v>
                </c:pt>
                <c:pt idx="8228">
                  <c:v>19438</c:v>
                </c:pt>
                <c:pt idx="8229">
                  <c:v>19019</c:v>
                </c:pt>
                <c:pt idx="8230">
                  <c:v>18382</c:v>
                </c:pt>
                <c:pt idx="8231">
                  <c:v>17532</c:v>
                </c:pt>
                <c:pt idx="8232">
                  <c:v>16388</c:v>
                </c:pt>
                <c:pt idx="8233">
                  <c:v>15198</c:v>
                </c:pt>
                <c:pt idx="8234">
                  <c:v>14680</c:v>
                </c:pt>
                <c:pt idx="8235">
                  <c:v>14234</c:v>
                </c:pt>
                <c:pt idx="8236">
                  <c:v>14035</c:v>
                </c:pt>
                <c:pt idx="8237">
                  <c:v>14006</c:v>
                </c:pt>
                <c:pt idx="8238">
                  <c:v>14323</c:v>
                </c:pt>
                <c:pt idx="8239">
                  <c:v>15038</c:v>
                </c:pt>
                <c:pt idx="8240">
                  <c:v>16911</c:v>
                </c:pt>
                <c:pt idx="8241">
                  <c:v>18728</c:v>
                </c:pt>
                <c:pt idx="8242">
                  <c:v>19049</c:v>
                </c:pt>
                <c:pt idx="8243">
                  <c:v>19030</c:v>
                </c:pt>
                <c:pt idx="8244">
                  <c:v>19344</c:v>
                </c:pt>
                <c:pt idx="8245">
                  <c:v>19438</c:v>
                </c:pt>
                <c:pt idx="8246">
                  <c:v>19436</c:v>
                </c:pt>
                <c:pt idx="8247">
                  <c:v>19396</c:v>
                </c:pt>
                <c:pt idx="8248">
                  <c:v>19142</c:v>
                </c:pt>
                <c:pt idx="8249">
                  <c:v>19669</c:v>
                </c:pt>
                <c:pt idx="8250">
                  <c:v>19891</c:v>
                </c:pt>
                <c:pt idx="8251">
                  <c:v>19942</c:v>
                </c:pt>
                <c:pt idx="8252">
                  <c:v>19499</c:v>
                </c:pt>
                <c:pt idx="8253">
                  <c:v>19121</c:v>
                </c:pt>
                <c:pt idx="8254">
                  <c:v>18330</c:v>
                </c:pt>
                <c:pt idx="8255">
                  <c:v>17776</c:v>
                </c:pt>
                <c:pt idx="8256">
                  <c:v>16725</c:v>
                </c:pt>
                <c:pt idx="8257">
                  <c:v>15829</c:v>
                </c:pt>
                <c:pt idx="8258">
                  <c:v>15038</c:v>
                </c:pt>
                <c:pt idx="8259">
                  <c:v>14550</c:v>
                </c:pt>
                <c:pt idx="8260">
                  <c:v>14635</c:v>
                </c:pt>
                <c:pt idx="8261">
                  <c:v>14759</c:v>
                </c:pt>
                <c:pt idx="8262">
                  <c:v>14731</c:v>
                </c:pt>
                <c:pt idx="8263">
                  <c:v>15829</c:v>
                </c:pt>
                <c:pt idx="8264">
                  <c:v>17730</c:v>
                </c:pt>
                <c:pt idx="8265">
                  <c:v>19654</c:v>
                </c:pt>
                <c:pt idx="8266">
                  <c:v>19996</c:v>
                </c:pt>
                <c:pt idx="8267">
                  <c:v>19916</c:v>
                </c:pt>
                <c:pt idx="8268">
                  <c:v>19957</c:v>
                </c:pt>
                <c:pt idx="8269">
                  <c:v>19902</c:v>
                </c:pt>
                <c:pt idx="8270">
                  <c:v>19643</c:v>
                </c:pt>
                <c:pt idx="8271">
                  <c:v>19221</c:v>
                </c:pt>
                <c:pt idx="8272">
                  <c:v>19580</c:v>
                </c:pt>
                <c:pt idx="8273">
                  <c:v>19814</c:v>
                </c:pt>
                <c:pt idx="8274">
                  <c:v>20304</c:v>
                </c:pt>
                <c:pt idx="8275">
                  <c:v>20102</c:v>
                </c:pt>
                <c:pt idx="8276">
                  <c:v>19482</c:v>
                </c:pt>
                <c:pt idx="8277">
                  <c:v>18796</c:v>
                </c:pt>
                <c:pt idx="8278">
                  <c:v>17718</c:v>
                </c:pt>
                <c:pt idx="8279">
                  <c:v>16776</c:v>
                </c:pt>
                <c:pt idx="8280">
                  <c:v>15847</c:v>
                </c:pt>
                <c:pt idx="8281">
                  <c:v>15435</c:v>
                </c:pt>
                <c:pt idx="8282">
                  <c:v>14792</c:v>
                </c:pt>
                <c:pt idx="8283">
                  <c:v>14399</c:v>
                </c:pt>
                <c:pt idx="8284">
                  <c:v>14191</c:v>
                </c:pt>
                <c:pt idx="8285">
                  <c:v>14195</c:v>
                </c:pt>
                <c:pt idx="8286">
                  <c:v>14276</c:v>
                </c:pt>
                <c:pt idx="8287">
                  <c:v>14518</c:v>
                </c:pt>
                <c:pt idx="8288">
                  <c:v>15127</c:v>
                </c:pt>
                <c:pt idx="8289">
                  <c:v>16046</c:v>
                </c:pt>
                <c:pt idx="8290">
                  <c:v>16938</c:v>
                </c:pt>
                <c:pt idx="8291">
                  <c:v>17543</c:v>
                </c:pt>
                <c:pt idx="8292">
                  <c:v>18036</c:v>
                </c:pt>
                <c:pt idx="8293">
                  <c:v>18199</c:v>
                </c:pt>
                <c:pt idx="8294">
                  <c:v>18001</c:v>
                </c:pt>
                <c:pt idx="8295">
                  <c:v>17873</c:v>
                </c:pt>
                <c:pt idx="8296">
                  <c:v>18004</c:v>
                </c:pt>
                <c:pt idx="8297">
                  <c:v>18997</c:v>
                </c:pt>
                <c:pt idx="8298">
                  <c:v>19227</c:v>
                </c:pt>
                <c:pt idx="8299">
                  <c:v>19453</c:v>
                </c:pt>
                <c:pt idx="8300">
                  <c:v>19093</c:v>
                </c:pt>
                <c:pt idx="8301">
                  <c:v>18702</c:v>
                </c:pt>
                <c:pt idx="8302">
                  <c:v>17948</c:v>
                </c:pt>
                <c:pt idx="8303">
                  <c:v>17450</c:v>
                </c:pt>
                <c:pt idx="8304">
                  <c:v>16938</c:v>
                </c:pt>
                <c:pt idx="8305">
                  <c:v>16359</c:v>
                </c:pt>
                <c:pt idx="8306">
                  <c:v>15812</c:v>
                </c:pt>
                <c:pt idx="8307">
                  <c:v>15460</c:v>
                </c:pt>
                <c:pt idx="8308">
                  <c:v>15221</c:v>
                </c:pt>
                <c:pt idx="8309">
                  <c:v>15078</c:v>
                </c:pt>
                <c:pt idx="8310">
                  <c:v>15158</c:v>
                </c:pt>
                <c:pt idx="8311">
                  <c:v>15442</c:v>
                </c:pt>
                <c:pt idx="8312">
                  <c:v>16040</c:v>
                </c:pt>
                <c:pt idx="8313">
                  <c:v>16734</c:v>
                </c:pt>
                <c:pt idx="8314">
                  <c:v>17202</c:v>
                </c:pt>
                <c:pt idx="8315">
                  <c:v>18087</c:v>
                </c:pt>
                <c:pt idx="8316">
                  <c:v>18681</c:v>
                </c:pt>
                <c:pt idx="8317">
                  <c:v>19041</c:v>
                </c:pt>
                <c:pt idx="8318">
                  <c:v>19063</c:v>
                </c:pt>
                <c:pt idx="8319">
                  <c:v>18823</c:v>
                </c:pt>
                <c:pt idx="8320">
                  <c:v>18818</c:v>
                </c:pt>
                <c:pt idx="8321">
                  <c:v>19496</c:v>
                </c:pt>
                <c:pt idx="8322">
                  <c:v>20240</c:v>
                </c:pt>
                <c:pt idx="8323">
                  <c:v>20479</c:v>
                </c:pt>
                <c:pt idx="8324">
                  <c:v>20412</c:v>
                </c:pt>
                <c:pt idx="8325">
                  <c:v>20157</c:v>
                </c:pt>
                <c:pt idx="8326">
                  <c:v>19563</c:v>
                </c:pt>
                <c:pt idx="8327">
                  <c:v>19107</c:v>
                </c:pt>
                <c:pt idx="8328">
                  <c:v>18253</c:v>
                </c:pt>
                <c:pt idx="8329">
                  <c:v>17427</c:v>
                </c:pt>
                <c:pt idx="8330">
                  <c:v>16854</c:v>
                </c:pt>
                <c:pt idx="8331">
                  <c:v>16510</c:v>
                </c:pt>
                <c:pt idx="8332">
                  <c:v>16393</c:v>
                </c:pt>
                <c:pt idx="8333">
                  <c:v>16519</c:v>
                </c:pt>
                <c:pt idx="8334">
                  <c:v>16762</c:v>
                </c:pt>
                <c:pt idx="8335">
                  <c:v>17894</c:v>
                </c:pt>
                <c:pt idx="8336">
                  <c:v>20252</c:v>
                </c:pt>
                <c:pt idx="8337">
                  <c:v>22132</c:v>
                </c:pt>
                <c:pt idx="8338">
                  <c:v>22242</c:v>
                </c:pt>
                <c:pt idx="8339">
                  <c:v>21908</c:v>
                </c:pt>
                <c:pt idx="8340">
                  <c:v>21874</c:v>
                </c:pt>
                <c:pt idx="8341">
                  <c:v>21939</c:v>
                </c:pt>
                <c:pt idx="8342">
                  <c:v>21781</c:v>
                </c:pt>
                <c:pt idx="8343">
                  <c:v>21961</c:v>
                </c:pt>
                <c:pt idx="8344">
                  <c:v>21973</c:v>
                </c:pt>
                <c:pt idx="8345">
                  <c:v>22845</c:v>
                </c:pt>
                <c:pt idx="8346">
                  <c:v>23088</c:v>
                </c:pt>
                <c:pt idx="8347">
                  <c:v>23093</c:v>
                </c:pt>
                <c:pt idx="8348">
                  <c:v>22545</c:v>
                </c:pt>
                <c:pt idx="8349">
                  <c:v>21996</c:v>
                </c:pt>
                <c:pt idx="8350">
                  <c:v>21157</c:v>
                </c:pt>
                <c:pt idx="8351">
                  <c:v>20320</c:v>
                </c:pt>
                <c:pt idx="8352">
                  <c:v>19065</c:v>
                </c:pt>
                <c:pt idx="8353">
                  <c:v>17966</c:v>
                </c:pt>
                <c:pt idx="8354">
                  <c:v>17336</c:v>
                </c:pt>
                <c:pt idx="8355">
                  <c:v>17101</c:v>
                </c:pt>
                <c:pt idx="8356">
                  <c:v>17113</c:v>
                </c:pt>
                <c:pt idx="8357">
                  <c:v>17515</c:v>
                </c:pt>
                <c:pt idx="8358">
                  <c:v>18662</c:v>
                </c:pt>
                <c:pt idx="8359">
                  <c:v>19416</c:v>
                </c:pt>
                <c:pt idx="8360">
                  <c:v>19726</c:v>
                </c:pt>
                <c:pt idx="8361">
                  <c:v>21541</c:v>
                </c:pt>
                <c:pt idx="8362">
                  <c:v>21667</c:v>
                </c:pt>
                <c:pt idx="8363">
                  <c:v>21802</c:v>
                </c:pt>
                <c:pt idx="8364">
                  <c:v>21836</c:v>
                </c:pt>
                <c:pt idx="8365">
                  <c:v>21710</c:v>
                </c:pt>
                <c:pt idx="8366">
                  <c:v>21546</c:v>
                </c:pt>
                <c:pt idx="8367">
                  <c:v>21651</c:v>
                </c:pt>
                <c:pt idx="8368">
                  <c:v>21806</c:v>
                </c:pt>
                <c:pt idx="8369">
                  <c:v>22414</c:v>
                </c:pt>
                <c:pt idx="8370">
                  <c:v>22590</c:v>
                </c:pt>
                <c:pt idx="8371">
                  <c:v>22581</c:v>
                </c:pt>
                <c:pt idx="8372">
                  <c:v>22061</c:v>
                </c:pt>
                <c:pt idx="8373">
                  <c:v>21724</c:v>
                </c:pt>
                <c:pt idx="8374">
                  <c:v>21026</c:v>
                </c:pt>
                <c:pt idx="8375">
                  <c:v>20149</c:v>
                </c:pt>
                <c:pt idx="8376">
                  <c:v>18837</c:v>
                </c:pt>
                <c:pt idx="8377">
                  <c:v>17944</c:v>
                </c:pt>
                <c:pt idx="8378">
                  <c:v>17098</c:v>
                </c:pt>
                <c:pt idx="8379">
                  <c:v>16806</c:v>
                </c:pt>
                <c:pt idx="8380">
                  <c:v>16765</c:v>
                </c:pt>
                <c:pt idx="8381">
                  <c:v>16904</c:v>
                </c:pt>
                <c:pt idx="8382">
                  <c:v>17163</c:v>
                </c:pt>
                <c:pt idx="8383">
                  <c:v>17986</c:v>
                </c:pt>
                <c:pt idx="8384">
                  <c:v>20194</c:v>
                </c:pt>
                <c:pt idx="8385">
                  <c:v>21864</c:v>
                </c:pt>
                <c:pt idx="8386">
                  <c:v>22127</c:v>
                </c:pt>
                <c:pt idx="8387">
                  <c:v>21814</c:v>
                </c:pt>
                <c:pt idx="8388">
                  <c:v>21774</c:v>
                </c:pt>
                <c:pt idx="8389">
                  <c:v>21809</c:v>
                </c:pt>
                <c:pt idx="8390">
                  <c:v>21956</c:v>
                </c:pt>
                <c:pt idx="8391">
                  <c:v>21838</c:v>
                </c:pt>
                <c:pt idx="8392">
                  <c:v>22001</c:v>
                </c:pt>
                <c:pt idx="8393">
                  <c:v>22499</c:v>
                </c:pt>
                <c:pt idx="8394">
                  <c:v>22218</c:v>
                </c:pt>
                <c:pt idx="8395">
                  <c:v>22143</c:v>
                </c:pt>
                <c:pt idx="8396">
                  <c:v>21705</c:v>
                </c:pt>
                <c:pt idx="8397">
                  <c:v>21185</c:v>
                </c:pt>
                <c:pt idx="8398">
                  <c:v>20796</c:v>
                </c:pt>
                <c:pt idx="8399">
                  <c:v>19744</c:v>
                </c:pt>
                <c:pt idx="8400">
                  <c:v>18134</c:v>
                </c:pt>
                <c:pt idx="8401">
                  <c:v>17028</c:v>
                </c:pt>
                <c:pt idx="8402">
                  <c:v>16464</c:v>
                </c:pt>
                <c:pt idx="8403">
                  <c:v>16189</c:v>
                </c:pt>
                <c:pt idx="8404">
                  <c:v>16146</c:v>
                </c:pt>
                <c:pt idx="8405">
                  <c:v>16204</c:v>
                </c:pt>
                <c:pt idx="8406">
                  <c:v>16094</c:v>
                </c:pt>
                <c:pt idx="8407">
                  <c:v>16903</c:v>
                </c:pt>
                <c:pt idx="8408">
                  <c:v>18974</c:v>
                </c:pt>
                <c:pt idx="8409">
                  <c:v>20826</c:v>
                </c:pt>
                <c:pt idx="8410">
                  <c:v>21366</c:v>
                </c:pt>
                <c:pt idx="8411">
                  <c:v>21130</c:v>
                </c:pt>
                <c:pt idx="8412">
                  <c:v>20941</c:v>
                </c:pt>
                <c:pt idx="8413">
                  <c:v>20796</c:v>
                </c:pt>
                <c:pt idx="8414">
                  <c:v>20569</c:v>
                </c:pt>
                <c:pt idx="8415">
                  <c:v>20310</c:v>
                </c:pt>
                <c:pt idx="8416">
                  <c:v>20602</c:v>
                </c:pt>
                <c:pt idx="8417">
                  <c:v>20902</c:v>
                </c:pt>
                <c:pt idx="8418">
                  <c:v>21088</c:v>
                </c:pt>
                <c:pt idx="8419">
                  <c:v>21031</c:v>
                </c:pt>
                <c:pt idx="8420">
                  <c:v>20312</c:v>
                </c:pt>
                <c:pt idx="8421">
                  <c:v>19887</c:v>
                </c:pt>
                <c:pt idx="8422">
                  <c:v>19161</c:v>
                </c:pt>
                <c:pt idx="8423">
                  <c:v>18176</c:v>
                </c:pt>
                <c:pt idx="8424">
                  <c:v>17114</c:v>
                </c:pt>
                <c:pt idx="8425">
                  <c:v>15655</c:v>
                </c:pt>
                <c:pt idx="8426">
                  <c:v>15128</c:v>
                </c:pt>
                <c:pt idx="8427">
                  <c:v>14900</c:v>
                </c:pt>
                <c:pt idx="8428">
                  <c:v>14749</c:v>
                </c:pt>
                <c:pt idx="8429">
                  <c:v>14996</c:v>
                </c:pt>
                <c:pt idx="8430">
                  <c:v>15326</c:v>
                </c:pt>
                <c:pt idx="8431">
                  <c:v>16092</c:v>
                </c:pt>
                <c:pt idx="8432">
                  <c:v>17738</c:v>
                </c:pt>
                <c:pt idx="8433">
                  <c:v>19252</c:v>
                </c:pt>
                <c:pt idx="8434">
                  <c:v>19734</c:v>
                </c:pt>
                <c:pt idx="8435">
                  <c:v>19520</c:v>
                </c:pt>
                <c:pt idx="8436">
                  <c:v>19338</c:v>
                </c:pt>
                <c:pt idx="8437">
                  <c:v>19352</c:v>
                </c:pt>
                <c:pt idx="8438">
                  <c:v>18970</c:v>
                </c:pt>
                <c:pt idx="8439">
                  <c:v>18681</c:v>
                </c:pt>
                <c:pt idx="8440">
                  <c:v>18567</c:v>
                </c:pt>
                <c:pt idx="8441">
                  <c:v>18968</c:v>
                </c:pt>
                <c:pt idx="8442">
                  <c:v>19065</c:v>
                </c:pt>
                <c:pt idx="8443">
                  <c:v>18862</c:v>
                </c:pt>
                <c:pt idx="8444">
                  <c:v>18437</c:v>
                </c:pt>
                <c:pt idx="8445">
                  <c:v>17577</c:v>
                </c:pt>
                <c:pt idx="8446">
                  <c:v>16877</c:v>
                </c:pt>
                <c:pt idx="8447">
                  <c:v>15746</c:v>
                </c:pt>
                <c:pt idx="8448">
                  <c:v>14952</c:v>
                </c:pt>
                <c:pt idx="8449">
                  <c:v>14153</c:v>
                </c:pt>
                <c:pt idx="8450">
                  <c:v>13646</c:v>
                </c:pt>
                <c:pt idx="8451">
                  <c:v>13325</c:v>
                </c:pt>
                <c:pt idx="8452">
                  <c:v>13164</c:v>
                </c:pt>
                <c:pt idx="8453">
                  <c:v>13133</c:v>
                </c:pt>
                <c:pt idx="8454">
                  <c:v>13213</c:v>
                </c:pt>
                <c:pt idx="8455">
                  <c:v>13473</c:v>
                </c:pt>
                <c:pt idx="8456">
                  <c:v>13481</c:v>
                </c:pt>
                <c:pt idx="8457">
                  <c:v>14507</c:v>
                </c:pt>
                <c:pt idx="8458">
                  <c:v>15213</c:v>
                </c:pt>
                <c:pt idx="8459">
                  <c:v>15750</c:v>
                </c:pt>
                <c:pt idx="8460">
                  <c:v>16253</c:v>
                </c:pt>
                <c:pt idx="8461">
                  <c:v>16619</c:v>
                </c:pt>
                <c:pt idx="8462">
                  <c:v>16367</c:v>
                </c:pt>
                <c:pt idx="8463">
                  <c:v>16143</c:v>
                </c:pt>
                <c:pt idx="8464">
                  <c:v>16501</c:v>
                </c:pt>
                <c:pt idx="8465">
                  <c:v>17317</c:v>
                </c:pt>
                <c:pt idx="8466">
                  <c:v>17687</c:v>
                </c:pt>
                <c:pt idx="8467">
                  <c:v>17331</c:v>
                </c:pt>
                <c:pt idx="8468">
                  <c:v>16819</c:v>
                </c:pt>
                <c:pt idx="8469">
                  <c:v>16209</c:v>
                </c:pt>
                <c:pt idx="8470">
                  <c:v>15693</c:v>
                </c:pt>
                <c:pt idx="8471">
                  <c:v>15062</c:v>
                </c:pt>
                <c:pt idx="8472">
                  <c:v>14589</c:v>
                </c:pt>
                <c:pt idx="8473">
                  <c:v>14006</c:v>
                </c:pt>
                <c:pt idx="8474">
                  <c:v>13531</c:v>
                </c:pt>
                <c:pt idx="8475">
                  <c:v>13091</c:v>
                </c:pt>
                <c:pt idx="8476">
                  <c:v>12921</c:v>
                </c:pt>
                <c:pt idx="8477">
                  <c:v>12780</c:v>
                </c:pt>
                <c:pt idx="8478">
                  <c:v>12831</c:v>
                </c:pt>
                <c:pt idx="8479">
                  <c:v>12880</c:v>
                </c:pt>
                <c:pt idx="8480">
                  <c:v>13140</c:v>
                </c:pt>
                <c:pt idx="8481">
                  <c:v>13757</c:v>
                </c:pt>
                <c:pt idx="8482">
                  <c:v>14290</c:v>
                </c:pt>
                <c:pt idx="8483">
                  <c:v>14792</c:v>
                </c:pt>
                <c:pt idx="8484">
                  <c:v>15378</c:v>
                </c:pt>
                <c:pt idx="8485">
                  <c:v>15680</c:v>
                </c:pt>
                <c:pt idx="8486">
                  <c:v>15592</c:v>
                </c:pt>
                <c:pt idx="8487">
                  <c:v>15673</c:v>
                </c:pt>
                <c:pt idx="8488">
                  <c:v>16001</c:v>
                </c:pt>
                <c:pt idx="8489">
                  <c:v>16582</c:v>
                </c:pt>
                <c:pt idx="8490">
                  <c:v>17041</c:v>
                </c:pt>
                <c:pt idx="8491">
                  <c:v>17025</c:v>
                </c:pt>
                <c:pt idx="8492">
                  <c:v>16870</c:v>
                </c:pt>
                <c:pt idx="8493">
                  <c:v>16670</c:v>
                </c:pt>
                <c:pt idx="8494">
                  <c:v>16096</c:v>
                </c:pt>
                <c:pt idx="8495">
                  <c:v>15575</c:v>
                </c:pt>
                <c:pt idx="8496">
                  <c:v>14663</c:v>
                </c:pt>
                <c:pt idx="8497">
                  <c:v>14003</c:v>
                </c:pt>
                <c:pt idx="8498">
                  <c:v>13361</c:v>
                </c:pt>
                <c:pt idx="8499">
                  <c:v>13355</c:v>
                </c:pt>
                <c:pt idx="8500">
                  <c:v>13155</c:v>
                </c:pt>
                <c:pt idx="8501">
                  <c:v>12975</c:v>
                </c:pt>
                <c:pt idx="8502">
                  <c:v>13126</c:v>
                </c:pt>
                <c:pt idx="8503">
                  <c:v>14036</c:v>
                </c:pt>
                <c:pt idx="8504">
                  <c:v>15757</c:v>
                </c:pt>
                <c:pt idx="8505">
                  <c:v>17613</c:v>
                </c:pt>
                <c:pt idx="8506">
                  <c:v>18290</c:v>
                </c:pt>
                <c:pt idx="8507">
                  <c:v>18226</c:v>
                </c:pt>
                <c:pt idx="8508">
                  <c:v>18561</c:v>
                </c:pt>
                <c:pt idx="8509">
                  <c:v>18381</c:v>
                </c:pt>
                <c:pt idx="8510">
                  <c:v>18267</c:v>
                </c:pt>
                <c:pt idx="8511">
                  <c:v>18261</c:v>
                </c:pt>
                <c:pt idx="8512">
                  <c:v>18494</c:v>
                </c:pt>
                <c:pt idx="8513">
                  <c:v>19057</c:v>
                </c:pt>
                <c:pt idx="8514">
                  <c:v>19124</c:v>
                </c:pt>
                <c:pt idx="8515">
                  <c:v>19075</c:v>
                </c:pt>
                <c:pt idx="8516">
                  <c:v>19117</c:v>
                </c:pt>
                <c:pt idx="8517">
                  <c:v>18718</c:v>
                </c:pt>
                <c:pt idx="8518">
                  <c:v>17864</c:v>
                </c:pt>
                <c:pt idx="8519">
                  <c:v>17252</c:v>
                </c:pt>
                <c:pt idx="8520">
                  <c:v>16191</c:v>
                </c:pt>
                <c:pt idx="8521">
                  <c:v>15236</c:v>
                </c:pt>
                <c:pt idx="8522">
                  <c:v>14258</c:v>
                </c:pt>
                <c:pt idx="8523">
                  <c:v>14211</c:v>
                </c:pt>
                <c:pt idx="8524">
                  <c:v>14203</c:v>
                </c:pt>
                <c:pt idx="8525">
                  <c:v>14115</c:v>
                </c:pt>
                <c:pt idx="8526">
                  <c:v>14049</c:v>
                </c:pt>
                <c:pt idx="8527">
                  <c:v>14796</c:v>
                </c:pt>
                <c:pt idx="8528">
                  <c:v>16402</c:v>
                </c:pt>
                <c:pt idx="8529">
                  <c:v>18223</c:v>
                </c:pt>
                <c:pt idx="8530">
                  <c:v>18683</c:v>
                </c:pt>
                <c:pt idx="8531">
                  <c:v>18772</c:v>
                </c:pt>
                <c:pt idx="8532">
                  <c:v>18887</c:v>
                </c:pt>
                <c:pt idx="8533">
                  <c:v>18647</c:v>
                </c:pt>
                <c:pt idx="8534">
                  <c:v>18558</c:v>
                </c:pt>
                <c:pt idx="8535">
                  <c:v>18610</c:v>
                </c:pt>
                <c:pt idx="8536">
                  <c:v>19048</c:v>
                </c:pt>
                <c:pt idx="8537">
                  <c:v>19556</c:v>
                </c:pt>
                <c:pt idx="8538">
                  <c:v>19619</c:v>
                </c:pt>
                <c:pt idx="8539">
                  <c:v>19452</c:v>
                </c:pt>
                <c:pt idx="8540">
                  <c:v>18662</c:v>
                </c:pt>
                <c:pt idx="8541">
                  <c:v>17937</c:v>
                </c:pt>
                <c:pt idx="8542">
                  <c:v>17115</c:v>
                </c:pt>
                <c:pt idx="8543">
                  <c:v>16636</c:v>
                </c:pt>
                <c:pt idx="8544">
                  <c:v>15567</c:v>
                </c:pt>
                <c:pt idx="8545">
                  <c:v>14839</c:v>
                </c:pt>
                <c:pt idx="8546">
                  <c:v>13921</c:v>
                </c:pt>
                <c:pt idx="8547">
                  <c:v>13516</c:v>
                </c:pt>
                <c:pt idx="8548">
                  <c:v>13474</c:v>
                </c:pt>
                <c:pt idx="8549">
                  <c:v>13661</c:v>
                </c:pt>
                <c:pt idx="8550">
                  <c:v>13812</c:v>
                </c:pt>
                <c:pt idx="8551">
                  <c:v>14359</c:v>
                </c:pt>
                <c:pt idx="8552">
                  <c:v>15421</c:v>
                </c:pt>
                <c:pt idx="8553">
                  <c:v>16942</c:v>
                </c:pt>
                <c:pt idx="8554">
                  <c:v>17590</c:v>
                </c:pt>
                <c:pt idx="8555">
                  <c:v>17728</c:v>
                </c:pt>
                <c:pt idx="8556">
                  <c:v>17888</c:v>
                </c:pt>
                <c:pt idx="8557">
                  <c:v>18119</c:v>
                </c:pt>
                <c:pt idx="8558">
                  <c:v>17744</c:v>
                </c:pt>
                <c:pt idx="8559">
                  <c:v>17421</c:v>
                </c:pt>
                <c:pt idx="8560">
                  <c:v>17421</c:v>
                </c:pt>
                <c:pt idx="8561">
                  <c:v>17811</c:v>
                </c:pt>
                <c:pt idx="8562">
                  <c:v>18358</c:v>
                </c:pt>
                <c:pt idx="8563">
                  <c:v>18399</c:v>
                </c:pt>
                <c:pt idx="8564">
                  <c:v>18157</c:v>
                </c:pt>
                <c:pt idx="8565">
                  <c:v>17587</c:v>
                </c:pt>
                <c:pt idx="8566">
                  <c:v>16661</c:v>
                </c:pt>
                <c:pt idx="8567">
                  <c:v>15922</c:v>
                </c:pt>
                <c:pt idx="8568">
                  <c:v>15326</c:v>
                </c:pt>
                <c:pt idx="8569">
                  <c:v>14387</c:v>
                </c:pt>
                <c:pt idx="8570">
                  <c:v>13760</c:v>
                </c:pt>
                <c:pt idx="8571">
                  <c:v>13137</c:v>
                </c:pt>
                <c:pt idx="8572">
                  <c:v>12974</c:v>
                </c:pt>
                <c:pt idx="8573">
                  <c:v>12938</c:v>
                </c:pt>
                <c:pt idx="8574">
                  <c:v>12964</c:v>
                </c:pt>
                <c:pt idx="8575">
                  <c:v>13218</c:v>
                </c:pt>
                <c:pt idx="8576">
                  <c:v>13793</c:v>
                </c:pt>
                <c:pt idx="8577">
                  <c:v>14464</c:v>
                </c:pt>
                <c:pt idx="8578">
                  <c:v>15190</c:v>
                </c:pt>
                <c:pt idx="8579">
                  <c:v>15756</c:v>
                </c:pt>
                <c:pt idx="8580">
                  <c:v>16060</c:v>
                </c:pt>
                <c:pt idx="8581">
                  <c:v>16323</c:v>
                </c:pt>
                <c:pt idx="8582">
                  <c:v>16196</c:v>
                </c:pt>
                <c:pt idx="8583">
                  <c:v>15789</c:v>
                </c:pt>
                <c:pt idx="8584">
                  <c:v>15728</c:v>
                </c:pt>
                <c:pt idx="8585">
                  <c:v>16001</c:v>
                </c:pt>
                <c:pt idx="8586">
                  <c:v>15838</c:v>
                </c:pt>
                <c:pt idx="8587">
                  <c:v>15480</c:v>
                </c:pt>
                <c:pt idx="8588">
                  <c:v>15025</c:v>
                </c:pt>
                <c:pt idx="8589">
                  <c:v>14829</c:v>
                </c:pt>
                <c:pt idx="8590">
                  <c:v>14885</c:v>
                </c:pt>
                <c:pt idx="8591">
                  <c:v>14613</c:v>
                </c:pt>
                <c:pt idx="8592">
                  <c:v>14354</c:v>
                </c:pt>
                <c:pt idx="8593">
                  <c:v>14174</c:v>
                </c:pt>
                <c:pt idx="8594">
                  <c:v>13669</c:v>
                </c:pt>
                <c:pt idx="8595">
                  <c:v>12998</c:v>
                </c:pt>
                <c:pt idx="8596">
                  <c:v>12773</c:v>
                </c:pt>
                <c:pt idx="8597">
                  <c:v>12810</c:v>
                </c:pt>
                <c:pt idx="8598">
                  <c:v>12851</c:v>
                </c:pt>
                <c:pt idx="8599">
                  <c:v>13102</c:v>
                </c:pt>
                <c:pt idx="8600">
                  <c:v>13763</c:v>
                </c:pt>
                <c:pt idx="8601">
                  <c:v>14232</c:v>
                </c:pt>
                <c:pt idx="8602">
                  <c:v>14845</c:v>
                </c:pt>
                <c:pt idx="8603">
                  <c:v>15201</c:v>
                </c:pt>
                <c:pt idx="8604">
                  <c:v>15402</c:v>
                </c:pt>
                <c:pt idx="8605">
                  <c:v>15591</c:v>
                </c:pt>
                <c:pt idx="8606">
                  <c:v>15671</c:v>
                </c:pt>
                <c:pt idx="8607">
                  <c:v>15814</c:v>
                </c:pt>
                <c:pt idx="8608">
                  <c:v>15862</c:v>
                </c:pt>
                <c:pt idx="8609">
                  <c:v>16355</c:v>
                </c:pt>
                <c:pt idx="8610">
                  <c:v>16707</c:v>
                </c:pt>
                <c:pt idx="8611">
                  <c:v>16549</c:v>
                </c:pt>
                <c:pt idx="8612">
                  <c:v>16319</c:v>
                </c:pt>
                <c:pt idx="8613">
                  <c:v>16037</c:v>
                </c:pt>
                <c:pt idx="8614">
                  <c:v>15463</c:v>
                </c:pt>
                <c:pt idx="8615">
                  <c:v>15038</c:v>
                </c:pt>
                <c:pt idx="8616">
                  <c:v>14792</c:v>
                </c:pt>
                <c:pt idx="8617">
                  <c:v>14369</c:v>
                </c:pt>
                <c:pt idx="8618">
                  <c:v>13853</c:v>
                </c:pt>
                <c:pt idx="8619">
                  <c:v>13546</c:v>
                </c:pt>
                <c:pt idx="8620">
                  <c:v>13469</c:v>
                </c:pt>
                <c:pt idx="8621">
                  <c:v>13561</c:v>
                </c:pt>
                <c:pt idx="8622">
                  <c:v>13586</c:v>
                </c:pt>
                <c:pt idx="8623">
                  <c:v>13722</c:v>
                </c:pt>
                <c:pt idx="8624">
                  <c:v>13976</c:v>
                </c:pt>
                <c:pt idx="8625">
                  <c:v>14682</c:v>
                </c:pt>
                <c:pt idx="8626">
                  <c:v>15318</c:v>
                </c:pt>
                <c:pt idx="8627">
                  <c:v>15676</c:v>
                </c:pt>
                <c:pt idx="8628">
                  <c:v>16144</c:v>
                </c:pt>
                <c:pt idx="8629">
                  <c:v>16278</c:v>
                </c:pt>
                <c:pt idx="8630">
                  <c:v>16347</c:v>
                </c:pt>
                <c:pt idx="8631">
                  <c:v>16376</c:v>
                </c:pt>
                <c:pt idx="8632">
                  <c:v>16674</c:v>
                </c:pt>
                <c:pt idx="8633">
                  <c:v>17487</c:v>
                </c:pt>
                <c:pt idx="8634">
                  <c:v>18038</c:v>
                </c:pt>
                <c:pt idx="8635">
                  <c:v>18189</c:v>
                </c:pt>
                <c:pt idx="8636">
                  <c:v>17854</c:v>
                </c:pt>
                <c:pt idx="8637">
                  <c:v>17385</c:v>
                </c:pt>
                <c:pt idx="8638">
                  <c:v>17290</c:v>
                </c:pt>
                <c:pt idx="8639">
                  <c:v>16426</c:v>
                </c:pt>
                <c:pt idx="8640">
                  <c:v>15940</c:v>
                </c:pt>
                <c:pt idx="8641">
                  <c:v>15631</c:v>
                </c:pt>
                <c:pt idx="8642">
                  <c:v>15462</c:v>
                </c:pt>
                <c:pt idx="8643">
                  <c:v>15181</c:v>
                </c:pt>
                <c:pt idx="8644">
                  <c:v>15081</c:v>
                </c:pt>
                <c:pt idx="8645">
                  <c:v>14811</c:v>
                </c:pt>
                <c:pt idx="8646">
                  <c:v>14849</c:v>
                </c:pt>
                <c:pt idx="8647">
                  <c:v>15118</c:v>
                </c:pt>
                <c:pt idx="8648">
                  <c:v>15664</c:v>
                </c:pt>
                <c:pt idx="8649">
                  <c:v>16223</c:v>
                </c:pt>
                <c:pt idx="8650">
                  <c:v>16677</c:v>
                </c:pt>
                <c:pt idx="8651">
                  <c:v>17039</c:v>
                </c:pt>
                <c:pt idx="8652">
                  <c:v>17542</c:v>
                </c:pt>
                <c:pt idx="8653">
                  <c:v>18047</c:v>
                </c:pt>
                <c:pt idx="8654">
                  <c:v>18095</c:v>
                </c:pt>
                <c:pt idx="8655">
                  <c:v>17888</c:v>
                </c:pt>
                <c:pt idx="8656">
                  <c:v>17877</c:v>
                </c:pt>
                <c:pt idx="8657">
                  <c:v>18230</c:v>
                </c:pt>
                <c:pt idx="8658">
                  <c:v>18639</c:v>
                </c:pt>
                <c:pt idx="8659">
                  <c:v>18547</c:v>
                </c:pt>
                <c:pt idx="8660">
                  <c:v>18328</c:v>
                </c:pt>
                <c:pt idx="8661">
                  <c:v>17956</c:v>
                </c:pt>
                <c:pt idx="8662">
                  <c:v>17420</c:v>
                </c:pt>
                <c:pt idx="8663">
                  <c:v>17023</c:v>
                </c:pt>
                <c:pt idx="8664">
                  <c:v>16479</c:v>
                </c:pt>
                <c:pt idx="8665">
                  <c:v>15722</c:v>
                </c:pt>
                <c:pt idx="8666">
                  <c:v>15194</c:v>
                </c:pt>
                <c:pt idx="8667">
                  <c:v>15028</c:v>
                </c:pt>
                <c:pt idx="8668">
                  <c:v>14925</c:v>
                </c:pt>
                <c:pt idx="8669">
                  <c:v>14729</c:v>
                </c:pt>
                <c:pt idx="8670">
                  <c:v>15013</c:v>
                </c:pt>
                <c:pt idx="8671">
                  <c:v>15736</c:v>
                </c:pt>
                <c:pt idx="8672">
                  <c:v>17233</c:v>
                </c:pt>
                <c:pt idx="8673">
                  <c:v>18757</c:v>
                </c:pt>
                <c:pt idx="8674">
                  <c:v>19591</c:v>
                </c:pt>
                <c:pt idx="8675">
                  <c:v>20121</c:v>
                </c:pt>
                <c:pt idx="8676">
                  <c:v>20487</c:v>
                </c:pt>
                <c:pt idx="8677">
                  <c:v>20497</c:v>
                </c:pt>
                <c:pt idx="8678">
                  <c:v>20372</c:v>
                </c:pt>
                <c:pt idx="8679">
                  <c:v>20237</c:v>
                </c:pt>
                <c:pt idx="8680">
                  <c:v>20358</c:v>
                </c:pt>
                <c:pt idx="8681">
                  <c:v>20965</c:v>
                </c:pt>
                <c:pt idx="8682">
                  <c:v>21255</c:v>
                </c:pt>
                <c:pt idx="8683">
                  <c:v>21253</c:v>
                </c:pt>
                <c:pt idx="8684">
                  <c:v>20702</c:v>
                </c:pt>
                <c:pt idx="8685">
                  <c:v>20353</c:v>
                </c:pt>
                <c:pt idx="8686">
                  <c:v>19859</c:v>
                </c:pt>
                <c:pt idx="8687">
                  <c:v>19244</c:v>
                </c:pt>
                <c:pt idx="8688">
                  <c:v>18206</c:v>
                </c:pt>
                <c:pt idx="8689">
                  <c:v>17349</c:v>
                </c:pt>
                <c:pt idx="8690">
                  <c:v>16542</c:v>
                </c:pt>
                <c:pt idx="8691">
                  <c:v>16069</c:v>
                </c:pt>
                <c:pt idx="8692">
                  <c:v>15984</c:v>
                </c:pt>
                <c:pt idx="8693">
                  <c:v>16197</c:v>
                </c:pt>
                <c:pt idx="8694">
                  <c:v>16568</c:v>
                </c:pt>
                <c:pt idx="8695">
                  <c:v>16979</c:v>
                </c:pt>
                <c:pt idx="8696">
                  <c:v>18090</c:v>
                </c:pt>
                <c:pt idx="8697">
                  <c:v>19274</c:v>
                </c:pt>
                <c:pt idx="8698">
                  <c:v>19903</c:v>
                </c:pt>
                <c:pt idx="8699">
                  <c:v>20111</c:v>
                </c:pt>
                <c:pt idx="8700">
                  <c:v>20218</c:v>
                </c:pt>
                <c:pt idx="8701">
                  <c:v>20108</c:v>
                </c:pt>
                <c:pt idx="8702">
                  <c:v>19820</c:v>
                </c:pt>
                <c:pt idx="8703">
                  <c:v>19669</c:v>
                </c:pt>
                <c:pt idx="8704">
                  <c:v>19674</c:v>
                </c:pt>
                <c:pt idx="8705">
                  <c:v>20245</c:v>
                </c:pt>
                <c:pt idx="8706">
                  <c:v>20711</c:v>
                </c:pt>
                <c:pt idx="8707">
                  <c:v>20793</c:v>
                </c:pt>
                <c:pt idx="8708">
                  <c:v>20382</c:v>
                </c:pt>
                <c:pt idx="8709">
                  <c:v>19876</c:v>
                </c:pt>
                <c:pt idx="8710">
                  <c:v>19209</c:v>
                </c:pt>
                <c:pt idx="8711">
                  <c:v>18474</c:v>
                </c:pt>
                <c:pt idx="8712">
                  <c:v>17684</c:v>
                </c:pt>
                <c:pt idx="8713">
                  <c:v>16871</c:v>
                </c:pt>
                <c:pt idx="8714">
                  <c:v>16097</c:v>
                </c:pt>
                <c:pt idx="8715">
                  <c:v>15753</c:v>
                </c:pt>
                <c:pt idx="8716">
                  <c:v>15725</c:v>
                </c:pt>
                <c:pt idx="8717">
                  <c:v>15606</c:v>
                </c:pt>
                <c:pt idx="8718">
                  <c:v>15770</c:v>
                </c:pt>
                <c:pt idx="8719">
                  <c:v>16290</c:v>
                </c:pt>
                <c:pt idx="8720">
                  <c:v>17451</c:v>
                </c:pt>
                <c:pt idx="8721">
                  <c:v>18729</c:v>
                </c:pt>
                <c:pt idx="8722">
                  <c:v>19286</c:v>
                </c:pt>
                <c:pt idx="8723">
                  <c:v>19605</c:v>
                </c:pt>
                <c:pt idx="8724">
                  <c:v>19869</c:v>
                </c:pt>
                <c:pt idx="8725">
                  <c:v>19894</c:v>
                </c:pt>
                <c:pt idx="8726">
                  <c:v>19787</c:v>
                </c:pt>
                <c:pt idx="8727">
                  <c:v>19824</c:v>
                </c:pt>
                <c:pt idx="8728">
                  <c:v>19862</c:v>
                </c:pt>
                <c:pt idx="8729">
                  <c:v>20289</c:v>
                </c:pt>
                <c:pt idx="8730">
                  <c:v>20576</c:v>
                </c:pt>
                <c:pt idx="8731">
                  <c:v>20631</c:v>
                </c:pt>
                <c:pt idx="8732">
                  <c:v>20082</c:v>
                </c:pt>
                <c:pt idx="8733">
                  <c:v>19493</c:v>
                </c:pt>
                <c:pt idx="8734">
                  <c:v>18930</c:v>
                </c:pt>
                <c:pt idx="8735">
                  <c:v>18196</c:v>
                </c:pt>
                <c:pt idx="8736">
                  <c:v>17270</c:v>
                </c:pt>
                <c:pt idx="8737">
                  <c:v>165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EF7-42F6-82DB-396AF1132579}"/>
            </c:ext>
          </c:extLst>
        </c:ser>
        <c:ser>
          <c:idx val="1"/>
          <c:order val="1"/>
          <c:tx>
            <c:strRef>
              <c:f>Blad1!$B$2:$B$3</c:f>
              <c:strCache>
                <c:ptCount val="2"/>
                <c:pt idx="0">
                  <c:v>Vind</c:v>
                </c:pt>
                <c:pt idx="1">
                  <c:v>(23000MW)</c:v>
                </c:pt>
              </c:strCache>
            </c:strRef>
          </c:tx>
          <c:spPr>
            <a:ln w="1270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val>
            <c:numRef>
              <c:f>Blad1!$B$4:$B$8741</c:f>
              <c:numCache>
                <c:formatCode>General</c:formatCode>
                <c:ptCount val="8738"/>
                <c:pt idx="2">
                  <c:v>13763.400000000001</c:v>
                </c:pt>
                <c:pt idx="3">
                  <c:v>13977.6</c:v>
                </c:pt>
                <c:pt idx="4">
                  <c:v>14368.2</c:v>
                </c:pt>
                <c:pt idx="5">
                  <c:v>14611.800000000001</c:v>
                </c:pt>
                <c:pt idx="6">
                  <c:v>14653.800000000001</c:v>
                </c:pt>
                <c:pt idx="7">
                  <c:v>14439.6</c:v>
                </c:pt>
                <c:pt idx="8">
                  <c:v>14351.400000000001</c:v>
                </c:pt>
                <c:pt idx="9">
                  <c:v>14380.800000000001</c:v>
                </c:pt>
                <c:pt idx="10">
                  <c:v>14485.800000000001</c:v>
                </c:pt>
                <c:pt idx="11">
                  <c:v>14435.400000000001</c:v>
                </c:pt>
                <c:pt idx="12">
                  <c:v>14586.6</c:v>
                </c:pt>
                <c:pt idx="13">
                  <c:v>14578.2</c:v>
                </c:pt>
                <c:pt idx="14">
                  <c:v>14296.800000000001</c:v>
                </c:pt>
                <c:pt idx="15">
                  <c:v>14452.2</c:v>
                </c:pt>
                <c:pt idx="16">
                  <c:v>14569.800000000001</c:v>
                </c:pt>
                <c:pt idx="17">
                  <c:v>14968.800000000001</c:v>
                </c:pt>
                <c:pt idx="18">
                  <c:v>15107.400000000001</c:v>
                </c:pt>
                <c:pt idx="19">
                  <c:v>15225</c:v>
                </c:pt>
                <c:pt idx="20">
                  <c:v>15199.800000000001</c:v>
                </c:pt>
                <c:pt idx="21">
                  <c:v>15300.6</c:v>
                </c:pt>
                <c:pt idx="22">
                  <c:v>15796.2</c:v>
                </c:pt>
                <c:pt idx="23">
                  <c:v>15968.400000000001</c:v>
                </c:pt>
                <c:pt idx="24">
                  <c:v>16375.800000000001</c:v>
                </c:pt>
                <c:pt idx="25">
                  <c:v>16657.2</c:v>
                </c:pt>
                <c:pt idx="26">
                  <c:v>16854.600000000002</c:v>
                </c:pt>
                <c:pt idx="27">
                  <c:v>16850.400000000001</c:v>
                </c:pt>
                <c:pt idx="28">
                  <c:v>16581.600000000002</c:v>
                </c:pt>
                <c:pt idx="29">
                  <c:v>16422</c:v>
                </c:pt>
                <c:pt idx="30">
                  <c:v>16321.2</c:v>
                </c:pt>
                <c:pt idx="31">
                  <c:v>16224.6</c:v>
                </c:pt>
                <c:pt idx="32">
                  <c:v>15943.2</c:v>
                </c:pt>
                <c:pt idx="33">
                  <c:v>15842.400000000001</c:v>
                </c:pt>
                <c:pt idx="34">
                  <c:v>15985.2</c:v>
                </c:pt>
                <c:pt idx="35">
                  <c:v>16182.6</c:v>
                </c:pt>
                <c:pt idx="36">
                  <c:v>16182.6</c:v>
                </c:pt>
                <c:pt idx="37">
                  <c:v>16728.600000000002</c:v>
                </c:pt>
                <c:pt idx="38">
                  <c:v>16993.2</c:v>
                </c:pt>
                <c:pt idx="39">
                  <c:v>17493</c:v>
                </c:pt>
                <c:pt idx="40">
                  <c:v>18265.8</c:v>
                </c:pt>
                <c:pt idx="41">
                  <c:v>18572.400000000001</c:v>
                </c:pt>
                <c:pt idx="42">
                  <c:v>18790.8</c:v>
                </c:pt>
                <c:pt idx="43">
                  <c:v>18790.8</c:v>
                </c:pt>
                <c:pt idx="44">
                  <c:v>18858</c:v>
                </c:pt>
                <c:pt idx="45">
                  <c:v>18908.400000000001</c:v>
                </c:pt>
                <c:pt idx="46">
                  <c:v>18883.2</c:v>
                </c:pt>
                <c:pt idx="47">
                  <c:v>18996.600000000002</c:v>
                </c:pt>
                <c:pt idx="48">
                  <c:v>19051.2</c:v>
                </c:pt>
                <c:pt idx="49">
                  <c:v>19152</c:v>
                </c:pt>
                <c:pt idx="50">
                  <c:v>20550.600000000002</c:v>
                </c:pt>
                <c:pt idx="51">
                  <c:v>20609.400000000001</c:v>
                </c:pt>
                <c:pt idx="52">
                  <c:v>20575.8</c:v>
                </c:pt>
                <c:pt idx="53">
                  <c:v>20533.8</c:v>
                </c:pt>
                <c:pt idx="54">
                  <c:v>20512.8</c:v>
                </c:pt>
                <c:pt idx="55">
                  <c:v>20370</c:v>
                </c:pt>
                <c:pt idx="56">
                  <c:v>20168.400000000001</c:v>
                </c:pt>
                <c:pt idx="57">
                  <c:v>19979.400000000001</c:v>
                </c:pt>
                <c:pt idx="58">
                  <c:v>19664.400000000001</c:v>
                </c:pt>
                <c:pt idx="59">
                  <c:v>19345.2</c:v>
                </c:pt>
                <c:pt idx="60">
                  <c:v>18967.2</c:v>
                </c:pt>
                <c:pt idx="61">
                  <c:v>18547.2</c:v>
                </c:pt>
                <c:pt idx="62">
                  <c:v>18232.2</c:v>
                </c:pt>
                <c:pt idx="63">
                  <c:v>17791.2</c:v>
                </c:pt>
                <c:pt idx="64">
                  <c:v>17551.8</c:v>
                </c:pt>
                <c:pt idx="65">
                  <c:v>16984.8</c:v>
                </c:pt>
                <c:pt idx="66">
                  <c:v>16522.8</c:v>
                </c:pt>
                <c:pt idx="67">
                  <c:v>16136.400000000001</c:v>
                </c:pt>
                <c:pt idx="68">
                  <c:v>15955.800000000001</c:v>
                </c:pt>
                <c:pt idx="69">
                  <c:v>15565.2</c:v>
                </c:pt>
                <c:pt idx="70">
                  <c:v>15309</c:v>
                </c:pt>
                <c:pt idx="71">
                  <c:v>15086.400000000001</c:v>
                </c:pt>
                <c:pt idx="72">
                  <c:v>15036</c:v>
                </c:pt>
                <c:pt idx="73">
                  <c:v>15241.800000000001</c:v>
                </c:pt>
                <c:pt idx="74">
                  <c:v>16283.400000000001</c:v>
                </c:pt>
                <c:pt idx="75">
                  <c:v>16346.400000000001</c:v>
                </c:pt>
                <c:pt idx="76">
                  <c:v>16539.600000000002</c:v>
                </c:pt>
                <c:pt idx="77">
                  <c:v>16585.8</c:v>
                </c:pt>
                <c:pt idx="78">
                  <c:v>16644.600000000002</c:v>
                </c:pt>
                <c:pt idx="79">
                  <c:v>16623.600000000002</c:v>
                </c:pt>
                <c:pt idx="80">
                  <c:v>16711.8</c:v>
                </c:pt>
                <c:pt idx="81">
                  <c:v>16829.400000000001</c:v>
                </c:pt>
                <c:pt idx="82">
                  <c:v>16707.600000000002</c:v>
                </c:pt>
                <c:pt idx="83">
                  <c:v>16632</c:v>
                </c:pt>
                <c:pt idx="84">
                  <c:v>16590</c:v>
                </c:pt>
                <c:pt idx="85">
                  <c:v>16430.400000000001</c:v>
                </c:pt>
                <c:pt idx="86">
                  <c:v>16367.400000000001</c:v>
                </c:pt>
                <c:pt idx="87">
                  <c:v>16031.400000000001</c:v>
                </c:pt>
                <c:pt idx="88">
                  <c:v>15485.400000000001</c:v>
                </c:pt>
                <c:pt idx="89">
                  <c:v>14977.2</c:v>
                </c:pt>
                <c:pt idx="90">
                  <c:v>14406</c:v>
                </c:pt>
                <c:pt idx="91">
                  <c:v>14061.6</c:v>
                </c:pt>
                <c:pt idx="92">
                  <c:v>13511.400000000001</c:v>
                </c:pt>
                <c:pt idx="93">
                  <c:v>12944.400000000001</c:v>
                </c:pt>
                <c:pt idx="94">
                  <c:v>12276.6</c:v>
                </c:pt>
                <c:pt idx="95">
                  <c:v>11705.4</c:v>
                </c:pt>
                <c:pt idx="96">
                  <c:v>11260.2</c:v>
                </c:pt>
                <c:pt idx="97">
                  <c:v>10920</c:v>
                </c:pt>
                <c:pt idx="98">
                  <c:v>9966.6</c:v>
                </c:pt>
                <c:pt idx="99">
                  <c:v>9315.6</c:v>
                </c:pt>
                <c:pt idx="100">
                  <c:v>8773.8000000000011</c:v>
                </c:pt>
                <c:pt idx="101">
                  <c:v>8135.4000000000005</c:v>
                </c:pt>
                <c:pt idx="102">
                  <c:v>7740.6</c:v>
                </c:pt>
                <c:pt idx="103">
                  <c:v>7148.4000000000005</c:v>
                </c:pt>
                <c:pt idx="104">
                  <c:v>6652.8</c:v>
                </c:pt>
                <c:pt idx="105">
                  <c:v>6085.8</c:v>
                </c:pt>
                <c:pt idx="106">
                  <c:v>5632.2</c:v>
                </c:pt>
                <c:pt idx="107">
                  <c:v>5401.2</c:v>
                </c:pt>
                <c:pt idx="108">
                  <c:v>5115.6000000000004</c:v>
                </c:pt>
                <c:pt idx="109">
                  <c:v>4716.6000000000004</c:v>
                </c:pt>
                <c:pt idx="110">
                  <c:v>3985.8</c:v>
                </c:pt>
                <c:pt idx="111">
                  <c:v>3666.6000000000004</c:v>
                </c:pt>
                <c:pt idx="112">
                  <c:v>3360</c:v>
                </c:pt>
                <c:pt idx="113">
                  <c:v>3112.2000000000003</c:v>
                </c:pt>
                <c:pt idx="114">
                  <c:v>2910.6</c:v>
                </c:pt>
                <c:pt idx="115">
                  <c:v>2721.6</c:v>
                </c:pt>
                <c:pt idx="116">
                  <c:v>2620.8000000000002</c:v>
                </c:pt>
                <c:pt idx="117">
                  <c:v>2671.2000000000003</c:v>
                </c:pt>
                <c:pt idx="118">
                  <c:v>2536.8000000000002</c:v>
                </c:pt>
                <c:pt idx="119">
                  <c:v>2448.6</c:v>
                </c:pt>
                <c:pt idx="120">
                  <c:v>2650.2000000000003</c:v>
                </c:pt>
                <c:pt idx="121">
                  <c:v>2709</c:v>
                </c:pt>
                <c:pt idx="122">
                  <c:v>3792.6000000000004</c:v>
                </c:pt>
                <c:pt idx="123">
                  <c:v>4338.6000000000004</c:v>
                </c:pt>
                <c:pt idx="124">
                  <c:v>5073.6000000000004</c:v>
                </c:pt>
                <c:pt idx="125">
                  <c:v>5653.2</c:v>
                </c:pt>
                <c:pt idx="126">
                  <c:v>6111</c:v>
                </c:pt>
                <c:pt idx="127">
                  <c:v>6447</c:v>
                </c:pt>
                <c:pt idx="128">
                  <c:v>7093.8</c:v>
                </c:pt>
                <c:pt idx="129">
                  <c:v>7597.8</c:v>
                </c:pt>
                <c:pt idx="130">
                  <c:v>8383.2000000000007</c:v>
                </c:pt>
                <c:pt idx="131">
                  <c:v>9072</c:v>
                </c:pt>
                <c:pt idx="132">
                  <c:v>9424.8000000000011</c:v>
                </c:pt>
                <c:pt idx="133">
                  <c:v>10075.800000000001</c:v>
                </c:pt>
                <c:pt idx="134">
                  <c:v>10579.800000000001</c:v>
                </c:pt>
                <c:pt idx="135">
                  <c:v>10512.6</c:v>
                </c:pt>
                <c:pt idx="136">
                  <c:v>11109</c:v>
                </c:pt>
                <c:pt idx="137">
                  <c:v>11747.4</c:v>
                </c:pt>
                <c:pt idx="138">
                  <c:v>12465.6</c:v>
                </c:pt>
                <c:pt idx="139">
                  <c:v>13444.2</c:v>
                </c:pt>
                <c:pt idx="140">
                  <c:v>13956.6</c:v>
                </c:pt>
                <c:pt idx="141">
                  <c:v>14120.400000000001</c:v>
                </c:pt>
                <c:pt idx="142">
                  <c:v>14595</c:v>
                </c:pt>
                <c:pt idx="143">
                  <c:v>14784</c:v>
                </c:pt>
                <c:pt idx="144">
                  <c:v>14679</c:v>
                </c:pt>
                <c:pt idx="145">
                  <c:v>14725.2</c:v>
                </c:pt>
                <c:pt idx="146">
                  <c:v>16207.800000000001</c:v>
                </c:pt>
                <c:pt idx="147">
                  <c:v>15943.2</c:v>
                </c:pt>
                <c:pt idx="148">
                  <c:v>15678.6</c:v>
                </c:pt>
                <c:pt idx="149">
                  <c:v>15132.6</c:v>
                </c:pt>
                <c:pt idx="150">
                  <c:v>14372.400000000001</c:v>
                </c:pt>
                <c:pt idx="151">
                  <c:v>13536.6</c:v>
                </c:pt>
                <c:pt idx="152">
                  <c:v>12352.2</c:v>
                </c:pt>
                <c:pt idx="153">
                  <c:v>11403</c:v>
                </c:pt>
                <c:pt idx="154">
                  <c:v>10222.800000000001</c:v>
                </c:pt>
                <c:pt idx="155">
                  <c:v>9206.4</c:v>
                </c:pt>
                <c:pt idx="156">
                  <c:v>8433.6</c:v>
                </c:pt>
                <c:pt idx="157">
                  <c:v>8194.2000000000007</c:v>
                </c:pt>
                <c:pt idx="158">
                  <c:v>7833</c:v>
                </c:pt>
                <c:pt idx="159">
                  <c:v>7467.6</c:v>
                </c:pt>
                <c:pt idx="160">
                  <c:v>6997.2000000000007</c:v>
                </c:pt>
                <c:pt idx="161">
                  <c:v>6657</c:v>
                </c:pt>
                <c:pt idx="162">
                  <c:v>6358.8</c:v>
                </c:pt>
                <c:pt idx="163">
                  <c:v>6522.6</c:v>
                </c:pt>
                <c:pt idx="164">
                  <c:v>6308.4000000000005</c:v>
                </c:pt>
                <c:pt idx="165">
                  <c:v>6203.4000000000005</c:v>
                </c:pt>
                <c:pt idx="166">
                  <c:v>6724.2000000000007</c:v>
                </c:pt>
                <c:pt idx="167">
                  <c:v>7530.6</c:v>
                </c:pt>
                <c:pt idx="168">
                  <c:v>8454.6</c:v>
                </c:pt>
                <c:pt idx="169">
                  <c:v>9483.6</c:v>
                </c:pt>
                <c:pt idx="170">
                  <c:v>10735.2</c:v>
                </c:pt>
                <c:pt idx="171">
                  <c:v>11772.6</c:v>
                </c:pt>
                <c:pt idx="172">
                  <c:v>12734.4</c:v>
                </c:pt>
                <c:pt idx="173">
                  <c:v>14065.800000000001</c:v>
                </c:pt>
                <c:pt idx="174">
                  <c:v>14989.800000000001</c:v>
                </c:pt>
                <c:pt idx="175">
                  <c:v>15632.400000000001</c:v>
                </c:pt>
                <c:pt idx="176">
                  <c:v>16115.400000000001</c:v>
                </c:pt>
                <c:pt idx="177">
                  <c:v>16119.6</c:v>
                </c:pt>
                <c:pt idx="178">
                  <c:v>15787.800000000001</c:v>
                </c:pt>
                <c:pt idx="179">
                  <c:v>15258.6</c:v>
                </c:pt>
                <c:pt idx="180">
                  <c:v>14448</c:v>
                </c:pt>
                <c:pt idx="181">
                  <c:v>13696.2</c:v>
                </c:pt>
                <c:pt idx="182">
                  <c:v>12936</c:v>
                </c:pt>
                <c:pt idx="183">
                  <c:v>12201</c:v>
                </c:pt>
                <c:pt idx="184">
                  <c:v>11671.800000000001</c:v>
                </c:pt>
                <c:pt idx="185">
                  <c:v>10999.800000000001</c:v>
                </c:pt>
                <c:pt idx="186">
                  <c:v>10403.4</c:v>
                </c:pt>
                <c:pt idx="187">
                  <c:v>10176.6</c:v>
                </c:pt>
                <c:pt idx="188">
                  <c:v>10726.800000000001</c:v>
                </c:pt>
                <c:pt idx="189">
                  <c:v>10722.6</c:v>
                </c:pt>
                <c:pt idx="190">
                  <c:v>11075.4</c:v>
                </c:pt>
                <c:pt idx="191">
                  <c:v>11802</c:v>
                </c:pt>
                <c:pt idx="192">
                  <c:v>12490.800000000001</c:v>
                </c:pt>
                <c:pt idx="193">
                  <c:v>13099.800000000001</c:v>
                </c:pt>
                <c:pt idx="194">
                  <c:v>10386.6</c:v>
                </c:pt>
                <c:pt idx="195">
                  <c:v>13725.6</c:v>
                </c:pt>
                <c:pt idx="196">
                  <c:v>13986</c:v>
                </c:pt>
                <c:pt idx="197">
                  <c:v>13952.400000000001</c:v>
                </c:pt>
                <c:pt idx="198">
                  <c:v>13650</c:v>
                </c:pt>
                <c:pt idx="199">
                  <c:v>13125</c:v>
                </c:pt>
                <c:pt idx="200">
                  <c:v>12427.800000000001</c:v>
                </c:pt>
                <c:pt idx="201">
                  <c:v>11718</c:v>
                </c:pt>
                <c:pt idx="202">
                  <c:v>10920</c:v>
                </c:pt>
                <c:pt idx="203">
                  <c:v>10109.4</c:v>
                </c:pt>
                <c:pt idx="204">
                  <c:v>9479.4</c:v>
                </c:pt>
                <c:pt idx="205">
                  <c:v>8899.8000000000011</c:v>
                </c:pt>
                <c:pt idx="206">
                  <c:v>8017.8</c:v>
                </c:pt>
                <c:pt idx="207">
                  <c:v>8215.2000000000007</c:v>
                </c:pt>
                <c:pt idx="208">
                  <c:v>8043</c:v>
                </c:pt>
                <c:pt idx="209">
                  <c:v>7996.8</c:v>
                </c:pt>
                <c:pt idx="210">
                  <c:v>7862.4000000000005</c:v>
                </c:pt>
                <c:pt idx="211">
                  <c:v>7749</c:v>
                </c:pt>
                <c:pt idx="212">
                  <c:v>7774.2000000000007</c:v>
                </c:pt>
                <c:pt idx="213">
                  <c:v>7770</c:v>
                </c:pt>
                <c:pt idx="214">
                  <c:v>7673.4000000000005</c:v>
                </c:pt>
                <c:pt idx="215">
                  <c:v>7513.8</c:v>
                </c:pt>
                <c:pt idx="216">
                  <c:v>7291.2000000000007</c:v>
                </c:pt>
                <c:pt idx="217">
                  <c:v>6909</c:v>
                </c:pt>
                <c:pt idx="218">
                  <c:v>5791.8</c:v>
                </c:pt>
                <c:pt idx="219">
                  <c:v>5321.4000000000005</c:v>
                </c:pt>
                <c:pt idx="220">
                  <c:v>4788</c:v>
                </c:pt>
                <c:pt idx="221">
                  <c:v>4195.8</c:v>
                </c:pt>
                <c:pt idx="222">
                  <c:v>3733.8</c:v>
                </c:pt>
                <c:pt idx="223">
                  <c:v>3334.8</c:v>
                </c:pt>
                <c:pt idx="224">
                  <c:v>3402</c:v>
                </c:pt>
                <c:pt idx="225">
                  <c:v>3994.2000000000003</c:v>
                </c:pt>
                <c:pt idx="226">
                  <c:v>4972.8</c:v>
                </c:pt>
                <c:pt idx="227">
                  <c:v>6682.2000000000007</c:v>
                </c:pt>
                <c:pt idx="228">
                  <c:v>8836.8000000000011</c:v>
                </c:pt>
                <c:pt idx="229">
                  <c:v>10584</c:v>
                </c:pt>
                <c:pt idx="230">
                  <c:v>12041.4</c:v>
                </c:pt>
                <c:pt idx="231">
                  <c:v>13175.400000000001</c:v>
                </c:pt>
                <c:pt idx="232">
                  <c:v>14397.6</c:v>
                </c:pt>
                <c:pt idx="233">
                  <c:v>15023.400000000001</c:v>
                </c:pt>
                <c:pt idx="234">
                  <c:v>15884.400000000001</c:v>
                </c:pt>
                <c:pt idx="235">
                  <c:v>15892.800000000001</c:v>
                </c:pt>
                <c:pt idx="236">
                  <c:v>15246</c:v>
                </c:pt>
                <c:pt idx="237">
                  <c:v>15300.6</c:v>
                </c:pt>
                <c:pt idx="238">
                  <c:v>15288</c:v>
                </c:pt>
                <c:pt idx="239">
                  <c:v>15237.6</c:v>
                </c:pt>
                <c:pt idx="240">
                  <c:v>15456</c:v>
                </c:pt>
                <c:pt idx="241">
                  <c:v>15418.2</c:v>
                </c:pt>
                <c:pt idx="242">
                  <c:v>15766.800000000001</c:v>
                </c:pt>
                <c:pt idx="243">
                  <c:v>16073.400000000001</c:v>
                </c:pt>
                <c:pt idx="244">
                  <c:v>15901.2</c:v>
                </c:pt>
                <c:pt idx="245">
                  <c:v>16044</c:v>
                </c:pt>
                <c:pt idx="246">
                  <c:v>16132.2</c:v>
                </c:pt>
                <c:pt idx="247">
                  <c:v>16216.2</c:v>
                </c:pt>
                <c:pt idx="248">
                  <c:v>16241.400000000001</c:v>
                </c:pt>
                <c:pt idx="249">
                  <c:v>16018.800000000001</c:v>
                </c:pt>
                <c:pt idx="250">
                  <c:v>15876</c:v>
                </c:pt>
                <c:pt idx="251">
                  <c:v>15464.400000000001</c:v>
                </c:pt>
                <c:pt idx="252">
                  <c:v>14763</c:v>
                </c:pt>
                <c:pt idx="253">
                  <c:v>14380.800000000001</c:v>
                </c:pt>
                <c:pt idx="254">
                  <c:v>13162.800000000001</c:v>
                </c:pt>
                <c:pt idx="255">
                  <c:v>12289.2</c:v>
                </c:pt>
                <c:pt idx="256">
                  <c:v>11827.2</c:v>
                </c:pt>
                <c:pt idx="257">
                  <c:v>11369.4</c:v>
                </c:pt>
                <c:pt idx="258">
                  <c:v>10861.2</c:v>
                </c:pt>
                <c:pt idx="259">
                  <c:v>10445.4</c:v>
                </c:pt>
                <c:pt idx="260">
                  <c:v>10264.800000000001</c:v>
                </c:pt>
                <c:pt idx="261">
                  <c:v>9752.4</c:v>
                </c:pt>
                <c:pt idx="262">
                  <c:v>9231.6</c:v>
                </c:pt>
                <c:pt idx="263">
                  <c:v>8521.8000000000011</c:v>
                </c:pt>
                <c:pt idx="264">
                  <c:v>8097.6</c:v>
                </c:pt>
                <c:pt idx="265">
                  <c:v>7387.8</c:v>
                </c:pt>
                <c:pt idx="266">
                  <c:v>6249.6</c:v>
                </c:pt>
                <c:pt idx="267">
                  <c:v>5527.2</c:v>
                </c:pt>
                <c:pt idx="268">
                  <c:v>4943.4000000000005</c:v>
                </c:pt>
                <c:pt idx="269">
                  <c:v>4851</c:v>
                </c:pt>
                <c:pt idx="270">
                  <c:v>5031.6000000000004</c:v>
                </c:pt>
                <c:pt idx="271">
                  <c:v>5682.6</c:v>
                </c:pt>
                <c:pt idx="272">
                  <c:v>6203.4000000000005</c:v>
                </c:pt>
                <c:pt idx="273">
                  <c:v>7123.2000000000007</c:v>
                </c:pt>
                <c:pt idx="274">
                  <c:v>8269.8000000000011</c:v>
                </c:pt>
                <c:pt idx="275">
                  <c:v>9076.2000000000007</c:v>
                </c:pt>
                <c:pt idx="276">
                  <c:v>9987.6</c:v>
                </c:pt>
                <c:pt idx="277">
                  <c:v>10932.6</c:v>
                </c:pt>
                <c:pt idx="278">
                  <c:v>11785.2</c:v>
                </c:pt>
                <c:pt idx="279">
                  <c:v>12721.800000000001</c:v>
                </c:pt>
                <c:pt idx="280">
                  <c:v>13406.400000000001</c:v>
                </c:pt>
                <c:pt idx="281">
                  <c:v>14187.6</c:v>
                </c:pt>
                <c:pt idx="282">
                  <c:v>14947.800000000001</c:v>
                </c:pt>
                <c:pt idx="283">
                  <c:v>15527.400000000001</c:v>
                </c:pt>
                <c:pt idx="284">
                  <c:v>15611.400000000001</c:v>
                </c:pt>
                <c:pt idx="285">
                  <c:v>15825.6</c:v>
                </c:pt>
                <c:pt idx="286">
                  <c:v>15792</c:v>
                </c:pt>
                <c:pt idx="287">
                  <c:v>15678.6</c:v>
                </c:pt>
                <c:pt idx="288">
                  <c:v>15477</c:v>
                </c:pt>
                <c:pt idx="289">
                  <c:v>14922.6</c:v>
                </c:pt>
                <c:pt idx="290">
                  <c:v>15149.400000000001</c:v>
                </c:pt>
                <c:pt idx="291">
                  <c:v>14456.400000000001</c:v>
                </c:pt>
                <c:pt idx="292">
                  <c:v>13721.400000000001</c:v>
                </c:pt>
                <c:pt idx="293">
                  <c:v>12940.2</c:v>
                </c:pt>
                <c:pt idx="294">
                  <c:v>12066.6</c:v>
                </c:pt>
                <c:pt idx="295">
                  <c:v>11209.800000000001</c:v>
                </c:pt>
                <c:pt idx="296">
                  <c:v>10567.2</c:v>
                </c:pt>
                <c:pt idx="297">
                  <c:v>10273.200000000001</c:v>
                </c:pt>
                <c:pt idx="298">
                  <c:v>9975</c:v>
                </c:pt>
                <c:pt idx="299">
                  <c:v>9996</c:v>
                </c:pt>
                <c:pt idx="300">
                  <c:v>10008.6</c:v>
                </c:pt>
                <c:pt idx="301">
                  <c:v>9819.6</c:v>
                </c:pt>
                <c:pt idx="302">
                  <c:v>9781.8000000000011</c:v>
                </c:pt>
                <c:pt idx="303">
                  <c:v>9739.8000000000011</c:v>
                </c:pt>
                <c:pt idx="304">
                  <c:v>9605.4</c:v>
                </c:pt>
                <c:pt idx="305">
                  <c:v>9576</c:v>
                </c:pt>
                <c:pt idx="306">
                  <c:v>9886.8000000000011</c:v>
                </c:pt>
                <c:pt idx="307">
                  <c:v>9786</c:v>
                </c:pt>
                <c:pt idx="308">
                  <c:v>9739.8000000000011</c:v>
                </c:pt>
                <c:pt idx="309">
                  <c:v>9735.6</c:v>
                </c:pt>
                <c:pt idx="310">
                  <c:v>9718.8000000000011</c:v>
                </c:pt>
                <c:pt idx="311">
                  <c:v>9555</c:v>
                </c:pt>
                <c:pt idx="312">
                  <c:v>9021.6</c:v>
                </c:pt>
                <c:pt idx="313">
                  <c:v>8841</c:v>
                </c:pt>
                <c:pt idx="314">
                  <c:v>8689.8000000000011</c:v>
                </c:pt>
                <c:pt idx="315">
                  <c:v>8542.8000000000011</c:v>
                </c:pt>
                <c:pt idx="316">
                  <c:v>8475.6</c:v>
                </c:pt>
                <c:pt idx="317">
                  <c:v>8332.8000000000011</c:v>
                </c:pt>
                <c:pt idx="318">
                  <c:v>8635.2000000000007</c:v>
                </c:pt>
                <c:pt idx="319">
                  <c:v>8782.2000000000007</c:v>
                </c:pt>
                <c:pt idx="320">
                  <c:v>8807.4</c:v>
                </c:pt>
                <c:pt idx="321">
                  <c:v>9177</c:v>
                </c:pt>
                <c:pt idx="322">
                  <c:v>8992.2000000000007</c:v>
                </c:pt>
                <c:pt idx="323">
                  <c:v>8702.4</c:v>
                </c:pt>
                <c:pt idx="324">
                  <c:v>8811.6</c:v>
                </c:pt>
                <c:pt idx="325">
                  <c:v>8815.8000000000011</c:v>
                </c:pt>
                <c:pt idx="326">
                  <c:v>9151.8000000000011</c:v>
                </c:pt>
                <c:pt idx="327">
                  <c:v>9198</c:v>
                </c:pt>
                <c:pt idx="328">
                  <c:v>9164.4</c:v>
                </c:pt>
                <c:pt idx="329">
                  <c:v>9101.4</c:v>
                </c:pt>
                <c:pt idx="330">
                  <c:v>8916.6</c:v>
                </c:pt>
                <c:pt idx="331">
                  <c:v>8857.8000000000011</c:v>
                </c:pt>
                <c:pt idx="332">
                  <c:v>8912.4</c:v>
                </c:pt>
                <c:pt idx="333">
                  <c:v>9147.6</c:v>
                </c:pt>
                <c:pt idx="334">
                  <c:v>9353.4</c:v>
                </c:pt>
                <c:pt idx="335">
                  <c:v>9357.6</c:v>
                </c:pt>
                <c:pt idx="336">
                  <c:v>8950.2000000000007</c:v>
                </c:pt>
                <c:pt idx="337">
                  <c:v>9151.8000000000011</c:v>
                </c:pt>
                <c:pt idx="338">
                  <c:v>9294.6</c:v>
                </c:pt>
                <c:pt idx="339">
                  <c:v>9307.2000000000007</c:v>
                </c:pt>
                <c:pt idx="340">
                  <c:v>9433.2000000000007</c:v>
                </c:pt>
                <c:pt idx="341">
                  <c:v>9475.2000000000007</c:v>
                </c:pt>
                <c:pt idx="342">
                  <c:v>9500.4</c:v>
                </c:pt>
                <c:pt idx="343">
                  <c:v>9256.8000000000011</c:v>
                </c:pt>
                <c:pt idx="344">
                  <c:v>9256.8000000000011</c:v>
                </c:pt>
                <c:pt idx="345">
                  <c:v>9412.2000000000007</c:v>
                </c:pt>
                <c:pt idx="346">
                  <c:v>9916.2000000000007</c:v>
                </c:pt>
                <c:pt idx="347">
                  <c:v>11151</c:v>
                </c:pt>
                <c:pt idx="348">
                  <c:v>12054</c:v>
                </c:pt>
                <c:pt idx="349">
                  <c:v>12717.6</c:v>
                </c:pt>
                <c:pt idx="350">
                  <c:v>13545</c:v>
                </c:pt>
                <c:pt idx="351">
                  <c:v>14267.400000000001</c:v>
                </c:pt>
                <c:pt idx="352">
                  <c:v>14964.6</c:v>
                </c:pt>
                <c:pt idx="353">
                  <c:v>15531.6</c:v>
                </c:pt>
                <c:pt idx="354">
                  <c:v>16195.2</c:v>
                </c:pt>
                <c:pt idx="355">
                  <c:v>16606.8</c:v>
                </c:pt>
                <c:pt idx="356">
                  <c:v>16623.600000000002</c:v>
                </c:pt>
                <c:pt idx="357">
                  <c:v>16615.2</c:v>
                </c:pt>
                <c:pt idx="358">
                  <c:v>16325.400000000001</c:v>
                </c:pt>
                <c:pt idx="359">
                  <c:v>16165.800000000001</c:v>
                </c:pt>
                <c:pt idx="360">
                  <c:v>15934.800000000001</c:v>
                </c:pt>
                <c:pt idx="361">
                  <c:v>15708</c:v>
                </c:pt>
                <c:pt idx="362">
                  <c:v>15254.400000000001</c:v>
                </c:pt>
                <c:pt idx="363">
                  <c:v>15250.2</c:v>
                </c:pt>
                <c:pt idx="364">
                  <c:v>15128.400000000001</c:v>
                </c:pt>
                <c:pt idx="365">
                  <c:v>15145.2</c:v>
                </c:pt>
                <c:pt idx="366">
                  <c:v>15094.800000000001</c:v>
                </c:pt>
                <c:pt idx="367">
                  <c:v>14964.6</c:v>
                </c:pt>
                <c:pt idx="368">
                  <c:v>15036</c:v>
                </c:pt>
                <c:pt idx="369">
                  <c:v>15132.6</c:v>
                </c:pt>
                <c:pt idx="370">
                  <c:v>15275.400000000001</c:v>
                </c:pt>
                <c:pt idx="371">
                  <c:v>15262.800000000001</c:v>
                </c:pt>
                <c:pt idx="372">
                  <c:v>15439.2</c:v>
                </c:pt>
                <c:pt idx="373">
                  <c:v>15418.2</c:v>
                </c:pt>
                <c:pt idx="374">
                  <c:v>15439.2</c:v>
                </c:pt>
                <c:pt idx="375">
                  <c:v>15489.6</c:v>
                </c:pt>
                <c:pt idx="376">
                  <c:v>15166.2</c:v>
                </c:pt>
                <c:pt idx="377">
                  <c:v>15220.800000000001</c:v>
                </c:pt>
                <c:pt idx="378">
                  <c:v>14922.6</c:v>
                </c:pt>
                <c:pt idx="379">
                  <c:v>14611.800000000001</c:v>
                </c:pt>
                <c:pt idx="380">
                  <c:v>14322</c:v>
                </c:pt>
                <c:pt idx="381">
                  <c:v>13797</c:v>
                </c:pt>
                <c:pt idx="382">
                  <c:v>13494.6</c:v>
                </c:pt>
                <c:pt idx="383">
                  <c:v>13116.6</c:v>
                </c:pt>
                <c:pt idx="384">
                  <c:v>12805.800000000001</c:v>
                </c:pt>
                <c:pt idx="385">
                  <c:v>12453</c:v>
                </c:pt>
                <c:pt idx="386">
                  <c:v>11411.4</c:v>
                </c:pt>
                <c:pt idx="387">
                  <c:v>11205.6</c:v>
                </c:pt>
                <c:pt idx="388">
                  <c:v>11109</c:v>
                </c:pt>
                <c:pt idx="389">
                  <c:v>10957.800000000001</c:v>
                </c:pt>
                <c:pt idx="390">
                  <c:v>10642.800000000001</c:v>
                </c:pt>
                <c:pt idx="391">
                  <c:v>10260.6</c:v>
                </c:pt>
                <c:pt idx="392">
                  <c:v>9962.4</c:v>
                </c:pt>
                <c:pt idx="393">
                  <c:v>9668.4</c:v>
                </c:pt>
                <c:pt idx="394">
                  <c:v>9597</c:v>
                </c:pt>
                <c:pt idx="395">
                  <c:v>9639</c:v>
                </c:pt>
                <c:pt idx="396">
                  <c:v>9832.2000000000007</c:v>
                </c:pt>
                <c:pt idx="397">
                  <c:v>9924.6</c:v>
                </c:pt>
                <c:pt idx="398">
                  <c:v>10357.200000000001</c:v>
                </c:pt>
                <c:pt idx="399">
                  <c:v>10260.6</c:v>
                </c:pt>
                <c:pt idx="400">
                  <c:v>10365.6</c:v>
                </c:pt>
                <c:pt idx="401">
                  <c:v>10462.200000000001</c:v>
                </c:pt>
                <c:pt idx="402">
                  <c:v>10516.800000000001</c:v>
                </c:pt>
                <c:pt idx="403">
                  <c:v>10584</c:v>
                </c:pt>
                <c:pt idx="404">
                  <c:v>10575.6</c:v>
                </c:pt>
                <c:pt idx="405">
                  <c:v>10407.6</c:v>
                </c:pt>
                <c:pt idx="406">
                  <c:v>10172.4</c:v>
                </c:pt>
                <c:pt idx="407">
                  <c:v>10046.4</c:v>
                </c:pt>
                <c:pt idx="408">
                  <c:v>10042.200000000001</c:v>
                </c:pt>
                <c:pt idx="409">
                  <c:v>9970.8000000000011</c:v>
                </c:pt>
                <c:pt idx="410">
                  <c:v>10869.6</c:v>
                </c:pt>
                <c:pt idx="411">
                  <c:v>10701.6</c:v>
                </c:pt>
                <c:pt idx="412">
                  <c:v>10353</c:v>
                </c:pt>
                <c:pt idx="413">
                  <c:v>10130.4</c:v>
                </c:pt>
                <c:pt idx="414">
                  <c:v>9487.8000000000011</c:v>
                </c:pt>
                <c:pt idx="415">
                  <c:v>8958.6</c:v>
                </c:pt>
                <c:pt idx="416">
                  <c:v>8626.8000000000011</c:v>
                </c:pt>
                <c:pt idx="417">
                  <c:v>8152.2000000000007</c:v>
                </c:pt>
                <c:pt idx="418">
                  <c:v>7938</c:v>
                </c:pt>
                <c:pt idx="419">
                  <c:v>7371</c:v>
                </c:pt>
                <c:pt idx="420">
                  <c:v>6846</c:v>
                </c:pt>
                <c:pt idx="421">
                  <c:v>6447</c:v>
                </c:pt>
                <c:pt idx="422">
                  <c:v>6048</c:v>
                </c:pt>
                <c:pt idx="423">
                  <c:v>5560.8</c:v>
                </c:pt>
                <c:pt idx="424">
                  <c:v>5472.6</c:v>
                </c:pt>
                <c:pt idx="425">
                  <c:v>5245.8</c:v>
                </c:pt>
                <c:pt idx="426">
                  <c:v>5153.4000000000005</c:v>
                </c:pt>
                <c:pt idx="427">
                  <c:v>5031.6000000000004</c:v>
                </c:pt>
                <c:pt idx="428">
                  <c:v>5061</c:v>
                </c:pt>
                <c:pt idx="429">
                  <c:v>5208</c:v>
                </c:pt>
                <c:pt idx="430">
                  <c:v>4989.6000000000004</c:v>
                </c:pt>
                <c:pt idx="431">
                  <c:v>4653.6000000000004</c:v>
                </c:pt>
                <c:pt idx="432">
                  <c:v>4464.6000000000004</c:v>
                </c:pt>
                <c:pt idx="433">
                  <c:v>4351.2</c:v>
                </c:pt>
                <c:pt idx="434">
                  <c:v>4170.6000000000004</c:v>
                </c:pt>
                <c:pt idx="435">
                  <c:v>3956.4</c:v>
                </c:pt>
                <c:pt idx="436">
                  <c:v>3910.2000000000003</c:v>
                </c:pt>
                <c:pt idx="437">
                  <c:v>3754.8</c:v>
                </c:pt>
                <c:pt idx="438">
                  <c:v>3729.6000000000004</c:v>
                </c:pt>
                <c:pt idx="439">
                  <c:v>3864</c:v>
                </c:pt>
                <c:pt idx="440">
                  <c:v>3868.2000000000003</c:v>
                </c:pt>
                <c:pt idx="441">
                  <c:v>3687.6000000000004</c:v>
                </c:pt>
                <c:pt idx="442">
                  <c:v>3738</c:v>
                </c:pt>
                <c:pt idx="443">
                  <c:v>3838.8</c:v>
                </c:pt>
                <c:pt idx="444">
                  <c:v>3931.2000000000003</c:v>
                </c:pt>
                <c:pt idx="445">
                  <c:v>4170.6000000000004</c:v>
                </c:pt>
                <c:pt idx="446">
                  <c:v>4368</c:v>
                </c:pt>
                <c:pt idx="447">
                  <c:v>4376.4000000000005</c:v>
                </c:pt>
                <c:pt idx="448">
                  <c:v>4666.2</c:v>
                </c:pt>
                <c:pt idx="449">
                  <c:v>5052.6000000000004</c:v>
                </c:pt>
                <c:pt idx="450">
                  <c:v>5443.2</c:v>
                </c:pt>
                <c:pt idx="451">
                  <c:v>5699.4000000000005</c:v>
                </c:pt>
                <c:pt idx="452">
                  <c:v>6048</c:v>
                </c:pt>
                <c:pt idx="453">
                  <c:v>6262.2</c:v>
                </c:pt>
                <c:pt idx="454">
                  <c:v>6106.8</c:v>
                </c:pt>
                <c:pt idx="455">
                  <c:v>6211.8</c:v>
                </c:pt>
                <c:pt idx="456">
                  <c:v>6077.4000000000005</c:v>
                </c:pt>
                <c:pt idx="457">
                  <c:v>5934.6</c:v>
                </c:pt>
                <c:pt idx="458">
                  <c:v>5178.6000000000004</c:v>
                </c:pt>
                <c:pt idx="459">
                  <c:v>5329.8</c:v>
                </c:pt>
                <c:pt idx="460">
                  <c:v>5510.4000000000005</c:v>
                </c:pt>
                <c:pt idx="461">
                  <c:v>5615.4000000000005</c:v>
                </c:pt>
                <c:pt idx="462">
                  <c:v>5972.4000000000005</c:v>
                </c:pt>
                <c:pt idx="463">
                  <c:v>6186.6</c:v>
                </c:pt>
                <c:pt idx="464">
                  <c:v>6510</c:v>
                </c:pt>
                <c:pt idx="465">
                  <c:v>6770.4000000000005</c:v>
                </c:pt>
                <c:pt idx="466">
                  <c:v>6938.4000000000005</c:v>
                </c:pt>
                <c:pt idx="467">
                  <c:v>7110.6</c:v>
                </c:pt>
                <c:pt idx="468">
                  <c:v>7173.6</c:v>
                </c:pt>
                <c:pt idx="469">
                  <c:v>7291.2000000000007</c:v>
                </c:pt>
                <c:pt idx="470">
                  <c:v>7240.8</c:v>
                </c:pt>
                <c:pt idx="471">
                  <c:v>7245</c:v>
                </c:pt>
                <c:pt idx="472">
                  <c:v>7060.2000000000007</c:v>
                </c:pt>
                <c:pt idx="473">
                  <c:v>7425.6</c:v>
                </c:pt>
                <c:pt idx="474">
                  <c:v>7333.2000000000007</c:v>
                </c:pt>
                <c:pt idx="475">
                  <c:v>7442.4000000000005</c:v>
                </c:pt>
                <c:pt idx="476">
                  <c:v>7606.2000000000007</c:v>
                </c:pt>
                <c:pt idx="477">
                  <c:v>7358.4000000000005</c:v>
                </c:pt>
                <c:pt idx="478">
                  <c:v>7245</c:v>
                </c:pt>
                <c:pt idx="479">
                  <c:v>7270.2000000000007</c:v>
                </c:pt>
                <c:pt idx="480">
                  <c:v>6976.2000000000007</c:v>
                </c:pt>
                <c:pt idx="481">
                  <c:v>6959.4000000000005</c:v>
                </c:pt>
                <c:pt idx="482">
                  <c:v>6745.2000000000007</c:v>
                </c:pt>
                <c:pt idx="483">
                  <c:v>6552</c:v>
                </c:pt>
                <c:pt idx="484">
                  <c:v>6384</c:v>
                </c:pt>
                <c:pt idx="485">
                  <c:v>6291.6</c:v>
                </c:pt>
                <c:pt idx="486">
                  <c:v>6073.2</c:v>
                </c:pt>
                <c:pt idx="487">
                  <c:v>5825.4000000000005</c:v>
                </c:pt>
                <c:pt idx="488">
                  <c:v>5556.6</c:v>
                </c:pt>
                <c:pt idx="489">
                  <c:v>5199.6000000000004</c:v>
                </c:pt>
                <c:pt idx="490">
                  <c:v>5014.8</c:v>
                </c:pt>
                <c:pt idx="491">
                  <c:v>4809</c:v>
                </c:pt>
                <c:pt idx="492">
                  <c:v>4523.4000000000005</c:v>
                </c:pt>
                <c:pt idx="493">
                  <c:v>4271.4000000000005</c:v>
                </c:pt>
                <c:pt idx="494">
                  <c:v>4019.4</c:v>
                </c:pt>
                <c:pt idx="495">
                  <c:v>3864</c:v>
                </c:pt>
                <c:pt idx="496">
                  <c:v>3738</c:v>
                </c:pt>
                <c:pt idx="497">
                  <c:v>3603.6000000000004</c:v>
                </c:pt>
                <c:pt idx="498">
                  <c:v>3486</c:v>
                </c:pt>
                <c:pt idx="499">
                  <c:v>3276</c:v>
                </c:pt>
                <c:pt idx="500">
                  <c:v>2998.8</c:v>
                </c:pt>
                <c:pt idx="501">
                  <c:v>2864.4</c:v>
                </c:pt>
                <c:pt idx="502">
                  <c:v>2784.6</c:v>
                </c:pt>
                <c:pt idx="503">
                  <c:v>2809.8</c:v>
                </c:pt>
                <c:pt idx="504">
                  <c:v>2738.4</c:v>
                </c:pt>
                <c:pt idx="505">
                  <c:v>2721.6</c:v>
                </c:pt>
                <c:pt idx="506">
                  <c:v>2562</c:v>
                </c:pt>
                <c:pt idx="507">
                  <c:v>2461.2000000000003</c:v>
                </c:pt>
                <c:pt idx="508">
                  <c:v>2398.2000000000003</c:v>
                </c:pt>
                <c:pt idx="509">
                  <c:v>2347.8000000000002</c:v>
                </c:pt>
                <c:pt idx="510">
                  <c:v>2394</c:v>
                </c:pt>
                <c:pt idx="511">
                  <c:v>2389.8000000000002</c:v>
                </c:pt>
                <c:pt idx="512">
                  <c:v>2200.8000000000002</c:v>
                </c:pt>
                <c:pt idx="513">
                  <c:v>2095.8000000000002</c:v>
                </c:pt>
                <c:pt idx="514">
                  <c:v>2003.4</c:v>
                </c:pt>
                <c:pt idx="515">
                  <c:v>1860.6000000000001</c:v>
                </c:pt>
                <c:pt idx="516">
                  <c:v>1680</c:v>
                </c:pt>
                <c:pt idx="517">
                  <c:v>1562.4</c:v>
                </c:pt>
                <c:pt idx="518">
                  <c:v>1499.4</c:v>
                </c:pt>
                <c:pt idx="519">
                  <c:v>1411.2</c:v>
                </c:pt>
                <c:pt idx="520">
                  <c:v>1415.4</c:v>
                </c:pt>
                <c:pt idx="521">
                  <c:v>1432.2</c:v>
                </c:pt>
                <c:pt idx="522">
                  <c:v>1449</c:v>
                </c:pt>
                <c:pt idx="523">
                  <c:v>1419.6000000000001</c:v>
                </c:pt>
                <c:pt idx="524">
                  <c:v>1415.4</c:v>
                </c:pt>
                <c:pt idx="525">
                  <c:v>1474.2</c:v>
                </c:pt>
                <c:pt idx="526">
                  <c:v>1444.8</c:v>
                </c:pt>
                <c:pt idx="527">
                  <c:v>1390.2</c:v>
                </c:pt>
                <c:pt idx="528">
                  <c:v>1377.6000000000001</c:v>
                </c:pt>
                <c:pt idx="529">
                  <c:v>1390.2</c:v>
                </c:pt>
                <c:pt idx="530">
                  <c:v>1268.4000000000001</c:v>
                </c:pt>
                <c:pt idx="531">
                  <c:v>1239</c:v>
                </c:pt>
                <c:pt idx="532">
                  <c:v>1234.8</c:v>
                </c:pt>
                <c:pt idx="533">
                  <c:v>1247.4000000000001</c:v>
                </c:pt>
                <c:pt idx="534">
                  <c:v>1234.8</c:v>
                </c:pt>
                <c:pt idx="535">
                  <c:v>1218</c:v>
                </c:pt>
                <c:pt idx="536">
                  <c:v>1176</c:v>
                </c:pt>
                <c:pt idx="537">
                  <c:v>1138.2</c:v>
                </c:pt>
                <c:pt idx="538">
                  <c:v>1129.8</c:v>
                </c:pt>
                <c:pt idx="539">
                  <c:v>1066.8</c:v>
                </c:pt>
                <c:pt idx="540">
                  <c:v>1024.8</c:v>
                </c:pt>
                <c:pt idx="541">
                  <c:v>982.80000000000007</c:v>
                </c:pt>
                <c:pt idx="542">
                  <c:v>1003.8000000000001</c:v>
                </c:pt>
                <c:pt idx="543">
                  <c:v>1071</c:v>
                </c:pt>
                <c:pt idx="544">
                  <c:v>1239</c:v>
                </c:pt>
                <c:pt idx="545">
                  <c:v>1419.6000000000001</c:v>
                </c:pt>
                <c:pt idx="546">
                  <c:v>1650.6000000000001</c:v>
                </c:pt>
                <c:pt idx="547">
                  <c:v>1856.4</c:v>
                </c:pt>
                <c:pt idx="548">
                  <c:v>2339.4</c:v>
                </c:pt>
                <c:pt idx="549">
                  <c:v>2755.2000000000003</c:v>
                </c:pt>
                <c:pt idx="550">
                  <c:v>3242.4</c:v>
                </c:pt>
                <c:pt idx="551">
                  <c:v>3754.8</c:v>
                </c:pt>
                <c:pt idx="552">
                  <c:v>4279.8</c:v>
                </c:pt>
                <c:pt idx="553">
                  <c:v>4796.4000000000005</c:v>
                </c:pt>
                <c:pt idx="554">
                  <c:v>6379.8</c:v>
                </c:pt>
                <c:pt idx="555">
                  <c:v>7060.2000000000007</c:v>
                </c:pt>
                <c:pt idx="556">
                  <c:v>7715.4000000000005</c:v>
                </c:pt>
                <c:pt idx="557">
                  <c:v>8328.6</c:v>
                </c:pt>
                <c:pt idx="558">
                  <c:v>8748.6</c:v>
                </c:pt>
                <c:pt idx="559">
                  <c:v>9198</c:v>
                </c:pt>
                <c:pt idx="560">
                  <c:v>9697.8000000000011</c:v>
                </c:pt>
                <c:pt idx="561">
                  <c:v>9907.8000000000011</c:v>
                </c:pt>
                <c:pt idx="562">
                  <c:v>10172.4</c:v>
                </c:pt>
                <c:pt idx="563">
                  <c:v>10306.800000000001</c:v>
                </c:pt>
                <c:pt idx="564">
                  <c:v>10437</c:v>
                </c:pt>
                <c:pt idx="565">
                  <c:v>10260.6</c:v>
                </c:pt>
                <c:pt idx="566">
                  <c:v>9777.6</c:v>
                </c:pt>
                <c:pt idx="567">
                  <c:v>9210.6</c:v>
                </c:pt>
                <c:pt idx="568">
                  <c:v>8446.2000000000007</c:v>
                </c:pt>
                <c:pt idx="569">
                  <c:v>7816.2000000000007</c:v>
                </c:pt>
                <c:pt idx="570">
                  <c:v>7156.8</c:v>
                </c:pt>
                <c:pt idx="571">
                  <c:v>6468</c:v>
                </c:pt>
                <c:pt idx="572">
                  <c:v>5989.2</c:v>
                </c:pt>
                <c:pt idx="573">
                  <c:v>5359.2</c:v>
                </c:pt>
                <c:pt idx="574">
                  <c:v>4876.2</c:v>
                </c:pt>
                <c:pt idx="575">
                  <c:v>4615.8</c:v>
                </c:pt>
                <c:pt idx="576">
                  <c:v>4242</c:v>
                </c:pt>
                <c:pt idx="577">
                  <c:v>4006.8</c:v>
                </c:pt>
                <c:pt idx="578">
                  <c:v>3746.4</c:v>
                </c:pt>
                <c:pt idx="579">
                  <c:v>3767.4</c:v>
                </c:pt>
                <c:pt idx="580">
                  <c:v>3654</c:v>
                </c:pt>
                <c:pt idx="581">
                  <c:v>3561.6000000000004</c:v>
                </c:pt>
                <c:pt idx="582">
                  <c:v>3591</c:v>
                </c:pt>
                <c:pt idx="583">
                  <c:v>4069.8</c:v>
                </c:pt>
                <c:pt idx="584">
                  <c:v>4057.2000000000003</c:v>
                </c:pt>
                <c:pt idx="585">
                  <c:v>4006.8</c:v>
                </c:pt>
                <c:pt idx="586">
                  <c:v>3897.6000000000004</c:v>
                </c:pt>
                <c:pt idx="587">
                  <c:v>3624.6000000000004</c:v>
                </c:pt>
                <c:pt idx="588">
                  <c:v>3334.8</c:v>
                </c:pt>
                <c:pt idx="589">
                  <c:v>2977.8</c:v>
                </c:pt>
                <c:pt idx="590">
                  <c:v>2528.4</c:v>
                </c:pt>
                <c:pt idx="591">
                  <c:v>2150.4</c:v>
                </c:pt>
                <c:pt idx="592">
                  <c:v>1940.4</c:v>
                </c:pt>
                <c:pt idx="593">
                  <c:v>1831.2</c:v>
                </c:pt>
                <c:pt idx="594">
                  <c:v>1793.4</c:v>
                </c:pt>
                <c:pt idx="595">
                  <c:v>1860.6000000000001</c:v>
                </c:pt>
                <c:pt idx="596">
                  <c:v>2070.6</c:v>
                </c:pt>
                <c:pt idx="597">
                  <c:v>2767.8</c:v>
                </c:pt>
                <c:pt idx="598">
                  <c:v>3788.4</c:v>
                </c:pt>
                <c:pt idx="599">
                  <c:v>4834.2</c:v>
                </c:pt>
                <c:pt idx="600">
                  <c:v>5703.6</c:v>
                </c:pt>
                <c:pt idx="601">
                  <c:v>6447</c:v>
                </c:pt>
                <c:pt idx="602">
                  <c:v>7270.2000000000007</c:v>
                </c:pt>
                <c:pt idx="603">
                  <c:v>7870.8</c:v>
                </c:pt>
                <c:pt idx="604">
                  <c:v>7967.4000000000005</c:v>
                </c:pt>
                <c:pt idx="605">
                  <c:v>8538.6</c:v>
                </c:pt>
                <c:pt idx="606">
                  <c:v>8551.2000000000007</c:v>
                </c:pt>
                <c:pt idx="607">
                  <c:v>8752.8000000000011</c:v>
                </c:pt>
                <c:pt idx="608">
                  <c:v>8492.4</c:v>
                </c:pt>
                <c:pt idx="609">
                  <c:v>8370.6</c:v>
                </c:pt>
                <c:pt idx="610">
                  <c:v>8622.6</c:v>
                </c:pt>
                <c:pt idx="611">
                  <c:v>9227.4</c:v>
                </c:pt>
                <c:pt idx="612">
                  <c:v>8996.4</c:v>
                </c:pt>
                <c:pt idx="613">
                  <c:v>8622.6</c:v>
                </c:pt>
                <c:pt idx="614">
                  <c:v>8538.6</c:v>
                </c:pt>
                <c:pt idx="615">
                  <c:v>8345.4</c:v>
                </c:pt>
                <c:pt idx="616">
                  <c:v>8185.8</c:v>
                </c:pt>
                <c:pt idx="617">
                  <c:v>7530.6</c:v>
                </c:pt>
                <c:pt idx="618">
                  <c:v>7211.4000000000005</c:v>
                </c:pt>
                <c:pt idx="619">
                  <c:v>6493.2000000000007</c:v>
                </c:pt>
                <c:pt idx="620">
                  <c:v>6207.6</c:v>
                </c:pt>
                <c:pt idx="621">
                  <c:v>5745.6</c:v>
                </c:pt>
                <c:pt idx="622">
                  <c:v>5338.2</c:v>
                </c:pt>
                <c:pt idx="623">
                  <c:v>5010.6000000000004</c:v>
                </c:pt>
                <c:pt idx="624">
                  <c:v>5115.6000000000004</c:v>
                </c:pt>
                <c:pt idx="625">
                  <c:v>5128.2</c:v>
                </c:pt>
                <c:pt idx="626">
                  <c:v>5313</c:v>
                </c:pt>
                <c:pt idx="627">
                  <c:v>5649</c:v>
                </c:pt>
                <c:pt idx="628">
                  <c:v>6077.4000000000005</c:v>
                </c:pt>
                <c:pt idx="629">
                  <c:v>6581.4000000000005</c:v>
                </c:pt>
                <c:pt idx="630">
                  <c:v>6871.2000000000007</c:v>
                </c:pt>
                <c:pt idx="631">
                  <c:v>7068.6</c:v>
                </c:pt>
                <c:pt idx="632">
                  <c:v>7236.6</c:v>
                </c:pt>
                <c:pt idx="633">
                  <c:v>7009.8</c:v>
                </c:pt>
                <c:pt idx="634">
                  <c:v>6833.4000000000005</c:v>
                </c:pt>
                <c:pt idx="635">
                  <c:v>6598.2000000000007</c:v>
                </c:pt>
                <c:pt idx="636">
                  <c:v>6199.2</c:v>
                </c:pt>
                <c:pt idx="637">
                  <c:v>5783.4000000000005</c:v>
                </c:pt>
                <c:pt idx="638">
                  <c:v>5397</c:v>
                </c:pt>
                <c:pt idx="639">
                  <c:v>5359.2</c:v>
                </c:pt>
                <c:pt idx="640">
                  <c:v>5577.6</c:v>
                </c:pt>
                <c:pt idx="641">
                  <c:v>5901</c:v>
                </c:pt>
                <c:pt idx="642">
                  <c:v>6136.2</c:v>
                </c:pt>
                <c:pt idx="643">
                  <c:v>6455.4000000000005</c:v>
                </c:pt>
                <c:pt idx="644">
                  <c:v>6938.4000000000005</c:v>
                </c:pt>
                <c:pt idx="645">
                  <c:v>7077</c:v>
                </c:pt>
                <c:pt idx="646">
                  <c:v>7203</c:v>
                </c:pt>
                <c:pt idx="647">
                  <c:v>7736.4000000000005</c:v>
                </c:pt>
                <c:pt idx="648">
                  <c:v>8093.4000000000005</c:v>
                </c:pt>
                <c:pt idx="649">
                  <c:v>8660.4</c:v>
                </c:pt>
                <c:pt idx="650">
                  <c:v>10264.800000000001</c:v>
                </c:pt>
                <c:pt idx="651">
                  <c:v>10344.6</c:v>
                </c:pt>
                <c:pt idx="652">
                  <c:v>10046.4</c:v>
                </c:pt>
                <c:pt idx="653">
                  <c:v>10911.6</c:v>
                </c:pt>
                <c:pt idx="654">
                  <c:v>11155.2</c:v>
                </c:pt>
                <c:pt idx="655">
                  <c:v>11344.2</c:v>
                </c:pt>
                <c:pt idx="656">
                  <c:v>11604.6</c:v>
                </c:pt>
                <c:pt idx="657">
                  <c:v>11558.4</c:v>
                </c:pt>
                <c:pt idx="658">
                  <c:v>11806.2</c:v>
                </c:pt>
                <c:pt idx="659">
                  <c:v>11676</c:v>
                </c:pt>
                <c:pt idx="660">
                  <c:v>11991</c:v>
                </c:pt>
                <c:pt idx="661">
                  <c:v>12285</c:v>
                </c:pt>
                <c:pt idx="662">
                  <c:v>12474</c:v>
                </c:pt>
                <c:pt idx="663">
                  <c:v>12864.6</c:v>
                </c:pt>
                <c:pt idx="664">
                  <c:v>13024.2</c:v>
                </c:pt>
                <c:pt idx="665">
                  <c:v>13099.800000000001</c:v>
                </c:pt>
                <c:pt idx="666">
                  <c:v>13309.800000000001</c:v>
                </c:pt>
                <c:pt idx="667">
                  <c:v>13675.2</c:v>
                </c:pt>
                <c:pt idx="668">
                  <c:v>14023.800000000001</c:v>
                </c:pt>
                <c:pt idx="669">
                  <c:v>14166.6</c:v>
                </c:pt>
                <c:pt idx="670">
                  <c:v>14343</c:v>
                </c:pt>
                <c:pt idx="671">
                  <c:v>14532</c:v>
                </c:pt>
                <c:pt idx="672">
                  <c:v>14372.400000000001</c:v>
                </c:pt>
                <c:pt idx="673">
                  <c:v>14086.800000000001</c:v>
                </c:pt>
                <c:pt idx="674">
                  <c:v>12847.800000000001</c:v>
                </c:pt>
                <c:pt idx="675">
                  <c:v>12671.4</c:v>
                </c:pt>
                <c:pt idx="676">
                  <c:v>12637.800000000001</c:v>
                </c:pt>
                <c:pt idx="677">
                  <c:v>12696.6</c:v>
                </c:pt>
                <c:pt idx="678">
                  <c:v>12650.4</c:v>
                </c:pt>
                <c:pt idx="679">
                  <c:v>12658.800000000001</c:v>
                </c:pt>
                <c:pt idx="680">
                  <c:v>12570.6</c:v>
                </c:pt>
                <c:pt idx="681">
                  <c:v>12444.6</c:v>
                </c:pt>
                <c:pt idx="682">
                  <c:v>12474</c:v>
                </c:pt>
                <c:pt idx="683">
                  <c:v>12507.6</c:v>
                </c:pt>
                <c:pt idx="684">
                  <c:v>12570.6</c:v>
                </c:pt>
                <c:pt idx="685">
                  <c:v>12780.6</c:v>
                </c:pt>
                <c:pt idx="686">
                  <c:v>12868.800000000001</c:v>
                </c:pt>
                <c:pt idx="687">
                  <c:v>12793.2</c:v>
                </c:pt>
                <c:pt idx="688">
                  <c:v>12537</c:v>
                </c:pt>
                <c:pt idx="689">
                  <c:v>12373.2</c:v>
                </c:pt>
                <c:pt idx="690">
                  <c:v>12243</c:v>
                </c:pt>
                <c:pt idx="691">
                  <c:v>11932.2</c:v>
                </c:pt>
                <c:pt idx="692">
                  <c:v>11768.4</c:v>
                </c:pt>
                <c:pt idx="693">
                  <c:v>11197.2</c:v>
                </c:pt>
                <c:pt idx="694">
                  <c:v>10634.4</c:v>
                </c:pt>
                <c:pt idx="695">
                  <c:v>9836.4</c:v>
                </c:pt>
                <c:pt idx="696">
                  <c:v>9298.8000000000011</c:v>
                </c:pt>
                <c:pt idx="697">
                  <c:v>8790.6</c:v>
                </c:pt>
                <c:pt idx="698">
                  <c:v>8475.6</c:v>
                </c:pt>
                <c:pt idx="699">
                  <c:v>7862.4000000000005</c:v>
                </c:pt>
                <c:pt idx="700">
                  <c:v>7476</c:v>
                </c:pt>
                <c:pt idx="701">
                  <c:v>6875.4000000000005</c:v>
                </c:pt>
                <c:pt idx="702">
                  <c:v>6522.6</c:v>
                </c:pt>
                <c:pt idx="703">
                  <c:v>6241.2</c:v>
                </c:pt>
                <c:pt idx="704">
                  <c:v>5838</c:v>
                </c:pt>
                <c:pt idx="705">
                  <c:v>5594.4000000000005</c:v>
                </c:pt>
                <c:pt idx="706">
                  <c:v>5565</c:v>
                </c:pt>
                <c:pt idx="707">
                  <c:v>5178.6000000000004</c:v>
                </c:pt>
                <c:pt idx="708">
                  <c:v>5275.2</c:v>
                </c:pt>
                <c:pt idx="709">
                  <c:v>5111.4000000000005</c:v>
                </c:pt>
                <c:pt idx="710">
                  <c:v>4880.4000000000005</c:v>
                </c:pt>
                <c:pt idx="711">
                  <c:v>4783.8</c:v>
                </c:pt>
                <c:pt idx="712">
                  <c:v>4678.8</c:v>
                </c:pt>
                <c:pt idx="713">
                  <c:v>4775.4000000000005</c:v>
                </c:pt>
                <c:pt idx="714">
                  <c:v>5132.4000000000005</c:v>
                </c:pt>
                <c:pt idx="715">
                  <c:v>5313</c:v>
                </c:pt>
                <c:pt idx="716">
                  <c:v>5590.2</c:v>
                </c:pt>
                <c:pt idx="717">
                  <c:v>5749.8</c:v>
                </c:pt>
                <c:pt idx="718">
                  <c:v>5628</c:v>
                </c:pt>
                <c:pt idx="719">
                  <c:v>5586</c:v>
                </c:pt>
                <c:pt idx="720">
                  <c:v>5766.6</c:v>
                </c:pt>
                <c:pt idx="721">
                  <c:v>5817</c:v>
                </c:pt>
                <c:pt idx="722">
                  <c:v>5896.8</c:v>
                </c:pt>
                <c:pt idx="723">
                  <c:v>5951.4000000000005</c:v>
                </c:pt>
                <c:pt idx="724">
                  <c:v>6098.4000000000005</c:v>
                </c:pt>
                <c:pt idx="725">
                  <c:v>6266.4000000000005</c:v>
                </c:pt>
                <c:pt idx="726">
                  <c:v>6484.8</c:v>
                </c:pt>
                <c:pt idx="727">
                  <c:v>6631.8</c:v>
                </c:pt>
                <c:pt idx="728">
                  <c:v>6787.2000000000007</c:v>
                </c:pt>
                <c:pt idx="729">
                  <c:v>6837.6</c:v>
                </c:pt>
                <c:pt idx="730">
                  <c:v>7102.2000000000007</c:v>
                </c:pt>
                <c:pt idx="731">
                  <c:v>7345.8</c:v>
                </c:pt>
                <c:pt idx="732">
                  <c:v>7471.8</c:v>
                </c:pt>
                <c:pt idx="733">
                  <c:v>7837.2000000000007</c:v>
                </c:pt>
                <c:pt idx="734">
                  <c:v>8064</c:v>
                </c:pt>
                <c:pt idx="735">
                  <c:v>8278.2000000000007</c:v>
                </c:pt>
                <c:pt idx="736">
                  <c:v>8429.4</c:v>
                </c:pt>
                <c:pt idx="737">
                  <c:v>8715</c:v>
                </c:pt>
                <c:pt idx="738">
                  <c:v>8925</c:v>
                </c:pt>
                <c:pt idx="739">
                  <c:v>9156</c:v>
                </c:pt>
                <c:pt idx="740">
                  <c:v>9248.4</c:v>
                </c:pt>
                <c:pt idx="741">
                  <c:v>9164.4</c:v>
                </c:pt>
                <c:pt idx="742">
                  <c:v>9471</c:v>
                </c:pt>
                <c:pt idx="743">
                  <c:v>9513</c:v>
                </c:pt>
                <c:pt idx="744">
                  <c:v>9605.4</c:v>
                </c:pt>
                <c:pt idx="745">
                  <c:v>9727.2000000000007</c:v>
                </c:pt>
                <c:pt idx="746">
                  <c:v>10693.2</c:v>
                </c:pt>
                <c:pt idx="747">
                  <c:v>10957.800000000001</c:v>
                </c:pt>
                <c:pt idx="748">
                  <c:v>11289.6</c:v>
                </c:pt>
                <c:pt idx="749">
                  <c:v>11571</c:v>
                </c:pt>
                <c:pt idx="750">
                  <c:v>11827.2</c:v>
                </c:pt>
                <c:pt idx="751">
                  <c:v>12129.6</c:v>
                </c:pt>
                <c:pt idx="752">
                  <c:v>12398.4</c:v>
                </c:pt>
                <c:pt idx="753">
                  <c:v>12423.6</c:v>
                </c:pt>
                <c:pt idx="754">
                  <c:v>12503.4</c:v>
                </c:pt>
                <c:pt idx="755">
                  <c:v>12583.2</c:v>
                </c:pt>
                <c:pt idx="756">
                  <c:v>12495</c:v>
                </c:pt>
                <c:pt idx="757">
                  <c:v>12394.2</c:v>
                </c:pt>
                <c:pt idx="758">
                  <c:v>12293.4</c:v>
                </c:pt>
                <c:pt idx="759">
                  <c:v>12184.2</c:v>
                </c:pt>
                <c:pt idx="760">
                  <c:v>12058.2</c:v>
                </c:pt>
                <c:pt idx="761">
                  <c:v>11856.6</c:v>
                </c:pt>
                <c:pt idx="762">
                  <c:v>11550</c:v>
                </c:pt>
                <c:pt idx="763">
                  <c:v>11205.6</c:v>
                </c:pt>
                <c:pt idx="764">
                  <c:v>10806.6</c:v>
                </c:pt>
                <c:pt idx="765">
                  <c:v>10479</c:v>
                </c:pt>
                <c:pt idx="766">
                  <c:v>10210.200000000001</c:v>
                </c:pt>
                <c:pt idx="767">
                  <c:v>9865.8000000000011</c:v>
                </c:pt>
                <c:pt idx="768">
                  <c:v>9660</c:v>
                </c:pt>
                <c:pt idx="769">
                  <c:v>9382.8000000000011</c:v>
                </c:pt>
                <c:pt idx="770">
                  <c:v>8387.4</c:v>
                </c:pt>
                <c:pt idx="771">
                  <c:v>7984.2000000000007</c:v>
                </c:pt>
                <c:pt idx="772">
                  <c:v>7837.2000000000007</c:v>
                </c:pt>
                <c:pt idx="773">
                  <c:v>7635.6</c:v>
                </c:pt>
                <c:pt idx="774">
                  <c:v>7530.6</c:v>
                </c:pt>
                <c:pt idx="775">
                  <c:v>7295.4000000000005</c:v>
                </c:pt>
                <c:pt idx="776">
                  <c:v>7140</c:v>
                </c:pt>
                <c:pt idx="777">
                  <c:v>6921.6</c:v>
                </c:pt>
                <c:pt idx="778">
                  <c:v>6825</c:v>
                </c:pt>
                <c:pt idx="779">
                  <c:v>6619.2000000000007</c:v>
                </c:pt>
                <c:pt idx="780">
                  <c:v>6321</c:v>
                </c:pt>
                <c:pt idx="781">
                  <c:v>6161.4000000000005</c:v>
                </c:pt>
                <c:pt idx="782">
                  <c:v>5943</c:v>
                </c:pt>
                <c:pt idx="783">
                  <c:v>5712</c:v>
                </c:pt>
                <c:pt idx="784">
                  <c:v>5691</c:v>
                </c:pt>
                <c:pt idx="785">
                  <c:v>5602.8</c:v>
                </c:pt>
                <c:pt idx="786">
                  <c:v>5653.2</c:v>
                </c:pt>
                <c:pt idx="787">
                  <c:v>5670</c:v>
                </c:pt>
                <c:pt idx="788">
                  <c:v>5623.8</c:v>
                </c:pt>
                <c:pt idx="789">
                  <c:v>5640.6</c:v>
                </c:pt>
                <c:pt idx="790">
                  <c:v>5611.2</c:v>
                </c:pt>
                <c:pt idx="791">
                  <c:v>5510.4000000000005</c:v>
                </c:pt>
                <c:pt idx="792">
                  <c:v>5413.8</c:v>
                </c:pt>
                <c:pt idx="793">
                  <c:v>5334</c:v>
                </c:pt>
                <c:pt idx="794">
                  <c:v>4607.4000000000005</c:v>
                </c:pt>
                <c:pt idx="795">
                  <c:v>4548.6000000000004</c:v>
                </c:pt>
                <c:pt idx="796">
                  <c:v>4498.2</c:v>
                </c:pt>
                <c:pt idx="797">
                  <c:v>4485.6000000000004</c:v>
                </c:pt>
                <c:pt idx="798">
                  <c:v>4506.6000000000004</c:v>
                </c:pt>
                <c:pt idx="799">
                  <c:v>4620</c:v>
                </c:pt>
                <c:pt idx="800">
                  <c:v>4695.6000000000004</c:v>
                </c:pt>
                <c:pt idx="801">
                  <c:v>4733.4000000000005</c:v>
                </c:pt>
                <c:pt idx="802">
                  <c:v>4699.8</c:v>
                </c:pt>
                <c:pt idx="803">
                  <c:v>4586.4000000000005</c:v>
                </c:pt>
                <c:pt idx="804">
                  <c:v>4452</c:v>
                </c:pt>
                <c:pt idx="805">
                  <c:v>4296.6000000000004</c:v>
                </c:pt>
                <c:pt idx="806">
                  <c:v>4187.4000000000005</c:v>
                </c:pt>
                <c:pt idx="807">
                  <c:v>4195.8</c:v>
                </c:pt>
                <c:pt idx="808">
                  <c:v>4200</c:v>
                </c:pt>
                <c:pt idx="809">
                  <c:v>4838.4000000000005</c:v>
                </c:pt>
                <c:pt idx="810">
                  <c:v>4792.2</c:v>
                </c:pt>
                <c:pt idx="811">
                  <c:v>4859.4000000000005</c:v>
                </c:pt>
                <c:pt idx="812">
                  <c:v>4939.2</c:v>
                </c:pt>
                <c:pt idx="813">
                  <c:v>5023.2</c:v>
                </c:pt>
                <c:pt idx="814">
                  <c:v>4901.4000000000005</c:v>
                </c:pt>
                <c:pt idx="815">
                  <c:v>4859.4000000000005</c:v>
                </c:pt>
                <c:pt idx="816">
                  <c:v>4699.8</c:v>
                </c:pt>
                <c:pt idx="817">
                  <c:v>4603.2</c:v>
                </c:pt>
                <c:pt idx="818">
                  <c:v>4095</c:v>
                </c:pt>
                <c:pt idx="819">
                  <c:v>4032</c:v>
                </c:pt>
                <c:pt idx="820">
                  <c:v>4002.6000000000004</c:v>
                </c:pt>
                <c:pt idx="821">
                  <c:v>3973.2000000000003</c:v>
                </c:pt>
                <c:pt idx="822">
                  <c:v>3843</c:v>
                </c:pt>
                <c:pt idx="823">
                  <c:v>3851.4</c:v>
                </c:pt>
                <c:pt idx="824">
                  <c:v>3834.6000000000004</c:v>
                </c:pt>
                <c:pt idx="825">
                  <c:v>3691.8</c:v>
                </c:pt>
                <c:pt idx="826">
                  <c:v>3553.2000000000003</c:v>
                </c:pt>
                <c:pt idx="827">
                  <c:v>3343.2000000000003</c:v>
                </c:pt>
                <c:pt idx="828">
                  <c:v>3078.6</c:v>
                </c:pt>
                <c:pt idx="829">
                  <c:v>2793</c:v>
                </c:pt>
                <c:pt idx="830">
                  <c:v>2532.6</c:v>
                </c:pt>
                <c:pt idx="831">
                  <c:v>2280.6</c:v>
                </c:pt>
                <c:pt idx="832">
                  <c:v>2251.2000000000003</c:v>
                </c:pt>
                <c:pt idx="833">
                  <c:v>2238.6</c:v>
                </c:pt>
                <c:pt idx="834">
                  <c:v>2423.4</c:v>
                </c:pt>
                <c:pt idx="835">
                  <c:v>2511.6</c:v>
                </c:pt>
                <c:pt idx="836">
                  <c:v>2520</c:v>
                </c:pt>
                <c:pt idx="837">
                  <c:v>2478</c:v>
                </c:pt>
                <c:pt idx="838">
                  <c:v>2326.8000000000002</c:v>
                </c:pt>
                <c:pt idx="839">
                  <c:v>2255.4</c:v>
                </c:pt>
                <c:pt idx="840">
                  <c:v>2230.2000000000003</c:v>
                </c:pt>
                <c:pt idx="841">
                  <c:v>2377.2000000000003</c:v>
                </c:pt>
                <c:pt idx="842">
                  <c:v>2154.6</c:v>
                </c:pt>
                <c:pt idx="843">
                  <c:v>2200.8000000000002</c:v>
                </c:pt>
                <c:pt idx="844">
                  <c:v>2301.6</c:v>
                </c:pt>
                <c:pt idx="845">
                  <c:v>2326.8000000000002</c:v>
                </c:pt>
                <c:pt idx="846">
                  <c:v>2402.4</c:v>
                </c:pt>
                <c:pt idx="847">
                  <c:v>2557.8000000000002</c:v>
                </c:pt>
                <c:pt idx="848">
                  <c:v>2658.6</c:v>
                </c:pt>
                <c:pt idx="849">
                  <c:v>3015.6</c:v>
                </c:pt>
                <c:pt idx="850">
                  <c:v>3276</c:v>
                </c:pt>
                <c:pt idx="851">
                  <c:v>3456.6000000000004</c:v>
                </c:pt>
                <c:pt idx="852">
                  <c:v>3708.6000000000004</c:v>
                </c:pt>
                <c:pt idx="853">
                  <c:v>3964.8</c:v>
                </c:pt>
                <c:pt idx="854">
                  <c:v>4473</c:v>
                </c:pt>
                <c:pt idx="855">
                  <c:v>5174.4000000000005</c:v>
                </c:pt>
                <c:pt idx="856">
                  <c:v>5892.6</c:v>
                </c:pt>
                <c:pt idx="857">
                  <c:v>6367.2</c:v>
                </c:pt>
                <c:pt idx="858">
                  <c:v>6837.6</c:v>
                </c:pt>
                <c:pt idx="859">
                  <c:v>7312.2000000000007</c:v>
                </c:pt>
                <c:pt idx="860">
                  <c:v>7828.8</c:v>
                </c:pt>
                <c:pt idx="861">
                  <c:v>8181.6</c:v>
                </c:pt>
                <c:pt idx="862">
                  <c:v>8538.6</c:v>
                </c:pt>
                <c:pt idx="863">
                  <c:v>9193.8000000000011</c:v>
                </c:pt>
                <c:pt idx="864">
                  <c:v>9802.8000000000011</c:v>
                </c:pt>
                <c:pt idx="865">
                  <c:v>10529.4</c:v>
                </c:pt>
                <c:pt idx="866">
                  <c:v>11008.2</c:v>
                </c:pt>
                <c:pt idx="867">
                  <c:v>11348.4</c:v>
                </c:pt>
                <c:pt idx="868">
                  <c:v>11705.4</c:v>
                </c:pt>
                <c:pt idx="869">
                  <c:v>11760</c:v>
                </c:pt>
                <c:pt idx="870">
                  <c:v>11676</c:v>
                </c:pt>
                <c:pt idx="871">
                  <c:v>11571</c:v>
                </c:pt>
                <c:pt idx="872">
                  <c:v>11407.2</c:v>
                </c:pt>
                <c:pt idx="873">
                  <c:v>11075.4</c:v>
                </c:pt>
                <c:pt idx="874">
                  <c:v>10936.800000000001</c:v>
                </c:pt>
                <c:pt idx="875">
                  <c:v>10348.800000000001</c:v>
                </c:pt>
                <c:pt idx="876">
                  <c:v>9580.2000000000007</c:v>
                </c:pt>
                <c:pt idx="877">
                  <c:v>9244.2000000000007</c:v>
                </c:pt>
                <c:pt idx="878">
                  <c:v>8992.2000000000007</c:v>
                </c:pt>
                <c:pt idx="879">
                  <c:v>8517.6</c:v>
                </c:pt>
                <c:pt idx="880">
                  <c:v>8450.4</c:v>
                </c:pt>
                <c:pt idx="881">
                  <c:v>8051.4000000000005</c:v>
                </c:pt>
                <c:pt idx="882">
                  <c:v>8219.4</c:v>
                </c:pt>
                <c:pt idx="883">
                  <c:v>8358</c:v>
                </c:pt>
                <c:pt idx="884">
                  <c:v>8933.4</c:v>
                </c:pt>
                <c:pt idx="885">
                  <c:v>9315.6</c:v>
                </c:pt>
                <c:pt idx="886">
                  <c:v>9907.8000000000011</c:v>
                </c:pt>
                <c:pt idx="887">
                  <c:v>10227</c:v>
                </c:pt>
                <c:pt idx="888">
                  <c:v>10495.800000000001</c:v>
                </c:pt>
                <c:pt idx="889">
                  <c:v>10588.2</c:v>
                </c:pt>
                <c:pt idx="890">
                  <c:v>11146.800000000001</c:v>
                </c:pt>
                <c:pt idx="891">
                  <c:v>11583.6</c:v>
                </c:pt>
                <c:pt idx="892">
                  <c:v>11789.4</c:v>
                </c:pt>
                <c:pt idx="893">
                  <c:v>12133.800000000001</c:v>
                </c:pt>
                <c:pt idx="894">
                  <c:v>12692.4</c:v>
                </c:pt>
                <c:pt idx="895">
                  <c:v>13406.400000000001</c:v>
                </c:pt>
                <c:pt idx="896">
                  <c:v>13948.2</c:v>
                </c:pt>
                <c:pt idx="897">
                  <c:v>14616</c:v>
                </c:pt>
                <c:pt idx="898">
                  <c:v>15342.6</c:v>
                </c:pt>
                <c:pt idx="899">
                  <c:v>15745.800000000001</c:v>
                </c:pt>
                <c:pt idx="900">
                  <c:v>16287.6</c:v>
                </c:pt>
                <c:pt idx="901">
                  <c:v>17077.2</c:v>
                </c:pt>
                <c:pt idx="902">
                  <c:v>17938.2</c:v>
                </c:pt>
                <c:pt idx="903">
                  <c:v>18446.400000000001</c:v>
                </c:pt>
                <c:pt idx="904">
                  <c:v>18866.400000000001</c:v>
                </c:pt>
                <c:pt idx="905">
                  <c:v>19164.600000000002</c:v>
                </c:pt>
                <c:pt idx="906">
                  <c:v>19408.2</c:v>
                </c:pt>
                <c:pt idx="907">
                  <c:v>19437.600000000002</c:v>
                </c:pt>
                <c:pt idx="908">
                  <c:v>19849.2</c:v>
                </c:pt>
                <c:pt idx="909">
                  <c:v>19857.600000000002</c:v>
                </c:pt>
                <c:pt idx="910">
                  <c:v>20046.600000000002</c:v>
                </c:pt>
                <c:pt idx="911">
                  <c:v>20122.2</c:v>
                </c:pt>
                <c:pt idx="912">
                  <c:v>19899.600000000002</c:v>
                </c:pt>
                <c:pt idx="913">
                  <c:v>19819.8</c:v>
                </c:pt>
                <c:pt idx="914">
                  <c:v>19756.8</c:v>
                </c:pt>
                <c:pt idx="915">
                  <c:v>19580.400000000001</c:v>
                </c:pt>
                <c:pt idx="916">
                  <c:v>19563.600000000002</c:v>
                </c:pt>
                <c:pt idx="917">
                  <c:v>19395.600000000002</c:v>
                </c:pt>
                <c:pt idx="918">
                  <c:v>19080.600000000002</c:v>
                </c:pt>
                <c:pt idx="919">
                  <c:v>18971.400000000001</c:v>
                </c:pt>
                <c:pt idx="920">
                  <c:v>18753</c:v>
                </c:pt>
                <c:pt idx="921">
                  <c:v>18127.2</c:v>
                </c:pt>
                <c:pt idx="922">
                  <c:v>17606.400000000001</c:v>
                </c:pt>
                <c:pt idx="923">
                  <c:v>16892.400000000001</c:v>
                </c:pt>
                <c:pt idx="924">
                  <c:v>15640.800000000001</c:v>
                </c:pt>
                <c:pt idx="925">
                  <c:v>14838.6</c:v>
                </c:pt>
                <c:pt idx="926">
                  <c:v>13347.6</c:v>
                </c:pt>
                <c:pt idx="927">
                  <c:v>12066.6</c:v>
                </c:pt>
                <c:pt idx="928">
                  <c:v>10890.6</c:v>
                </c:pt>
                <c:pt idx="929">
                  <c:v>9777.6</c:v>
                </c:pt>
                <c:pt idx="930">
                  <c:v>9206.4</c:v>
                </c:pt>
                <c:pt idx="931">
                  <c:v>9542.4</c:v>
                </c:pt>
                <c:pt idx="932">
                  <c:v>9471</c:v>
                </c:pt>
                <c:pt idx="933">
                  <c:v>9521.4</c:v>
                </c:pt>
                <c:pt idx="934">
                  <c:v>9886.8000000000011</c:v>
                </c:pt>
                <c:pt idx="935">
                  <c:v>10264.800000000001</c:v>
                </c:pt>
                <c:pt idx="936">
                  <c:v>10722.6</c:v>
                </c:pt>
                <c:pt idx="937">
                  <c:v>11130</c:v>
                </c:pt>
                <c:pt idx="938">
                  <c:v>12537</c:v>
                </c:pt>
                <c:pt idx="939">
                  <c:v>12453</c:v>
                </c:pt>
                <c:pt idx="940">
                  <c:v>12688.2</c:v>
                </c:pt>
                <c:pt idx="941">
                  <c:v>12852</c:v>
                </c:pt>
                <c:pt idx="942">
                  <c:v>12772.2</c:v>
                </c:pt>
                <c:pt idx="943">
                  <c:v>12537</c:v>
                </c:pt>
                <c:pt idx="944">
                  <c:v>12398.4</c:v>
                </c:pt>
                <c:pt idx="945">
                  <c:v>12188.4</c:v>
                </c:pt>
                <c:pt idx="946">
                  <c:v>12016.2</c:v>
                </c:pt>
                <c:pt idx="947">
                  <c:v>11768.4</c:v>
                </c:pt>
                <c:pt idx="948">
                  <c:v>11327.4</c:v>
                </c:pt>
                <c:pt idx="949">
                  <c:v>11029.2</c:v>
                </c:pt>
                <c:pt idx="950">
                  <c:v>10739.4</c:v>
                </c:pt>
                <c:pt idx="951">
                  <c:v>10735.2</c:v>
                </c:pt>
                <c:pt idx="952">
                  <c:v>10794</c:v>
                </c:pt>
                <c:pt idx="953">
                  <c:v>11041.800000000001</c:v>
                </c:pt>
                <c:pt idx="954">
                  <c:v>11163.6</c:v>
                </c:pt>
                <c:pt idx="955">
                  <c:v>11377.800000000001</c:v>
                </c:pt>
                <c:pt idx="956">
                  <c:v>12020.4</c:v>
                </c:pt>
                <c:pt idx="957">
                  <c:v>12259.800000000001</c:v>
                </c:pt>
                <c:pt idx="958">
                  <c:v>12125.4</c:v>
                </c:pt>
                <c:pt idx="959">
                  <c:v>11886</c:v>
                </c:pt>
                <c:pt idx="960">
                  <c:v>11587.800000000001</c:v>
                </c:pt>
                <c:pt idx="961">
                  <c:v>11575.2</c:v>
                </c:pt>
                <c:pt idx="962">
                  <c:v>11659.2</c:v>
                </c:pt>
                <c:pt idx="963">
                  <c:v>11491.2</c:v>
                </c:pt>
                <c:pt idx="964">
                  <c:v>11184.6</c:v>
                </c:pt>
                <c:pt idx="965">
                  <c:v>11243.4</c:v>
                </c:pt>
                <c:pt idx="966">
                  <c:v>11025</c:v>
                </c:pt>
                <c:pt idx="967">
                  <c:v>10886.4</c:v>
                </c:pt>
                <c:pt idx="968">
                  <c:v>10529.4</c:v>
                </c:pt>
                <c:pt idx="969">
                  <c:v>10281.6</c:v>
                </c:pt>
                <c:pt idx="970">
                  <c:v>10357.200000000001</c:v>
                </c:pt>
                <c:pt idx="971">
                  <c:v>10050.6</c:v>
                </c:pt>
                <c:pt idx="972">
                  <c:v>9567.6</c:v>
                </c:pt>
                <c:pt idx="973">
                  <c:v>9223.2000000000007</c:v>
                </c:pt>
                <c:pt idx="974">
                  <c:v>9139.2000000000007</c:v>
                </c:pt>
                <c:pt idx="975">
                  <c:v>9114</c:v>
                </c:pt>
                <c:pt idx="976">
                  <c:v>9504.6</c:v>
                </c:pt>
                <c:pt idx="977">
                  <c:v>10222.800000000001</c:v>
                </c:pt>
                <c:pt idx="978">
                  <c:v>10806.6</c:v>
                </c:pt>
                <c:pt idx="979">
                  <c:v>11474.4</c:v>
                </c:pt>
                <c:pt idx="980">
                  <c:v>12117</c:v>
                </c:pt>
                <c:pt idx="981">
                  <c:v>12188.4</c:v>
                </c:pt>
                <c:pt idx="982">
                  <c:v>12343.800000000001</c:v>
                </c:pt>
                <c:pt idx="983">
                  <c:v>12075</c:v>
                </c:pt>
                <c:pt idx="984">
                  <c:v>11999.4</c:v>
                </c:pt>
                <c:pt idx="985">
                  <c:v>11730.6</c:v>
                </c:pt>
                <c:pt idx="986">
                  <c:v>12007.800000000001</c:v>
                </c:pt>
                <c:pt idx="987">
                  <c:v>11860.800000000001</c:v>
                </c:pt>
                <c:pt idx="988">
                  <c:v>11655</c:v>
                </c:pt>
                <c:pt idx="989">
                  <c:v>11533.2</c:v>
                </c:pt>
                <c:pt idx="990">
                  <c:v>11293.800000000001</c:v>
                </c:pt>
                <c:pt idx="991">
                  <c:v>11272.800000000001</c:v>
                </c:pt>
                <c:pt idx="992">
                  <c:v>11029.2</c:v>
                </c:pt>
                <c:pt idx="993">
                  <c:v>10865.4</c:v>
                </c:pt>
                <c:pt idx="994">
                  <c:v>10743.6</c:v>
                </c:pt>
                <c:pt idx="995">
                  <c:v>10437</c:v>
                </c:pt>
                <c:pt idx="996">
                  <c:v>10260.6</c:v>
                </c:pt>
                <c:pt idx="997">
                  <c:v>10134.6</c:v>
                </c:pt>
                <c:pt idx="998">
                  <c:v>9853.2000000000007</c:v>
                </c:pt>
                <c:pt idx="999">
                  <c:v>9823.8000000000011</c:v>
                </c:pt>
                <c:pt idx="1000">
                  <c:v>9941.4</c:v>
                </c:pt>
                <c:pt idx="1001">
                  <c:v>10143</c:v>
                </c:pt>
                <c:pt idx="1002">
                  <c:v>10533.6</c:v>
                </c:pt>
                <c:pt idx="1003">
                  <c:v>11079.6</c:v>
                </c:pt>
                <c:pt idx="1004">
                  <c:v>11608.800000000001</c:v>
                </c:pt>
                <c:pt idx="1005">
                  <c:v>12201</c:v>
                </c:pt>
                <c:pt idx="1006">
                  <c:v>12499.2</c:v>
                </c:pt>
                <c:pt idx="1007">
                  <c:v>12600</c:v>
                </c:pt>
                <c:pt idx="1008">
                  <c:v>12738.6</c:v>
                </c:pt>
                <c:pt idx="1009">
                  <c:v>12973.800000000001</c:v>
                </c:pt>
                <c:pt idx="1010">
                  <c:v>13162.800000000001</c:v>
                </c:pt>
                <c:pt idx="1011">
                  <c:v>13179.6</c:v>
                </c:pt>
                <c:pt idx="1012">
                  <c:v>13057.800000000001</c:v>
                </c:pt>
                <c:pt idx="1013">
                  <c:v>13032.6</c:v>
                </c:pt>
                <c:pt idx="1014">
                  <c:v>13104</c:v>
                </c:pt>
                <c:pt idx="1015">
                  <c:v>13343.400000000001</c:v>
                </c:pt>
                <c:pt idx="1016">
                  <c:v>13314</c:v>
                </c:pt>
                <c:pt idx="1017">
                  <c:v>12826.800000000001</c:v>
                </c:pt>
                <c:pt idx="1018">
                  <c:v>12600</c:v>
                </c:pt>
                <c:pt idx="1019">
                  <c:v>12234.6</c:v>
                </c:pt>
                <c:pt idx="1020">
                  <c:v>11709.6</c:v>
                </c:pt>
                <c:pt idx="1021">
                  <c:v>11130</c:v>
                </c:pt>
                <c:pt idx="1022">
                  <c:v>10516.800000000001</c:v>
                </c:pt>
                <c:pt idx="1023">
                  <c:v>9525.6</c:v>
                </c:pt>
                <c:pt idx="1024">
                  <c:v>8526</c:v>
                </c:pt>
                <c:pt idx="1025">
                  <c:v>7383.6</c:v>
                </c:pt>
                <c:pt idx="1026">
                  <c:v>6531</c:v>
                </c:pt>
                <c:pt idx="1027">
                  <c:v>5447.4000000000005</c:v>
                </c:pt>
                <c:pt idx="1028">
                  <c:v>4746</c:v>
                </c:pt>
                <c:pt idx="1029">
                  <c:v>4128.6000000000004</c:v>
                </c:pt>
                <c:pt idx="1030">
                  <c:v>3822</c:v>
                </c:pt>
                <c:pt idx="1031">
                  <c:v>3511.2000000000003</c:v>
                </c:pt>
                <c:pt idx="1032">
                  <c:v>3658.2000000000003</c:v>
                </c:pt>
                <c:pt idx="1033">
                  <c:v>4246.2</c:v>
                </c:pt>
                <c:pt idx="1034">
                  <c:v>5203.8</c:v>
                </c:pt>
                <c:pt idx="1035">
                  <c:v>5350.8</c:v>
                </c:pt>
                <c:pt idx="1036">
                  <c:v>5464.2</c:v>
                </c:pt>
                <c:pt idx="1037">
                  <c:v>5506.2</c:v>
                </c:pt>
                <c:pt idx="1038">
                  <c:v>5422.2</c:v>
                </c:pt>
                <c:pt idx="1039">
                  <c:v>5237.4000000000005</c:v>
                </c:pt>
                <c:pt idx="1040">
                  <c:v>5094.6000000000004</c:v>
                </c:pt>
                <c:pt idx="1041">
                  <c:v>4569.6000000000004</c:v>
                </c:pt>
                <c:pt idx="1042">
                  <c:v>3889.2000000000003</c:v>
                </c:pt>
                <c:pt idx="1043">
                  <c:v>3452.4</c:v>
                </c:pt>
                <c:pt idx="1044">
                  <c:v>2658.6</c:v>
                </c:pt>
                <c:pt idx="1045">
                  <c:v>2188.2000000000003</c:v>
                </c:pt>
                <c:pt idx="1046">
                  <c:v>1915.2</c:v>
                </c:pt>
                <c:pt idx="1047">
                  <c:v>1810.2</c:v>
                </c:pt>
                <c:pt idx="1048">
                  <c:v>1730.4</c:v>
                </c:pt>
                <c:pt idx="1049">
                  <c:v>1701</c:v>
                </c:pt>
                <c:pt idx="1050">
                  <c:v>1751.4</c:v>
                </c:pt>
                <c:pt idx="1051">
                  <c:v>1936.2</c:v>
                </c:pt>
                <c:pt idx="1052">
                  <c:v>2100</c:v>
                </c:pt>
                <c:pt idx="1053">
                  <c:v>2293.2000000000003</c:v>
                </c:pt>
                <c:pt idx="1054">
                  <c:v>2339.4</c:v>
                </c:pt>
                <c:pt idx="1055">
                  <c:v>2381.4</c:v>
                </c:pt>
                <c:pt idx="1056">
                  <c:v>2389.8000000000002</c:v>
                </c:pt>
                <c:pt idx="1057">
                  <c:v>2318.4</c:v>
                </c:pt>
                <c:pt idx="1058">
                  <c:v>2389.8000000000002</c:v>
                </c:pt>
                <c:pt idx="1059">
                  <c:v>2461.2000000000003</c:v>
                </c:pt>
                <c:pt idx="1060">
                  <c:v>2578.8000000000002</c:v>
                </c:pt>
                <c:pt idx="1061">
                  <c:v>2662.8</c:v>
                </c:pt>
                <c:pt idx="1062">
                  <c:v>2814</c:v>
                </c:pt>
                <c:pt idx="1063">
                  <c:v>2935.8</c:v>
                </c:pt>
                <c:pt idx="1064">
                  <c:v>2969.4</c:v>
                </c:pt>
                <c:pt idx="1065">
                  <c:v>2965.2000000000003</c:v>
                </c:pt>
                <c:pt idx="1066">
                  <c:v>2902.2000000000003</c:v>
                </c:pt>
                <c:pt idx="1067">
                  <c:v>2742.6</c:v>
                </c:pt>
                <c:pt idx="1068">
                  <c:v>2415</c:v>
                </c:pt>
                <c:pt idx="1069">
                  <c:v>2200.8000000000002</c:v>
                </c:pt>
                <c:pt idx="1070">
                  <c:v>2167.2000000000003</c:v>
                </c:pt>
                <c:pt idx="1071">
                  <c:v>2112.6</c:v>
                </c:pt>
                <c:pt idx="1072">
                  <c:v>2284.8000000000002</c:v>
                </c:pt>
                <c:pt idx="1073">
                  <c:v>2696.4</c:v>
                </c:pt>
                <c:pt idx="1074">
                  <c:v>3120.6</c:v>
                </c:pt>
                <c:pt idx="1075">
                  <c:v>3885</c:v>
                </c:pt>
                <c:pt idx="1076">
                  <c:v>4414.2</c:v>
                </c:pt>
                <c:pt idx="1077">
                  <c:v>5195.4000000000005</c:v>
                </c:pt>
                <c:pt idx="1078">
                  <c:v>5791.8</c:v>
                </c:pt>
                <c:pt idx="1079">
                  <c:v>6228.6</c:v>
                </c:pt>
                <c:pt idx="1080">
                  <c:v>6631.8</c:v>
                </c:pt>
                <c:pt idx="1081">
                  <c:v>7018.2000000000007</c:v>
                </c:pt>
                <c:pt idx="1082">
                  <c:v>7085.4000000000005</c:v>
                </c:pt>
                <c:pt idx="1083">
                  <c:v>7560</c:v>
                </c:pt>
                <c:pt idx="1084">
                  <c:v>8034.6</c:v>
                </c:pt>
                <c:pt idx="1085">
                  <c:v>8719.2000000000007</c:v>
                </c:pt>
                <c:pt idx="1086">
                  <c:v>9290.4</c:v>
                </c:pt>
                <c:pt idx="1087">
                  <c:v>10038</c:v>
                </c:pt>
                <c:pt idx="1088">
                  <c:v>10886.4</c:v>
                </c:pt>
                <c:pt idx="1089">
                  <c:v>11466</c:v>
                </c:pt>
                <c:pt idx="1090">
                  <c:v>11915.4</c:v>
                </c:pt>
                <c:pt idx="1091">
                  <c:v>12264</c:v>
                </c:pt>
                <c:pt idx="1092">
                  <c:v>12738.6</c:v>
                </c:pt>
                <c:pt idx="1093">
                  <c:v>12814.2</c:v>
                </c:pt>
                <c:pt idx="1094">
                  <c:v>13309.800000000001</c:v>
                </c:pt>
                <c:pt idx="1095">
                  <c:v>13503</c:v>
                </c:pt>
                <c:pt idx="1096">
                  <c:v>13687.800000000001</c:v>
                </c:pt>
                <c:pt idx="1097">
                  <c:v>14149.800000000001</c:v>
                </c:pt>
                <c:pt idx="1098">
                  <c:v>14330.400000000001</c:v>
                </c:pt>
                <c:pt idx="1099">
                  <c:v>14590.800000000001</c:v>
                </c:pt>
                <c:pt idx="1100">
                  <c:v>14771.400000000001</c:v>
                </c:pt>
                <c:pt idx="1101">
                  <c:v>15103.2</c:v>
                </c:pt>
                <c:pt idx="1102">
                  <c:v>15216.6</c:v>
                </c:pt>
                <c:pt idx="1103">
                  <c:v>14939.400000000001</c:v>
                </c:pt>
                <c:pt idx="1104">
                  <c:v>14817.6</c:v>
                </c:pt>
                <c:pt idx="1105">
                  <c:v>14448</c:v>
                </c:pt>
                <c:pt idx="1106">
                  <c:v>14960.400000000001</c:v>
                </c:pt>
                <c:pt idx="1107">
                  <c:v>14796.6</c:v>
                </c:pt>
                <c:pt idx="1108">
                  <c:v>14708.400000000001</c:v>
                </c:pt>
                <c:pt idx="1109">
                  <c:v>14695.800000000001</c:v>
                </c:pt>
                <c:pt idx="1110">
                  <c:v>14502.6</c:v>
                </c:pt>
                <c:pt idx="1111">
                  <c:v>14498.400000000001</c:v>
                </c:pt>
                <c:pt idx="1112">
                  <c:v>14532</c:v>
                </c:pt>
                <c:pt idx="1113">
                  <c:v>14372.400000000001</c:v>
                </c:pt>
                <c:pt idx="1114">
                  <c:v>14427</c:v>
                </c:pt>
                <c:pt idx="1115">
                  <c:v>14389.2</c:v>
                </c:pt>
                <c:pt idx="1116">
                  <c:v>14036.400000000001</c:v>
                </c:pt>
                <c:pt idx="1117">
                  <c:v>13906.2</c:v>
                </c:pt>
                <c:pt idx="1118">
                  <c:v>13700.400000000001</c:v>
                </c:pt>
                <c:pt idx="1119">
                  <c:v>13666.800000000001</c:v>
                </c:pt>
                <c:pt idx="1120">
                  <c:v>13561.800000000001</c:v>
                </c:pt>
                <c:pt idx="1121">
                  <c:v>13519.800000000001</c:v>
                </c:pt>
                <c:pt idx="1122">
                  <c:v>13608</c:v>
                </c:pt>
                <c:pt idx="1123">
                  <c:v>13717.2</c:v>
                </c:pt>
                <c:pt idx="1124">
                  <c:v>13797</c:v>
                </c:pt>
                <c:pt idx="1125">
                  <c:v>13461</c:v>
                </c:pt>
                <c:pt idx="1126">
                  <c:v>13704.6</c:v>
                </c:pt>
                <c:pt idx="1127">
                  <c:v>13511.400000000001</c:v>
                </c:pt>
                <c:pt idx="1128">
                  <c:v>13482</c:v>
                </c:pt>
                <c:pt idx="1129">
                  <c:v>13120.800000000001</c:v>
                </c:pt>
                <c:pt idx="1130">
                  <c:v>13881</c:v>
                </c:pt>
                <c:pt idx="1131">
                  <c:v>13524</c:v>
                </c:pt>
                <c:pt idx="1132">
                  <c:v>13557.6</c:v>
                </c:pt>
                <c:pt idx="1133">
                  <c:v>13372.800000000001</c:v>
                </c:pt>
                <c:pt idx="1134">
                  <c:v>13213.2</c:v>
                </c:pt>
                <c:pt idx="1135">
                  <c:v>13036.800000000001</c:v>
                </c:pt>
                <c:pt idx="1136">
                  <c:v>12894</c:v>
                </c:pt>
                <c:pt idx="1137">
                  <c:v>12814.2</c:v>
                </c:pt>
                <c:pt idx="1138">
                  <c:v>12637.800000000001</c:v>
                </c:pt>
                <c:pt idx="1139">
                  <c:v>12348</c:v>
                </c:pt>
                <c:pt idx="1140">
                  <c:v>12234.6</c:v>
                </c:pt>
                <c:pt idx="1141">
                  <c:v>12243</c:v>
                </c:pt>
                <c:pt idx="1142">
                  <c:v>12222</c:v>
                </c:pt>
                <c:pt idx="1143">
                  <c:v>12234.6</c:v>
                </c:pt>
                <c:pt idx="1144">
                  <c:v>12348</c:v>
                </c:pt>
                <c:pt idx="1145">
                  <c:v>12772.2</c:v>
                </c:pt>
                <c:pt idx="1146">
                  <c:v>13410.6</c:v>
                </c:pt>
                <c:pt idx="1147">
                  <c:v>14154</c:v>
                </c:pt>
                <c:pt idx="1148">
                  <c:v>14876.400000000001</c:v>
                </c:pt>
                <c:pt idx="1149">
                  <c:v>15342.6</c:v>
                </c:pt>
                <c:pt idx="1150">
                  <c:v>15846.6</c:v>
                </c:pt>
                <c:pt idx="1151">
                  <c:v>16094.400000000001</c:v>
                </c:pt>
                <c:pt idx="1152">
                  <c:v>16333.800000000001</c:v>
                </c:pt>
                <c:pt idx="1153">
                  <c:v>16573.2</c:v>
                </c:pt>
                <c:pt idx="1154">
                  <c:v>16892.400000000001</c:v>
                </c:pt>
                <c:pt idx="1155">
                  <c:v>17089.8</c:v>
                </c:pt>
                <c:pt idx="1156">
                  <c:v>17295.600000000002</c:v>
                </c:pt>
                <c:pt idx="1157">
                  <c:v>17173.8</c:v>
                </c:pt>
                <c:pt idx="1158">
                  <c:v>17085.600000000002</c:v>
                </c:pt>
                <c:pt idx="1159">
                  <c:v>16548</c:v>
                </c:pt>
                <c:pt idx="1160">
                  <c:v>15829.800000000001</c:v>
                </c:pt>
                <c:pt idx="1161">
                  <c:v>15174.6</c:v>
                </c:pt>
                <c:pt idx="1162">
                  <c:v>14221.2</c:v>
                </c:pt>
                <c:pt idx="1163">
                  <c:v>13410.6</c:v>
                </c:pt>
                <c:pt idx="1164">
                  <c:v>12835.2</c:v>
                </c:pt>
                <c:pt idx="1165">
                  <c:v>12537</c:v>
                </c:pt>
                <c:pt idx="1166">
                  <c:v>12188.4</c:v>
                </c:pt>
                <c:pt idx="1167">
                  <c:v>12726</c:v>
                </c:pt>
                <c:pt idx="1168">
                  <c:v>13339.2</c:v>
                </c:pt>
                <c:pt idx="1169">
                  <c:v>13482</c:v>
                </c:pt>
                <c:pt idx="1170">
                  <c:v>13981.800000000001</c:v>
                </c:pt>
                <c:pt idx="1171">
                  <c:v>15065.400000000001</c:v>
                </c:pt>
                <c:pt idx="1172">
                  <c:v>15972.6</c:v>
                </c:pt>
                <c:pt idx="1173">
                  <c:v>16094.400000000001</c:v>
                </c:pt>
                <c:pt idx="1174">
                  <c:v>16430.400000000001</c:v>
                </c:pt>
                <c:pt idx="1175">
                  <c:v>16703.400000000001</c:v>
                </c:pt>
                <c:pt idx="1176">
                  <c:v>16585.8</c:v>
                </c:pt>
                <c:pt idx="1177">
                  <c:v>16560.600000000002</c:v>
                </c:pt>
                <c:pt idx="1178">
                  <c:v>16153.2</c:v>
                </c:pt>
                <c:pt idx="1179">
                  <c:v>15939</c:v>
                </c:pt>
                <c:pt idx="1180">
                  <c:v>15729</c:v>
                </c:pt>
                <c:pt idx="1181">
                  <c:v>15527.400000000001</c:v>
                </c:pt>
                <c:pt idx="1182">
                  <c:v>15334.2</c:v>
                </c:pt>
                <c:pt idx="1183">
                  <c:v>14872.2</c:v>
                </c:pt>
                <c:pt idx="1184">
                  <c:v>14830.2</c:v>
                </c:pt>
                <c:pt idx="1185">
                  <c:v>14813.400000000001</c:v>
                </c:pt>
                <c:pt idx="1186">
                  <c:v>14704.2</c:v>
                </c:pt>
                <c:pt idx="1187">
                  <c:v>14704.2</c:v>
                </c:pt>
                <c:pt idx="1188">
                  <c:v>14309.400000000001</c:v>
                </c:pt>
                <c:pt idx="1189">
                  <c:v>14779.800000000001</c:v>
                </c:pt>
                <c:pt idx="1190">
                  <c:v>14842.800000000001</c:v>
                </c:pt>
                <c:pt idx="1191">
                  <c:v>15010.800000000001</c:v>
                </c:pt>
                <c:pt idx="1192">
                  <c:v>15220.800000000001</c:v>
                </c:pt>
                <c:pt idx="1193">
                  <c:v>15313.2</c:v>
                </c:pt>
                <c:pt idx="1194">
                  <c:v>15628.2</c:v>
                </c:pt>
                <c:pt idx="1195">
                  <c:v>15787.800000000001</c:v>
                </c:pt>
                <c:pt idx="1196">
                  <c:v>15825.6</c:v>
                </c:pt>
                <c:pt idx="1197">
                  <c:v>15691.2</c:v>
                </c:pt>
                <c:pt idx="1198">
                  <c:v>15443.400000000001</c:v>
                </c:pt>
                <c:pt idx="1199">
                  <c:v>15002.400000000001</c:v>
                </c:pt>
                <c:pt idx="1200">
                  <c:v>14519.400000000001</c:v>
                </c:pt>
                <c:pt idx="1201">
                  <c:v>14334.6</c:v>
                </c:pt>
                <c:pt idx="1202">
                  <c:v>13931.400000000001</c:v>
                </c:pt>
                <c:pt idx="1203">
                  <c:v>13952.400000000001</c:v>
                </c:pt>
                <c:pt idx="1204">
                  <c:v>13759.2</c:v>
                </c:pt>
                <c:pt idx="1205">
                  <c:v>13763.400000000001</c:v>
                </c:pt>
                <c:pt idx="1206">
                  <c:v>13015.800000000001</c:v>
                </c:pt>
                <c:pt idx="1207">
                  <c:v>12952.800000000001</c:v>
                </c:pt>
                <c:pt idx="1208">
                  <c:v>12726</c:v>
                </c:pt>
                <c:pt idx="1209">
                  <c:v>12381.6</c:v>
                </c:pt>
                <c:pt idx="1210">
                  <c:v>12469.800000000001</c:v>
                </c:pt>
                <c:pt idx="1211">
                  <c:v>12255.6</c:v>
                </c:pt>
                <c:pt idx="1212">
                  <c:v>11806.2</c:v>
                </c:pt>
                <c:pt idx="1213">
                  <c:v>11600.4</c:v>
                </c:pt>
                <c:pt idx="1214">
                  <c:v>11130</c:v>
                </c:pt>
                <c:pt idx="1215">
                  <c:v>11117.4</c:v>
                </c:pt>
                <c:pt idx="1216">
                  <c:v>10777.2</c:v>
                </c:pt>
                <c:pt idx="1217">
                  <c:v>10773</c:v>
                </c:pt>
                <c:pt idx="1218">
                  <c:v>10970.4</c:v>
                </c:pt>
                <c:pt idx="1219">
                  <c:v>11020.800000000001</c:v>
                </c:pt>
                <c:pt idx="1220">
                  <c:v>11810.4</c:v>
                </c:pt>
                <c:pt idx="1221">
                  <c:v>11760</c:v>
                </c:pt>
                <c:pt idx="1222">
                  <c:v>11709.6</c:v>
                </c:pt>
                <c:pt idx="1223">
                  <c:v>11188.800000000001</c:v>
                </c:pt>
                <c:pt idx="1224">
                  <c:v>10714.2</c:v>
                </c:pt>
                <c:pt idx="1225">
                  <c:v>10038</c:v>
                </c:pt>
                <c:pt idx="1226">
                  <c:v>8568</c:v>
                </c:pt>
                <c:pt idx="1227">
                  <c:v>7975.8</c:v>
                </c:pt>
                <c:pt idx="1228">
                  <c:v>7303.8</c:v>
                </c:pt>
                <c:pt idx="1229">
                  <c:v>7014</c:v>
                </c:pt>
                <c:pt idx="1230">
                  <c:v>6489</c:v>
                </c:pt>
                <c:pt idx="1231">
                  <c:v>6367.2</c:v>
                </c:pt>
                <c:pt idx="1232">
                  <c:v>5972.4000000000005</c:v>
                </c:pt>
                <c:pt idx="1233">
                  <c:v>5951.4000000000005</c:v>
                </c:pt>
                <c:pt idx="1234">
                  <c:v>6148.8</c:v>
                </c:pt>
                <c:pt idx="1235">
                  <c:v>5565</c:v>
                </c:pt>
                <c:pt idx="1236">
                  <c:v>5266.8</c:v>
                </c:pt>
                <c:pt idx="1237">
                  <c:v>4590.6000000000004</c:v>
                </c:pt>
                <c:pt idx="1238">
                  <c:v>4309.2</c:v>
                </c:pt>
                <c:pt idx="1239">
                  <c:v>4187.4000000000005</c:v>
                </c:pt>
                <c:pt idx="1240">
                  <c:v>4216.8</c:v>
                </c:pt>
                <c:pt idx="1241">
                  <c:v>4439.4000000000005</c:v>
                </c:pt>
                <c:pt idx="1242">
                  <c:v>4704</c:v>
                </c:pt>
                <c:pt idx="1243">
                  <c:v>4897.2</c:v>
                </c:pt>
                <c:pt idx="1244">
                  <c:v>5279.4000000000005</c:v>
                </c:pt>
                <c:pt idx="1245">
                  <c:v>5665.8</c:v>
                </c:pt>
                <c:pt idx="1246">
                  <c:v>6085.8</c:v>
                </c:pt>
                <c:pt idx="1247">
                  <c:v>6841.8</c:v>
                </c:pt>
                <c:pt idx="1248">
                  <c:v>7131.6</c:v>
                </c:pt>
                <c:pt idx="1249">
                  <c:v>7429.8</c:v>
                </c:pt>
                <c:pt idx="1250">
                  <c:v>7043.4000000000005</c:v>
                </c:pt>
                <c:pt idx="1251">
                  <c:v>7308</c:v>
                </c:pt>
                <c:pt idx="1252">
                  <c:v>7177.8</c:v>
                </c:pt>
                <c:pt idx="1253">
                  <c:v>7341.6</c:v>
                </c:pt>
                <c:pt idx="1254">
                  <c:v>7639.8</c:v>
                </c:pt>
                <c:pt idx="1255">
                  <c:v>7791</c:v>
                </c:pt>
                <c:pt idx="1256">
                  <c:v>8139.6</c:v>
                </c:pt>
                <c:pt idx="1257">
                  <c:v>8618.4</c:v>
                </c:pt>
                <c:pt idx="1258">
                  <c:v>9143.4</c:v>
                </c:pt>
                <c:pt idx="1259">
                  <c:v>9387</c:v>
                </c:pt>
                <c:pt idx="1260">
                  <c:v>9500.4</c:v>
                </c:pt>
                <c:pt idx="1261">
                  <c:v>9819.6</c:v>
                </c:pt>
                <c:pt idx="1262">
                  <c:v>9798.6</c:v>
                </c:pt>
                <c:pt idx="1263">
                  <c:v>9844.8000000000011</c:v>
                </c:pt>
                <c:pt idx="1264">
                  <c:v>9769.2000000000007</c:v>
                </c:pt>
                <c:pt idx="1265">
                  <c:v>9655.8000000000011</c:v>
                </c:pt>
                <c:pt idx="1266">
                  <c:v>9739.8000000000011</c:v>
                </c:pt>
                <c:pt idx="1267">
                  <c:v>9588.6</c:v>
                </c:pt>
                <c:pt idx="1268">
                  <c:v>9559.2000000000007</c:v>
                </c:pt>
                <c:pt idx="1269">
                  <c:v>9202.2000000000007</c:v>
                </c:pt>
                <c:pt idx="1270">
                  <c:v>9172.8000000000011</c:v>
                </c:pt>
                <c:pt idx="1271">
                  <c:v>8727.6</c:v>
                </c:pt>
                <c:pt idx="1272">
                  <c:v>8773.8000000000011</c:v>
                </c:pt>
                <c:pt idx="1273">
                  <c:v>8467.2000000000007</c:v>
                </c:pt>
                <c:pt idx="1274">
                  <c:v>9034.2000000000007</c:v>
                </c:pt>
                <c:pt idx="1275">
                  <c:v>9475.2000000000007</c:v>
                </c:pt>
                <c:pt idx="1276">
                  <c:v>10017</c:v>
                </c:pt>
                <c:pt idx="1277">
                  <c:v>10554.6</c:v>
                </c:pt>
                <c:pt idx="1278">
                  <c:v>11386.2</c:v>
                </c:pt>
                <c:pt idx="1279">
                  <c:v>12545.4</c:v>
                </c:pt>
                <c:pt idx="1280">
                  <c:v>14053.2</c:v>
                </c:pt>
                <c:pt idx="1281">
                  <c:v>15099</c:v>
                </c:pt>
                <c:pt idx="1282">
                  <c:v>15855</c:v>
                </c:pt>
                <c:pt idx="1283">
                  <c:v>16380</c:v>
                </c:pt>
                <c:pt idx="1284">
                  <c:v>17110.8</c:v>
                </c:pt>
                <c:pt idx="1285">
                  <c:v>17556</c:v>
                </c:pt>
                <c:pt idx="1286">
                  <c:v>17791.2</c:v>
                </c:pt>
                <c:pt idx="1287">
                  <c:v>17652.600000000002</c:v>
                </c:pt>
                <c:pt idx="1288">
                  <c:v>17249.400000000001</c:v>
                </c:pt>
                <c:pt idx="1289">
                  <c:v>16485</c:v>
                </c:pt>
                <c:pt idx="1290">
                  <c:v>15775.2</c:v>
                </c:pt>
                <c:pt idx="1291">
                  <c:v>14952</c:v>
                </c:pt>
                <c:pt idx="1292">
                  <c:v>14183.400000000001</c:v>
                </c:pt>
                <c:pt idx="1293">
                  <c:v>13507.2</c:v>
                </c:pt>
                <c:pt idx="1294">
                  <c:v>12768</c:v>
                </c:pt>
                <c:pt idx="1295">
                  <c:v>11781</c:v>
                </c:pt>
                <c:pt idx="1296">
                  <c:v>11054.4</c:v>
                </c:pt>
                <c:pt idx="1297">
                  <c:v>10449.6</c:v>
                </c:pt>
                <c:pt idx="1298">
                  <c:v>9933</c:v>
                </c:pt>
                <c:pt idx="1299">
                  <c:v>9664.2000000000007</c:v>
                </c:pt>
                <c:pt idx="1300">
                  <c:v>9458.4</c:v>
                </c:pt>
                <c:pt idx="1301">
                  <c:v>9231.6</c:v>
                </c:pt>
                <c:pt idx="1302">
                  <c:v>9059.4</c:v>
                </c:pt>
                <c:pt idx="1303">
                  <c:v>9198</c:v>
                </c:pt>
                <c:pt idx="1304">
                  <c:v>9420.6</c:v>
                </c:pt>
                <c:pt idx="1305">
                  <c:v>9466.8000000000011</c:v>
                </c:pt>
                <c:pt idx="1306">
                  <c:v>9685.2000000000007</c:v>
                </c:pt>
                <c:pt idx="1307">
                  <c:v>9811.2000000000007</c:v>
                </c:pt>
                <c:pt idx="1308">
                  <c:v>9844.8000000000011</c:v>
                </c:pt>
                <c:pt idx="1309">
                  <c:v>10092.6</c:v>
                </c:pt>
                <c:pt idx="1310">
                  <c:v>10294.200000000001</c:v>
                </c:pt>
                <c:pt idx="1311">
                  <c:v>10647</c:v>
                </c:pt>
                <c:pt idx="1312">
                  <c:v>10907.4</c:v>
                </c:pt>
                <c:pt idx="1313">
                  <c:v>11226.6</c:v>
                </c:pt>
                <c:pt idx="1314">
                  <c:v>11390.4</c:v>
                </c:pt>
                <c:pt idx="1315">
                  <c:v>11877.6</c:v>
                </c:pt>
                <c:pt idx="1316">
                  <c:v>12255.6</c:v>
                </c:pt>
                <c:pt idx="1317">
                  <c:v>12427.800000000001</c:v>
                </c:pt>
                <c:pt idx="1318">
                  <c:v>12495</c:v>
                </c:pt>
                <c:pt idx="1319">
                  <c:v>12453</c:v>
                </c:pt>
                <c:pt idx="1320">
                  <c:v>12297.6</c:v>
                </c:pt>
                <c:pt idx="1321">
                  <c:v>12096</c:v>
                </c:pt>
                <c:pt idx="1322">
                  <c:v>12100.2</c:v>
                </c:pt>
                <c:pt idx="1323">
                  <c:v>11881.800000000001</c:v>
                </c:pt>
                <c:pt idx="1324">
                  <c:v>11718</c:v>
                </c:pt>
                <c:pt idx="1325">
                  <c:v>11272.800000000001</c:v>
                </c:pt>
                <c:pt idx="1326">
                  <c:v>10899</c:v>
                </c:pt>
                <c:pt idx="1327">
                  <c:v>10701.6</c:v>
                </c:pt>
                <c:pt idx="1328">
                  <c:v>10357.200000000001</c:v>
                </c:pt>
                <c:pt idx="1329">
                  <c:v>10038</c:v>
                </c:pt>
                <c:pt idx="1330">
                  <c:v>9424.8000000000011</c:v>
                </c:pt>
                <c:pt idx="1331">
                  <c:v>8828.4</c:v>
                </c:pt>
                <c:pt idx="1332">
                  <c:v>8857.8000000000011</c:v>
                </c:pt>
                <c:pt idx="1333">
                  <c:v>8122.8</c:v>
                </c:pt>
                <c:pt idx="1334">
                  <c:v>7518</c:v>
                </c:pt>
                <c:pt idx="1335">
                  <c:v>6984.6</c:v>
                </c:pt>
                <c:pt idx="1336">
                  <c:v>6321</c:v>
                </c:pt>
                <c:pt idx="1337">
                  <c:v>5892.6</c:v>
                </c:pt>
                <c:pt idx="1338">
                  <c:v>5623.8</c:v>
                </c:pt>
                <c:pt idx="1339">
                  <c:v>5367.6</c:v>
                </c:pt>
                <c:pt idx="1340">
                  <c:v>5376</c:v>
                </c:pt>
                <c:pt idx="1341">
                  <c:v>5548.2</c:v>
                </c:pt>
                <c:pt idx="1342">
                  <c:v>5426.4000000000005</c:v>
                </c:pt>
                <c:pt idx="1343">
                  <c:v>5203.8</c:v>
                </c:pt>
                <c:pt idx="1344">
                  <c:v>5216.4000000000005</c:v>
                </c:pt>
                <c:pt idx="1345">
                  <c:v>4834.2</c:v>
                </c:pt>
                <c:pt idx="1346">
                  <c:v>4422.6000000000004</c:v>
                </c:pt>
                <c:pt idx="1347">
                  <c:v>4153.8</c:v>
                </c:pt>
                <c:pt idx="1348">
                  <c:v>3964.8</c:v>
                </c:pt>
                <c:pt idx="1349">
                  <c:v>3876.6000000000004</c:v>
                </c:pt>
                <c:pt idx="1350">
                  <c:v>3893.4</c:v>
                </c:pt>
                <c:pt idx="1351">
                  <c:v>3969</c:v>
                </c:pt>
                <c:pt idx="1352">
                  <c:v>4229.4000000000005</c:v>
                </c:pt>
                <c:pt idx="1353">
                  <c:v>4720.8</c:v>
                </c:pt>
                <c:pt idx="1354">
                  <c:v>5040</c:v>
                </c:pt>
                <c:pt idx="1355">
                  <c:v>5703.6</c:v>
                </c:pt>
                <c:pt idx="1356">
                  <c:v>6035.4000000000005</c:v>
                </c:pt>
                <c:pt idx="1357">
                  <c:v>6993</c:v>
                </c:pt>
                <c:pt idx="1358">
                  <c:v>7568.4000000000005</c:v>
                </c:pt>
                <c:pt idx="1359">
                  <c:v>8286.6</c:v>
                </c:pt>
                <c:pt idx="1360">
                  <c:v>9307.2000000000007</c:v>
                </c:pt>
                <c:pt idx="1361">
                  <c:v>10424.4</c:v>
                </c:pt>
                <c:pt idx="1362">
                  <c:v>11386.2</c:v>
                </c:pt>
                <c:pt idx="1363">
                  <c:v>12503.4</c:v>
                </c:pt>
                <c:pt idx="1364">
                  <c:v>13368.6</c:v>
                </c:pt>
                <c:pt idx="1365">
                  <c:v>13986</c:v>
                </c:pt>
                <c:pt idx="1366">
                  <c:v>14611.800000000001</c:v>
                </c:pt>
                <c:pt idx="1367">
                  <c:v>14800.800000000001</c:v>
                </c:pt>
                <c:pt idx="1368">
                  <c:v>14431.2</c:v>
                </c:pt>
                <c:pt idx="1369">
                  <c:v>14284.2</c:v>
                </c:pt>
                <c:pt idx="1370">
                  <c:v>15481.2</c:v>
                </c:pt>
                <c:pt idx="1371">
                  <c:v>15283.800000000001</c:v>
                </c:pt>
                <c:pt idx="1372">
                  <c:v>15065.400000000001</c:v>
                </c:pt>
                <c:pt idx="1373">
                  <c:v>14813.400000000001</c:v>
                </c:pt>
                <c:pt idx="1374">
                  <c:v>14536.2</c:v>
                </c:pt>
                <c:pt idx="1375">
                  <c:v>14175</c:v>
                </c:pt>
                <c:pt idx="1376">
                  <c:v>13935.6</c:v>
                </c:pt>
                <c:pt idx="1377">
                  <c:v>13419</c:v>
                </c:pt>
                <c:pt idx="1378">
                  <c:v>12860.4</c:v>
                </c:pt>
                <c:pt idx="1379">
                  <c:v>12247.2</c:v>
                </c:pt>
                <c:pt idx="1380">
                  <c:v>11676</c:v>
                </c:pt>
                <c:pt idx="1381">
                  <c:v>11214</c:v>
                </c:pt>
                <c:pt idx="1382">
                  <c:v>10827.6</c:v>
                </c:pt>
                <c:pt idx="1383">
                  <c:v>10206</c:v>
                </c:pt>
                <c:pt idx="1384">
                  <c:v>9618</c:v>
                </c:pt>
                <c:pt idx="1385">
                  <c:v>9181.2000000000007</c:v>
                </c:pt>
                <c:pt idx="1386">
                  <c:v>8807.4</c:v>
                </c:pt>
                <c:pt idx="1387">
                  <c:v>8467.2000000000007</c:v>
                </c:pt>
                <c:pt idx="1388">
                  <c:v>8110.2000000000007</c:v>
                </c:pt>
                <c:pt idx="1389">
                  <c:v>7828.8</c:v>
                </c:pt>
                <c:pt idx="1390">
                  <c:v>7694.4000000000005</c:v>
                </c:pt>
                <c:pt idx="1391">
                  <c:v>7417.2000000000007</c:v>
                </c:pt>
                <c:pt idx="1392">
                  <c:v>7417.2000000000007</c:v>
                </c:pt>
                <c:pt idx="1393">
                  <c:v>7413</c:v>
                </c:pt>
                <c:pt idx="1394">
                  <c:v>6547.8</c:v>
                </c:pt>
                <c:pt idx="1395">
                  <c:v>6232.8</c:v>
                </c:pt>
                <c:pt idx="1396">
                  <c:v>6081.6</c:v>
                </c:pt>
                <c:pt idx="1397">
                  <c:v>5670</c:v>
                </c:pt>
                <c:pt idx="1398">
                  <c:v>5531.4000000000005</c:v>
                </c:pt>
                <c:pt idx="1399">
                  <c:v>5329.8</c:v>
                </c:pt>
                <c:pt idx="1400">
                  <c:v>5237.4000000000005</c:v>
                </c:pt>
                <c:pt idx="1401">
                  <c:v>5405.4000000000005</c:v>
                </c:pt>
                <c:pt idx="1402">
                  <c:v>5523</c:v>
                </c:pt>
                <c:pt idx="1403">
                  <c:v>5720.4000000000005</c:v>
                </c:pt>
                <c:pt idx="1404">
                  <c:v>6161.4000000000005</c:v>
                </c:pt>
                <c:pt idx="1405">
                  <c:v>6598.2000000000007</c:v>
                </c:pt>
                <c:pt idx="1406">
                  <c:v>7434</c:v>
                </c:pt>
                <c:pt idx="1407">
                  <c:v>8286.6</c:v>
                </c:pt>
                <c:pt idx="1408">
                  <c:v>9168.6</c:v>
                </c:pt>
                <c:pt idx="1409">
                  <c:v>10126.200000000001</c:v>
                </c:pt>
                <c:pt idx="1410">
                  <c:v>10840.2</c:v>
                </c:pt>
                <c:pt idx="1411">
                  <c:v>11356.800000000001</c:v>
                </c:pt>
                <c:pt idx="1412">
                  <c:v>12104.4</c:v>
                </c:pt>
                <c:pt idx="1413">
                  <c:v>12516</c:v>
                </c:pt>
                <c:pt idx="1414">
                  <c:v>13175.400000000001</c:v>
                </c:pt>
                <c:pt idx="1415">
                  <c:v>13641.6</c:v>
                </c:pt>
                <c:pt idx="1416">
                  <c:v>14032.2</c:v>
                </c:pt>
                <c:pt idx="1417">
                  <c:v>14393.400000000001</c:v>
                </c:pt>
                <c:pt idx="1418">
                  <c:v>14763</c:v>
                </c:pt>
                <c:pt idx="1419">
                  <c:v>15031.800000000001</c:v>
                </c:pt>
                <c:pt idx="1420">
                  <c:v>15506.400000000001</c:v>
                </c:pt>
                <c:pt idx="1421">
                  <c:v>16065</c:v>
                </c:pt>
                <c:pt idx="1422">
                  <c:v>16569</c:v>
                </c:pt>
                <c:pt idx="1423">
                  <c:v>17043.600000000002</c:v>
                </c:pt>
                <c:pt idx="1424">
                  <c:v>17589.600000000002</c:v>
                </c:pt>
                <c:pt idx="1425">
                  <c:v>18034.8</c:v>
                </c:pt>
                <c:pt idx="1426">
                  <c:v>18257.400000000001</c:v>
                </c:pt>
                <c:pt idx="1427">
                  <c:v>18593.400000000001</c:v>
                </c:pt>
                <c:pt idx="1428">
                  <c:v>18858</c:v>
                </c:pt>
                <c:pt idx="1429">
                  <c:v>19072.2</c:v>
                </c:pt>
                <c:pt idx="1430">
                  <c:v>19135.2</c:v>
                </c:pt>
                <c:pt idx="1431">
                  <c:v>18908.400000000001</c:v>
                </c:pt>
                <c:pt idx="1432">
                  <c:v>18375</c:v>
                </c:pt>
                <c:pt idx="1433">
                  <c:v>17837.400000000001</c:v>
                </c:pt>
                <c:pt idx="1434">
                  <c:v>16997.400000000001</c:v>
                </c:pt>
                <c:pt idx="1435">
                  <c:v>16409.400000000001</c:v>
                </c:pt>
                <c:pt idx="1436">
                  <c:v>15855</c:v>
                </c:pt>
                <c:pt idx="1437">
                  <c:v>15426.6</c:v>
                </c:pt>
                <c:pt idx="1438">
                  <c:v>14960.400000000001</c:v>
                </c:pt>
                <c:pt idx="1439">
                  <c:v>14502.6</c:v>
                </c:pt>
                <c:pt idx="1440">
                  <c:v>14028</c:v>
                </c:pt>
                <c:pt idx="1441">
                  <c:v>13671</c:v>
                </c:pt>
                <c:pt idx="1442">
                  <c:v>13402.2</c:v>
                </c:pt>
                <c:pt idx="1443">
                  <c:v>12734.4</c:v>
                </c:pt>
                <c:pt idx="1444">
                  <c:v>12083.4</c:v>
                </c:pt>
                <c:pt idx="1445">
                  <c:v>11751.6</c:v>
                </c:pt>
                <c:pt idx="1446">
                  <c:v>11134.2</c:v>
                </c:pt>
                <c:pt idx="1447">
                  <c:v>10298.4</c:v>
                </c:pt>
                <c:pt idx="1448">
                  <c:v>9828</c:v>
                </c:pt>
                <c:pt idx="1449">
                  <c:v>9214.8000000000011</c:v>
                </c:pt>
                <c:pt idx="1450">
                  <c:v>8757</c:v>
                </c:pt>
                <c:pt idx="1451">
                  <c:v>8127</c:v>
                </c:pt>
                <c:pt idx="1452">
                  <c:v>7686</c:v>
                </c:pt>
                <c:pt idx="1453">
                  <c:v>7299.6</c:v>
                </c:pt>
                <c:pt idx="1454">
                  <c:v>6883.8</c:v>
                </c:pt>
                <c:pt idx="1455">
                  <c:v>6896.4000000000005</c:v>
                </c:pt>
                <c:pt idx="1456">
                  <c:v>6795.6</c:v>
                </c:pt>
                <c:pt idx="1457">
                  <c:v>6589.8</c:v>
                </c:pt>
                <c:pt idx="1458">
                  <c:v>6686.4000000000005</c:v>
                </c:pt>
                <c:pt idx="1459">
                  <c:v>6615</c:v>
                </c:pt>
                <c:pt idx="1460">
                  <c:v>6774.6</c:v>
                </c:pt>
                <c:pt idx="1461">
                  <c:v>6909</c:v>
                </c:pt>
                <c:pt idx="1462">
                  <c:v>7068.6</c:v>
                </c:pt>
                <c:pt idx="1463">
                  <c:v>7051.8</c:v>
                </c:pt>
                <c:pt idx="1464">
                  <c:v>7106.4000000000005</c:v>
                </c:pt>
                <c:pt idx="1465">
                  <c:v>7224</c:v>
                </c:pt>
                <c:pt idx="1466">
                  <c:v>6367.2</c:v>
                </c:pt>
                <c:pt idx="1467">
                  <c:v>6081.6</c:v>
                </c:pt>
                <c:pt idx="1468">
                  <c:v>6085.8</c:v>
                </c:pt>
                <c:pt idx="1469">
                  <c:v>5842.2</c:v>
                </c:pt>
                <c:pt idx="1470">
                  <c:v>5926.2</c:v>
                </c:pt>
                <c:pt idx="1471">
                  <c:v>5926.2</c:v>
                </c:pt>
                <c:pt idx="1472">
                  <c:v>5976.6</c:v>
                </c:pt>
                <c:pt idx="1473">
                  <c:v>6178.2</c:v>
                </c:pt>
                <c:pt idx="1474">
                  <c:v>6262.2</c:v>
                </c:pt>
                <c:pt idx="1475">
                  <c:v>6476.4000000000005</c:v>
                </c:pt>
                <c:pt idx="1476">
                  <c:v>6707.4000000000005</c:v>
                </c:pt>
                <c:pt idx="1477">
                  <c:v>6980.4000000000005</c:v>
                </c:pt>
                <c:pt idx="1478">
                  <c:v>7089.6</c:v>
                </c:pt>
                <c:pt idx="1479">
                  <c:v>7085.4000000000005</c:v>
                </c:pt>
                <c:pt idx="1480">
                  <c:v>6976.2000000000007</c:v>
                </c:pt>
                <c:pt idx="1481">
                  <c:v>6598.2000000000007</c:v>
                </c:pt>
                <c:pt idx="1482">
                  <c:v>6237</c:v>
                </c:pt>
                <c:pt idx="1483">
                  <c:v>5959.8</c:v>
                </c:pt>
                <c:pt idx="1484">
                  <c:v>5653.2</c:v>
                </c:pt>
                <c:pt idx="1485">
                  <c:v>5623.8</c:v>
                </c:pt>
                <c:pt idx="1486">
                  <c:v>5447.4000000000005</c:v>
                </c:pt>
                <c:pt idx="1487">
                  <c:v>5203.8</c:v>
                </c:pt>
                <c:pt idx="1488">
                  <c:v>4977</c:v>
                </c:pt>
                <c:pt idx="1489">
                  <c:v>4817.4000000000005</c:v>
                </c:pt>
                <c:pt idx="1490">
                  <c:v>3817.8</c:v>
                </c:pt>
                <c:pt idx="1491">
                  <c:v>3662.4</c:v>
                </c:pt>
                <c:pt idx="1492">
                  <c:v>3523.8</c:v>
                </c:pt>
                <c:pt idx="1493">
                  <c:v>3528</c:v>
                </c:pt>
                <c:pt idx="1494">
                  <c:v>3523.8</c:v>
                </c:pt>
                <c:pt idx="1495">
                  <c:v>3511.2000000000003</c:v>
                </c:pt>
                <c:pt idx="1496">
                  <c:v>3502.8</c:v>
                </c:pt>
                <c:pt idx="1497">
                  <c:v>3313.8</c:v>
                </c:pt>
                <c:pt idx="1498">
                  <c:v>3179.4</c:v>
                </c:pt>
                <c:pt idx="1499">
                  <c:v>2826.6</c:v>
                </c:pt>
                <c:pt idx="1500">
                  <c:v>2717.4</c:v>
                </c:pt>
                <c:pt idx="1501">
                  <c:v>2713.2000000000003</c:v>
                </c:pt>
                <c:pt idx="1502">
                  <c:v>2776.2000000000003</c:v>
                </c:pt>
                <c:pt idx="1503">
                  <c:v>2797.2000000000003</c:v>
                </c:pt>
                <c:pt idx="1504">
                  <c:v>2788.8</c:v>
                </c:pt>
                <c:pt idx="1505">
                  <c:v>2692.2000000000003</c:v>
                </c:pt>
                <c:pt idx="1506">
                  <c:v>2578.8000000000002</c:v>
                </c:pt>
                <c:pt idx="1507">
                  <c:v>2612.4</c:v>
                </c:pt>
                <c:pt idx="1508">
                  <c:v>3087</c:v>
                </c:pt>
                <c:pt idx="1509">
                  <c:v>3679.2000000000003</c:v>
                </c:pt>
                <c:pt idx="1510">
                  <c:v>4158</c:v>
                </c:pt>
                <c:pt idx="1511">
                  <c:v>4355.4000000000005</c:v>
                </c:pt>
                <c:pt idx="1512">
                  <c:v>4649.4000000000005</c:v>
                </c:pt>
                <c:pt idx="1513">
                  <c:v>5027.4000000000005</c:v>
                </c:pt>
                <c:pt idx="1514">
                  <c:v>4834.2</c:v>
                </c:pt>
                <c:pt idx="1515">
                  <c:v>4796.4000000000005</c:v>
                </c:pt>
                <c:pt idx="1516">
                  <c:v>4733.4000000000005</c:v>
                </c:pt>
                <c:pt idx="1517">
                  <c:v>4670.4000000000005</c:v>
                </c:pt>
                <c:pt idx="1518">
                  <c:v>4552.8</c:v>
                </c:pt>
                <c:pt idx="1519">
                  <c:v>4284</c:v>
                </c:pt>
                <c:pt idx="1520">
                  <c:v>3998.4</c:v>
                </c:pt>
                <c:pt idx="1521">
                  <c:v>3607.8</c:v>
                </c:pt>
                <c:pt idx="1522">
                  <c:v>2877</c:v>
                </c:pt>
                <c:pt idx="1523">
                  <c:v>2125.2000000000003</c:v>
                </c:pt>
                <c:pt idx="1524">
                  <c:v>1465.8</c:v>
                </c:pt>
                <c:pt idx="1525">
                  <c:v>1066.8</c:v>
                </c:pt>
                <c:pt idx="1526">
                  <c:v>978.6</c:v>
                </c:pt>
                <c:pt idx="1527">
                  <c:v>1163.4000000000001</c:v>
                </c:pt>
                <c:pt idx="1528">
                  <c:v>1722</c:v>
                </c:pt>
                <c:pt idx="1529">
                  <c:v>2373</c:v>
                </c:pt>
                <c:pt idx="1530">
                  <c:v>3502.8</c:v>
                </c:pt>
                <c:pt idx="1531">
                  <c:v>4061.4</c:v>
                </c:pt>
                <c:pt idx="1532">
                  <c:v>5901</c:v>
                </c:pt>
                <c:pt idx="1533">
                  <c:v>6829.2000000000007</c:v>
                </c:pt>
                <c:pt idx="1534">
                  <c:v>8122.8</c:v>
                </c:pt>
                <c:pt idx="1535">
                  <c:v>9088.8000000000011</c:v>
                </c:pt>
                <c:pt idx="1536">
                  <c:v>9857.4</c:v>
                </c:pt>
                <c:pt idx="1537">
                  <c:v>10504.2</c:v>
                </c:pt>
                <c:pt idx="1538">
                  <c:v>12667.2</c:v>
                </c:pt>
                <c:pt idx="1539">
                  <c:v>12898.2</c:v>
                </c:pt>
                <c:pt idx="1540">
                  <c:v>12961.2</c:v>
                </c:pt>
                <c:pt idx="1541">
                  <c:v>12654.6</c:v>
                </c:pt>
                <c:pt idx="1542">
                  <c:v>12306</c:v>
                </c:pt>
                <c:pt idx="1543">
                  <c:v>11802</c:v>
                </c:pt>
                <c:pt idx="1544">
                  <c:v>11306.4</c:v>
                </c:pt>
                <c:pt idx="1545">
                  <c:v>10626</c:v>
                </c:pt>
                <c:pt idx="1546">
                  <c:v>10050.6</c:v>
                </c:pt>
                <c:pt idx="1547">
                  <c:v>9420.6</c:v>
                </c:pt>
                <c:pt idx="1548">
                  <c:v>8988</c:v>
                </c:pt>
                <c:pt idx="1549">
                  <c:v>8173.2000000000007</c:v>
                </c:pt>
                <c:pt idx="1550">
                  <c:v>7757.4000000000005</c:v>
                </c:pt>
                <c:pt idx="1551">
                  <c:v>6787.2000000000007</c:v>
                </c:pt>
                <c:pt idx="1552">
                  <c:v>6199.2</c:v>
                </c:pt>
                <c:pt idx="1553">
                  <c:v>5506.2</c:v>
                </c:pt>
                <c:pt idx="1554">
                  <c:v>4872</c:v>
                </c:pt>
                <c:pt idx="1555">
                  <c:v>4779.6000000000004</c:v>
                </c:pt>
                <c:pt idx="1556">
                  <c:v>5195.4000000000005</c:v>
                </c:pt>
                <c:pt idx="1557">
                  <c:v>5262.6</c:v>
                </c:pt>
                <c:pt idx="1558">
                  <c:v>5783.4000000000005</c:v>
                </c:pt>
                <c:pt idx="1559">
                  <c:v>6497.4000000000005</c:v>
                </c:pt>
                <c:pt idx="1560">
                  <c:v>7371</c:v>
                </c:pt>
                <c:pt idx="1561">
                  <c:v>8412.6</c:v>
                </c:pt>
                <c:pt idx="1562">
                  <c:v>10701.6</c:v>
                </c:pt>
                <c:pt idx="1563">
                  <c:v>11848.2</c:v>
                </c:pt>
                <c:pt idx="1564">
                  <c:v>12973.800000000001</c:v>
                </c:pt>
                <c:pt idx="1565">
                  <c:v>13994.400000000001</c:v>
                </c:pt>
                <c:pt idx="1566">
                  <c:v>14872.2</c:v>
                </c:pt>
                <c:pt idx="1567">
                  <c:v>15607.2</c:v>
                </c:pt>
                <c:pt idx="1568">
                  <c:v>16338</c:v>
                </c:pt>
                <c:pt idx="1569">
                  <c:v>16888.2</c:v>
                </c:pt>
                <c:pt idx="1570">
                  <c:v>17409</c:v>
                </c:pt>
                <c:pt idx="1571">
                  <c:v>17774.400000000001</c:v>
                </c:pt>
                <c:pt idx="1572">
                  <c:v>18072.600000000002</c:v>
                </c:pt>
                <c:pt idx="1573">
                  <c:v>18370.8</c:v>
                </c:pt>
                <c:pt idx="1574">
                  <c:v>18622.8</c:v>
                </c:pt>
                <c:pt idx="1575">
                  <c:v>18673.2</c:v>
                </c:pt>
                <c:pt idx="1576">
                  <c:v>18606</c:v>
                </c:pt>
                <c:pt idx="1577">
                  <c:v>18387.600000000002</c:v>
                </c:pt>
                <c:pt idx="1578">
                  <c:v>18169.2</c:v>
                </c:pt>
                <c:pt idx="1579">
                  <c:v>18114.600000000002</c:v>
                </c:pt>
                <c:pt idx="1580">
                  <c:v>18068.400000000001</c:v>
                </c:pt>
                <c:pt idx="1581">
                  <c:v>17787</c:v>
                </c:pt>
                <c:pt idx="1582">
                  <c:v>17236.8</c:v>
                </c:pt>
                <c:pt idx="1583">
                  <c:v>16976.400000000001</c:v>
                </c:pt>
                <c:pt idx="1584">
                  <c:v>16581.600000000002</c:v>
                </c:pt>
                <c:pt idx="1585">
                  <c:v>16972.2</c:v>
                </c:pt>
                <c:pt idx="1586">
                  <c:v>17115</c:v>
                </c:pt>
                <c:pt idx="1587">
                  <c:v>16837.8</c:v>
                </c:pt>
                <c:pt idx="1588">
                  <c:v>16900.8</c:v>
                </c:pt>
                <c:pt idx="1589">
                  <c:v>16774.8</c:v>
                </c:pt>
                <c:pt idx="1590">
                  <c:v>16741.2</c:v>
                </c:pt>
                <c:pt idx="1591">
                  <c:v>16707.600000000002</c:v>
                </c:pt>
                <c:pt idx="1592">
                  <c:v>16611</c:v>
                </c:pt>
                <c:pt idx="1593">
                  <c:v>16598.400000000001</c:v>
                </c:pt>
                <c:pt idx="1594">
                  <c:v>16384.2</c:v>
                </c:pt>
                <c:pt idx="1595">
                  <c:v>16149</c:v>
                </c:pt>
                <c:pt idx="1596">
                  <c:v>16283.400000000001</c:v>
                </c:pt>
                <c:pt idx="1597">
                  <c:v>15720.6</c:v>
                </c:pt>
                <c:pt idx="1598">
                  <c:v>15796.2</c:v>
                </c:pt>
                <c:pt idx="1599">
                  <c:v>15485.400000000001</c:v>
                </c:pt>
                <c:pt idx="1600">
                  <c:v>15573.6</c:v>
                </c:pt>
                <c:pt idx="1601">
                  <c:v>15250.2</c:v>
                </c:pt>
                <c:pt idx="1602">
                  <c:v>15107.400000000001</c:v>
                </c:pt>
                <c:pt idx="1603">
                  <c:v>15233.400000000001</c:v>
                </c:pt>
                <c:pt idx="1604">
                  <c:v>15233.400000000001</c:v>
                </c:pt>
                <c:pt idx="1605">
                  <c:v>15052.800000000001</c:v>
                </c:pt>
                <c:pt idx="1606">
                  <c:v>14515.2</c:v>
                </c:pt>
                <c:pt idx="1607">
                  <c:v>13906.2</c:v>
                </c:pt>
                <c:pt idx="1608">
                  <c:v>13284.6</c:v>
                </c:pt>
                <c:pt idx="1609">
                  <c:v>12902.400000000001</c:v>
                </c:pt>
                <c:pt idx="1610">
                  <c:v>12474</c:v>
                </c:pt>
                <c:pt idx="1611">
                  <c:v>11949</c:v>
                </c:pt>
                <c:pt idx="1612">
                  <c:v>11562.6</c:v>
                </c:pt>
                <c:pt idx="1613">
                  <c:v>11491.2</c:v>
                </c:pt>
                <c:pt idx="1614">
                  <c:v>11520.6</c:v>
                </c:pt>
                <c:pt idx="1615">
                  <c:v>11869.2</c:v>
                </c:pt>
                <c:pt idx="1616">
                  <c:v>11953.2</c:v>
                </c:pt>
                <c:pt idx="1617">
                  <c:v>11655</c:v>
                </c:pt>
                <c:pt idx="1618">
                  <c:v>11104.800000000001</c:v>
                </c:pt>
                <c:pt idx="1619">
                  <c:v>10239.6</c:v>
                </c:pt>
                <c:pt idx="1620">
                  <c:v>9962.4</c:v>
                </c:pt>
                <c:pt idx="1621">
                  <c:v>9836.4</c:v>
                </c:pt>
                <c:pt idx="1622">
                  <c:v>9857.4</c:v>
                </c:pt>
                <c:pt idx="1623">
                  <c:v>9576</c:v>
                </c:pt>
                <c:pt idx="1624">
                  <c:v>9172.8000000000011</c:v>
                </c:pt>
                <c:pt idx="1625">
                  <c:v>8517.6</c:v>
                </c:pt>
                <c:pt idx="1626">
                  <c:v>8311.8000000000011</c:v>
                </c:pt>
                <c:pt idx="1627">
                  <c:v>8328.6</c:v>
                </c:pt>
                <c:pt idx="1628">
                  <c:v>7971.6</c:v>
                </c:pt>
                <c:pt idx="1629">
                  <c:v>8030.4000000000005</c:v>
                </c:pt>
                <c:pt idx="1630">
                  <c:v>8177.4000000000005</c:v>
                </c:pt>
                <c:pt idx="1631">
                  <c:v>8400</c:v>
                </c:pt>
                <c:pt idx="1632">
                  <c:v>8895.6</c:v>
                </c:pt>
                <c:pt idx="1633">
                  <c:v>9374.4</c:v>
                </c:pt>
                <c:pt idx="1634">
                  <c:v>11163.6</c:v>
                </c:pt>
                <c:pt idx="1635">
                  <c:v>12230.4</c:v>
                </c:pt>
                <c:pt idx="1636">
                  <c:v>13209</c:v>
                </c:pt>
                <c:pt idx="1637">
                  <c:v>14011.2</c:v>
                </c:pt>
                <c:pt idx="1638">
                  <c:v>14712.6</c:v>
                </c:pt>
                <c:pt idx="1639">
                  <c:v>15657.6</c:v>
                </c:pt>
                <c:pt idx="1640">
                  <c:v>16056.6</c:v>
                </c:pt>
                <c:pt idx="1641">
                  <c:v>15997.800000000001</c:v>
                </c:pt>
                <c:pt idx="1642">
                  <c:v>15657.6</c:v>
                </c:pt>
                <c:pt idx="1643">
                  <c:v>15636.6</c:v>
                </c:pt>
                <c:pt idx="1644">
                  <c:v>15212.400000000001</c:v>
                </c:pt>
                <c:pt idx="1645">
                  <c:v>14905.800000000001</c:v>
                </c:pt>
                <c:pt idx="1646">
                  <c:v>14536.2</c:v>
                </c:pt>
                <c:pt idx="1647">
                  <c:v>13721.400000000001</c:v>
                </c:pt>
                <c:pt idx="1648">
                  <c:v>13427.400000000001</c:v>
                </c:pt>
                <c:pt idx="1649">
                  <c:v>13175.400000000001</c:v>
                </c:pt>
                <c:pt idx="1650">
                  <c:v>13339.2</c:v>
                </c:pt>
                <c:pt idx="1651">
                  <c:v>13465.2</c:v>
                </c:pt>
                <c:pt idx="1652">
                  <c:v>13889.400000000001</c:v>
                </c:pt>
                <c:pt idx="1653">
                  <c:v>14473.2</c:v>
                </c:pt>
                <c:pt idx="1654">
                  <c:v>15027.6</c:v>
                </c:pt>
                <c:pt idx="1655">
                  <c:v>15678.6</c:v>
                </c:pt>
                <c:pt idx="1656">
                  <c:v>15901.2</c:v>
                </c:pt>
                <c:pt idx="1657">
                  <c:v>16069.2</c:v>
                </c:pt>
                <c:pt idx="1658">
                  <c:v>15451.800000000001</c:v>
                </c:pt>
                <c:pt idx="1659">
                  <c:v>15107.400000000001</c:v>
                </c:pt>
                <c:pt idx="1660">
                  <c:v>14754.6</c:v>
                </c:pt>
                <c:pt idx="1661">
                  <c:v>14288.400000000001</c:v>
                </c:pt>
                <c:pt idx="1662">
                  <c:v>13792.800000000001</c:v>
                </c:pt>
                <c:pt idx="1663">
                  <c:v>13301.400000000001</c:v>
                </c:pt>
                <c:pt idx="1664">
                  <c:v>12965.400000000001</c:v>
                </c:pt>
                <c:pt idx="1665">
                  <c:v>11949</c:v>
                </c:pt>
                <c:pt idx="1666">
                  <c:v>11096.4</c:v>
                </c:pt>
                <c:pt idx="1667">
                  <c:v>10399.200000000001</c:v>
                </c:pt>
                <c:pt idx="1668">
                  <c:v>9357.6</c:v>
                </c:pt>
                <c:pt idx="1669">
                  <c:v>8068.2000000000007</c:v>
                </c:pt>
                <c:pt idx="1670">
                  <c:v>6854.4000000000005</c:v>
                </c:pt>
                <c:pt idx="1671">
                  <c:v>6014.4000000000005</c:v>
                </c:pt>
                <c:pt idx="1672">
                  <c:v>4968.6000000000004</c:v>
                </c:pt>
                <c:pt idx="1673">
                  <c:v>4200</c:v>
                </c:pt>
                <c:pt idx="1674">
                  <c:v>3397.8</c:v>
                </c:pt>
                <c:pt idx="1675">
                  <c:v>2952.6</c:v>
                </c:pt>
                <c:pt idx="1676">
                  <c:v>2809.8</c:v>
                </c:pt>
                <c:pt idx="1677">
                  <c:v>3040.8</c:v>
                </c:pt>
                <c:pt idx="1678">
                  <c:v>3994.2000000000003</c:v>
                </c:pt>
                <c:pt idx="1679">
                  <c:v>5308.8</c:v>
                </c:pt>
                <c:pt idx="1680">
                  <c:v>6241.2</c:v>
                </c:pt>
                <c:pt idx="1681">
                  <c:v>6661.2000000000007</c:v>
                </c:pt>
                <c:pt idx="1682">
                  <c:v>8589</c:v>
                </c:pt>
                <c:pt idx="1683">
                  <c:v>8870.4</c:v>
                </c:pt>
                <c:pt idx="1684">
                  <c:v>9004.8000000000011</c:v>
                </c:pt>
                <c:pt idx="1685">
                  <c:v>9084.6</c:v>
                </c:pt>
                <c:pt idx="1686">
                  <c:v>8958.6</c:v>
                </c:pt>
                <c:pt idx="1687">
                  <c:v>8748.6</c:v>
                </c:pt>
                <c:pt idx="1688">
                  <c:v>8656.2000000000007</c:v>
                </c:pt>
                <c:pt idx="1689">
                  <c:v>8236.2000000000007</c:v>
                </c:pt>
                <c:pt idx="1690">
                  <c:v>7812</c:v>
                </c:pt>
                <c:pt idx="1691">
                  <c:v>6757.8</c:v>
                </c:pt>
                <c:pt idx="1692">
                  <c:v>5854.8</c:v>
                </c:pt>
                <c:pt idx="1693">
                  <c:v>5145</c:v>
                </c:pt>
                <c:pt idx="1694">
                  <c:v>4628.4000000000005</c:v>
                </c:pt>
                <c:pt idx="1695">
                  <c:v>4300.8</c:v>
                </c:pt>
                <c:pt idx="1696">
                  <c:v>3893.4</c:v>
                </c:pt>
                <c:pt idx="1697">
                  <c:v>3834.6000000000004</c:v>
                </c:pt>
                <c:pt idx="1698">
                  <c:v>3628.8</c:v>
                </c:pt>
                <c:pt idx="1699">
                  <c:v>3528</c:v>
                </c:pt>
                <c:pt idx="1700">
                  <c:v>3813.6000000000004</c:v>
                </c:pt>
                <c:pt idx="1701">
                  <c:v>4141.2</c:v>
                </c:pt>
                <c:pt idx="1702">
                  <c:v>4582.2</c:v>
                </c:pt>
                <c:pt idx="1703">
                  <c:v>5006.4000000000005</c:v>
                </c:pt>
                <c:pt idx="1704">
                  <c:v>5308.8</c:v>
                </c:pt>
                <c:pt idx="1705">
                  <c:v>5720.4000000000005</c:v>
                </c:pt>
                <c:pt idx="1706">
                  <c:v>5493.6</c:v>
                </c:pt>
                <c:pt idx="1707">
                  <c:v>6001.8</c:v>
                </c:pt>
                <c:pt idx="1708">
                  <c:v>6325.2</c:v>
                </c:pt>
                <c:pt idx="1709">
                  <c:v>6850.2000000000007</c:v>
                </c:pt>
                <c:pt idx="1710">
                  <c:v>7098</c:v>
                </c:pt>
                <c:pt idx="1711">
                  <c:v>7387.8</c:v>
                </c:pt>
                <c:pt idx="1712">
                  <c:v>7518</c:v>
                </c:pt>
                <c:pt idx="1713">
                  <c:v>7429.8</c:v>
                </c:pt>
                <c:pt idx="1714">
                  <c:v>7450.8</c:v>
                </c:pt>
                <c:pt idx="1715">
                  <c:v>6988.8</c:v>
                </c:pt>
                <c:pt idx="1716">
                  <c:v>7799.4000000000005</c:v>
                </c:pt>
                <c:pt idx="1717">
                  <c:v>7807.8</c:v>
                </c:pt>
                <c:pt idx="1718">
                  <c:v>8005.2000000000007</c:v>
                </c:pt>
                <c:pt idx="1719">
                  <c:v>8278.2000000000007</c:v>
                </c:pt>
                <c:pt idx="1720">
                  <c:v>8463</c:v>
                </c:pt>
                <c:pt idx="1721">
                  <c:v>8639.4</c:v>
                </c:pt>
                <c:pt idx="1722">
                  <c:v>8782.2000000000007</c:v>
                </c:pt>
                <c:pt idx="1723">
                  <c:v>8731.8000000000011</c:v>
                </c:pt>
                <c:pt idx="1724">
                  <c:v>8752.8000000000011</c:v>
                </c:pt>
                <c:pt idx="1725">
                  <c:v>8677.2000000000007</c:v>
                </c:pt>
                <c:pt idx="1726">
                  <c:v>8664.6</c:v>
                </c:pt>
                <c:pt idx="1727">
                  <c:v>8643.6</c:v>
                </c:pt>
                <c:pt idx="1728">
                  <c:v>8244.6</c:v>
                </c:pt>
                <c:pt idx="1729">
                  <c:v>7988.4000000000005</c:v>
                </c:pt>
                <c:pt idx="1730">
                  <c:v>7812</c:v>
                </c:pt>
                <c:pt idx="1731">
                  <c:v>7295.4000000000005</c:v>
                </c:pt>
                <c:pt idx="1732">
                  <c:v>6925.8</c:v>
                </c:pt>
                <c:pt idx="1733">
                  <c:v>6888</c:v>
                </c:pt>
                <c:pt idx="1734">
                  <c:v>7156.8</c:v>
                </c:pt>
                <c:pt idx="1735">
                  <c:v>7354.2000000000007</c:v>
                </c:pt>
                <c:pt idx="1736">
                  <c:v>7484.4000000000005</c:v>
                </c:pt>
                <c:pt idx="1737">
                  <c:v>7866.6</c:v>
                </c:pt>
                <c:pt idx="1738">
                  <c:v>7278.6</c:v>
                </c:pt>
                <c:pt idx="1739">
                  <c:v>6367.2</c:v>
                </c:pt>
                <c:pt idx="1740">
                  <c:v>5909.4000000000005</c:v>
                </c:pt>
                <c:pt idx="1741">
                  <c:v>5657.4000000000005</c:v>
                </c:pt>
                <c:pt idx="1742">
                  <c:v>5497.8</c:v>
                </c:pt>
                <c:pt idx="1743">
                  <c:v>5430.6</c:v>
                </c:pt>
                <c:pt idx="1744">
                  <c:v>5510.4000000000005</c:v>
                </c:pt>
                <c:pt idx="1745">
                  <c:v>5623.8</c:v>
                </c:pt>
                <c:pt idx="1746">
                  <c:v>5783.4000000000005</c:v>
                </c:pt>
                <c:pt idx="1747">
                  <c:v>6052.2</c:v>
                </c:pt>
                <c:pt idx="1748">
                  <c:v>6304.2</c:v>
                </c:pt>
                <c:pt idx="1749">
                  <c:v>6539.4000000000005</c:v>
                </c:pt>
                <c:pt idx="1750">
                  <c:v>6661.2000000000007</c:v>
                </c:pt>
                <c:pt idx="1751">
                  <c:v>6615</c:v>
                </c:pt>
                <c:pt idx="1752">
                  <c:v>6384</c:v>
                </c:pt>
                <c:pt idx="1753">
                  <c:v>6111</c:v>
                </c:pt>
                <c:pt idx="1754">
                  <c:v>6568.8</c:v>
                </c:pt>
                <c:pt idx="1755">
                  <c:v>6438.6</c:v>
                </c:pt>
                <c:pt idx="1756">
                  <c:v>6392.4000000000005</c:v>
                </c:pt>
                <c:pt idx="1757">
                  <c:v>6291.6</c:v>
                </c:pt>
                <c:pt idx="1758">
                  <c:v>6375.6</c:v>
                </c:pt>
                <c:pt idx="1759">
                  <c:v>6589.8</c:v>
                </c:pt>
                <c:pt idx="1760">
                  <c:v>6694.8</c:v>
                </c:pt>
                <c:pt idx="1761">
                  <c:v>6585.6</c:v>
                </c:pt>
                <c:pt idx="1762">
                  <c:v>6207.6</c:v>
                </c:pt>
                <c:pt idx="1763">
                  <c:v>5863.2</c:v>
                </c:pt>
                <c:pt idx="1764">
                  <c:v>5867.4000000000005</c:v>
                </c:pt>
                <c:pt idx="1765">
                  <c:v>5804.4000000000005</c:v>
                </c:pt>
                <c:pt idx="1766">
                  <c:v>5976.6</c:v>
                </c:pt>
                <c:pt idx="1767">
                  <c:v>6127.8</c:v>
                </c:pt>
                <c:pt idx="1768">
                  <c:v>6518.4000000000005</c:v>
                </c:pt>
                <c:pt idx="1769">
                  <c:v>6799.8</c:v>
                </c:pt>
                <c:pt idx="1770">
                  <c:v>6984.6</c:v>
                </c:pt>
                <c:pt idx="1771">
                  <c:v>7413</c:v>
                </c:pt>
                <c:pt idx="1772">
                  <c:v>7711.2000000000007</c:v>
                </c:pt>
                <c:pt idx="1773">
                  <c:v>8051.4000000000005</c:v>
                </c:pt>
                <c:pt idx="1774">
                  <c:v>8093.4000000000005</c:v>
                </c:pt>
                <c:pt idx="1775">
                  <c:v>8160.6</c:v>
                </c:pt>
                <c:pt idx="1776">
                  <c:v>7854</c:v>
                </c:pt>
                <c:pt idx="1777">
                  <c:v>7602</c:v>
                </c:pt>
                <c:pt idx="1778">
                  <c:v>7425.6</c:v>
                </c:pt>
                <c:pt idx="1779">
                  <c:v>7236.6</c:v>
                </c:pt>
                <c:pt idx="1780">
                  <c:v>7257.6</c:v>
                </c:pt>
                <c:pt idx="1781">
                  <c:v>7295.4000000000005</c:v>
                </c:pt>
                <c:pt idx="1782">
                  <c:v>7312.2000000000007</c:v>
                </c:pt>
                <c:pt idx="1783">
                  <c:v>7404.6</c:v>
                </c:pt>
                <c:pt idx="1784">
                  <c:v>7169.4000000000005</c:v>
                </c:pt>
                <c:pt idx="1785">
                  <c:v>7064.4000000000005</c:v>
                </c:pt>
                <c:pt idx="1786">
                  <c:v>7026.6</c:v>
                </c:pt>
                <c:pt idx="1787">
                  <c:v>6694.8</c:v>
                </c:pt>
                <c:pt idx="1788">
                  <c:v>6384</c:v>
                </c:pt>
                <c:pt idx="1789">
                  <c:v>6610.8</c:v>
                </c:pt>
                <c:pt idx="1790">
                  <c:v>6728.4000000000005</c:v>
                </c:pt>
                <c:pt idx="1791">
                  <c:v>6858.6</c:v>
                </c:pt>
                <c:pt idx="1792">
                  <c:v>7211.4000000000005</c:v>
                </c:pt>
                <c:pt idx="1793">
                  <c:v>7484.4000000000005</c:v>
                </c:pt>
                <c:pt idx="1794">
                  <c:v>7904.4000000000005</c:v>
                </c:pt>
                <c:pt idx="1795">
                  <c:v>8328.6</c:v>
                </c:pt>
                <c:pt idx="1796">
                  <c:v>8568</c:v>
                </c:pt>
                <c:pt idx="1797">
                  <c:v>8677.2000000000007</c:v>
                </c:pt>
                <c:pt idx="1798">
                  <c:v>8824.2000000000007</c:v>
                </c:pt>
                <c:pt idx="1799">
                  <c:v>8790.6</c:v>
                </c:pt>
                <c:pt idx="1800">
                  <c:v>8547</c:v>
                </c:pt>
                <c:pt idx="1801">
                  <c:v>8240.4</c:v>
                </c:pt>
                <c:pt idx="1802">
                  <c:v>8257.2000000000007</c:v>
                </c:pt>
                <c:pt idx="1803">
                  <c:v>8043</c:v>
                </c:pt>
                <c:pt idx="1804">
                  <c:v>7816.2000000000007</c:v>
                </c:pt>
                <c:pt idx="1805">
                  <c:v>7858.2000000000007</c:v>
                </c:pt>
                <c:pt idx="1806">
                  <c:v>7799.4000000000005</c:v>
                </c:pt>
                <c:pt idx="1807">
                  <c:v>7816.2000000000007</c:v>
                </c:pt>
                <c:pt idx="1808">
                  <c:v>7791</c:v>
                </c:pt>
                <c:pt idx="1809">
                  <c:v>7270.2000000000007</c:v>
                </c:pt>
                <c:pt idx="1810">
                  <c:v>6921.6</c:v>
                </c:pt>
                <c:pt idx="1811">
                  <c:v>6497.4000000000005</c:v>
                </c:pt>
                <c:pt idx="1812">
                  <c:v>6295.8</c:v>
                </c:pt>
                <c:pt idx="1813">
                  <c:v>5791.8</c:v>
                </c:pt>
                <c:pt idx="1814">
                  <c:v>5930.4000000000005</c:v>
                </c:pt>
                <c:pt idx="1815">
                  <c:v>5926.2</c:v>
                </c:pt>
                <c:pt idx="1816">
                  <c:v>6031.2</c:v>
                </c:pt>
                <c:pt idx="1817">
                  <c:v>6006</c:v>
                </c:pt>
                <c:pt idx="1818">
                  <c:v>5976.6</c:v>
                </c:pt>
                <c:pt idx="1819">
                  <c:v>6266.4000000000005</c:v>
                </c:pt>
                <c:pt idx="1820">
                  <c:v>6283.2</c:v>
                </c:pt>
                <c:pt idx="1821">
                  <c:v>6316.8</c:v>
                </c:pt>
                <c:pt idx="1822">
                  <c:v>6228.6</c:v>
                </c:pt>
                <c:pt idx="1823">
                  <c:v>6052.2</c:v>
                </c:pt>
                <c:pt idx="1824">
                  <c:v>5993.4000000000005</c:v>
                </c:pt>
                <c:pt idx="1825">
                  <c:v>5737.2</c:v>
                </c:pt>
                <c:pt idx="1826">
                  <c:v>5485.2</c:v>
                </c:pt>
                <c:pt idx="1827">
                  <c:v>5140.8</c:v>
                </c:pt>
                <c:pt idx="1828">
                  <c:v>5174.4000000000005</c:v>
                </c:pt>
                <c:pt idx="1829">
                  <c:v>5048.4000000000005</c:v>
                </c:pt>
                <c:pt idx="1830">
                  <c:v>4754.4000000000005</c:v>
                </c:pt>
                <c:pt idx="1831">
                  <c:v>4699.8</c:v>
                </c:pt>
                <c:pt idx="1832">
                  <c:v>4586.4000000000005</c:v>
                </c:pt>
                <c:pt idx="1833">
                  <c:v>4120.2</c:v>
                </c:pt>
                <c:pt idx="1834">
                  <c:v>3633</c:v>
                </c:pt>
                <c:pt idx="1835">
                  <c:v>3171</c:v>
                </c:pt>
                <c:pt idx="1836">
                  <c:v>2893.8</c:v>
                </c:pt>
                <c:pt idx="1837">
                  <c:v>2818.2000000000003</c:v>
                </c:pt>
                <c:pt idx="1838">
                  <c:v>2822.4</c:v>
                </c:pt>
                <c:pt idx="1839">
                  <c:v>2851.8</c:v>
                </c:pt>
                <c:pt idx="1840">
                  <c:v>2759.4</c:v>
                </c:pt>
                <c:pt idx="1841">
                  <c:v>2721.6</c:v>
                </c:pt>
                <c:pt idx="1842">
                  <c:v>2826.6</c:v>
                </c:pt>
                <c:pt idx="1843">
                  <c:v>2919</c:v>
                </c:pt>
                <c:pt idx="1844">
                  <c:v>3108</c:v>
                </c:pt>
                <c:pt idx="1845">
                  <c:v>3742.2000000000003</c:v>
                </c:pt>
                <c:pt idx="1846">
                  <c:v>4237.8</c:v>
                </c:pt>
                <c:pt idx="1847">
                  <c:v>4473</c:v>
                </c:pt>
                <c:pt idx="1848">
                  <c:v>4397.4000000000005</c:v>
                </c:pt>
                <c:pt idx="1849">
                  <c:v>4473</c:v>
                </c:pt>
                <c:pt idx="1850">
                  <c:v>5149.2</c:v>
                </c:pt>
                <c:pt idx="1851">
                  <c:v>5313</c:v>
                </c:pt>
                <c:pt idx="1852">
                  <c:v>5497.8</c:v>
                </c:pt>
                <c:pt idx="1853">
                  <c:v>5779.2</c:v>
                </c:pt>
                <c:pt idx="1854">
                  <c:v>5917.8</c:v>
                </c:pt>
                <c:pt idx="1855">
                  <c:v>6077.4000000000005</c:v>
                </c:pt>
                <c:pt idx="1856">
                  <c:v>6283.2</c:v>
                </c:pt>
                <c:pt idx="1857">
                  <c:v>6241.2</c:v>
                </c:pt>
                <c:pt idx="1858">
                  <c:v>6161.4000000000005</c:v>
                </c:pt>
                <c:pt idx="1859">
                  <c:v>6140.4000000000005</c:v>
                </c:pt>
                <c:pt idx="1860">
                  <c:v>6224.4000000000005</c:v>
                </c:pt>
                <c:pt idx="1861">
                  <c:v>6409.2</c:v>
                </c:pt>
                <c:pt idx="1862">
                  <c:v>6623.4000000000005</c:v>
                </c:pt>
                <c:pt idx="1863">
                  <c:v>6909</c:v>
                </c:pt>
                <c:pt idx="1864">
                  <c:v>7131.6</c:v>
                </c:pt>
                <c:pt idx="1865">
                  <c:v>6980.4000000000005</c:v>
                </c:pt>
                <c:pt idx="1866">
                  <c:v>7056</c:v>
                </c:pt>
                <c:pt idx="1867">
                  <c:v>7203</c:v>
                </c:pt>
                <c:pt idx="1868">
                  <c:v>6980.4000000000005</c:v>
                </c:pt>
                <c:pt idx="1869">
                  <c:v>6783</c:v>
                </c:pt>
                <c:pt idx="1870">
                  <c:v>6774.6</c:v>
                </c:pt>
                <c:pt idx="1871">
                  <c:v>6501.6</c:v>
                </c:pt>
                <c:pt idx="1872">
                  <c:v>6535.2000000000007</c:v>
                </c:pt>
                <c:pt idx="1873">
                  <c:v>6329.4000000000005</c:v>
                </c:pt>
                <c:pt idx="1874">
                  <c:v>6035.4000000000005</c:v>
                </c:pt>
                <c:pt idx="1875">
                  <c:v>5741.4000000000005</c:v>
                </c:pt>
                <c:pt idx="1876">
                  <c:v>5539.8</c:v>
                </c:pt>
                <c:pt idx="1877">
                  <c:v>5170.2</c:v>
                </c:pt>
                <c:pt idx="1878">
                  <c:v>4960.2</c:v>
                </c:pt>
                <c:pt idx="1879">
                  <c:v>4813.2</c:v>
                </c:pt>
                <c:pt idx="1880">
                  <c:v>4502.4000000000005</c:v>
                </c:pt>
                <c:pt idx="1881">
                  <c:v>4040.4</c:v>
                </c:pt>
                <c:pt idx="1882">
                  <c:v>3612</c:v>
                </c:pt>
                <c:pt idx="1883">
                  <c:v>3133.2000000000003</c:v>
                </c:pt>
                <c:pt idx="1884">
                  <c:v>2835</c:v>
                </c:pt>
                <c:pt idx="1885">
                  <c:v>2730</c:v>
                </c:pt>
                <c:pt idx="1886">
                  <c:v>2763.6</c:v>
                </c:pt>
                <c:pt idx="1887">
                  <c:v>3112.2000000000003</c:v>
                </c:pt>
                <c:pt idx="1888">
                  <c:v>3221.4</c:v>
                </c:pt>
                <c:pt idx="1889">
                  <c:v>3410.4</c:v>
                </c:pt>
                <c:pt idx="1890">
                  <c:v>3612</c:v>
                </c:pt>
                <c:pt idx="1891">
                  <c:v>3780</c:v>
                </c:pt>
                <c:pt idx="1892">
                  <c:v>3935.4</c:v>
                </c:pt>
                <c:pt idx="1893">
                  <c:v>4036.2000000000003</c:v>
                </c:pt>
                <c:pt idx="1894">
                  <c:v>4258.8</c:v>
                </c:pt>
                <c:pt idx="1895">
                  <c:v>4729.2</c:v>
                </c:pt>
                <c:pt idx="1896">
                  <c:v>5090.4000000000005</c:v>
                </c:pt>
                <c:pt idx="1897">
                  <c:v>5577.6</c:v>
                </c:pt>
                <c:pt idx="1898">
                  <c:v>4515</c:v>
                </c:pt>
                <c:pt idx="1899">
                  <c:v>5040</c:v>
                </c:pt>
                <c:pt idx="1900">
                  <c:v>5905.2</c:v>
                </c:pt>
                <c:pt idx="1901">
                  <c:v>6997.2000000000007</c:v>
                </c:pt>
                <c:pt idx="1902">
                  <c:v>7862.4000000000005</c:v>
                </c:pt>
                <c:pt idx="1903">
                  <c:v>8492.4</c:v>
                </c:pt>
                <c:pt idx="1904">
                  <c:v>9160.2000000000007</c:v>
                </c:pt>
                <c:pt idx="1905">
                  <c:v>9634.8000000000011</c:v>
                </c:pt>
                <c:pt idx="1906">
                  <c:v>10105.200000000001</c:v>
                </c:pt>
                <c:pt idx="1907">
                  <c:v>10218.6</c:v>
                </c:pt>
                <c:pt idx="1908">
                  <c:v>10374</c:v>
                </c:pt>
                <c:pt idx="1909">
                  <c:v>10747.800000000001</c:v>
                </c:pt>
                <c:pt idx="1910">
                  <c:v>10815</c:v>
                </c:pt>
                <c:pt idx="1911">
                  <c:v>10466.4</c:v>
                </c:pt>
                <c:pt idx="1912">
                  <c:v>10008.6</c:v>
                </c:pt>
                <c:pt idx="1913">
                  <c:v>9534</c:v>
                </c:pt>
                <c:pt idx="1914">
                  <c:v>8857.8000000000011</c:v>
                </c:pt>
                <c:pt idx="1915">
                  <c:v>7967.4000000000005</c:v>
                </c:pt>
                <c:pt idx="1916">
                  <c:v>6615</c:v>
                </c:pt>
                <c:pt idx="1917">
                  <c:v>5686.8</c:v>
                </c:pt>
                <c:pt idx="1918">
                  <c:v>5040</c:v>
                </c:pt>
                <c:pt idx="1919">
                  <c:v>4431</c:v>
                </c:pt>
                <c:pt idx="1920">
                  <c:v>4078.2000000000003</c:v>
                </c:pt>
                <c:pt idx="1921">
                  <c:v>3708.6000000000004</c:v>
                </c:pt>
                <c:pt idx="1922">
                  <c:v>3582.6000000000004</c:v>
                </c:pt>
                <c:pt idx="1923">
                  <c:v>4183.2</c:v>
                </c:pt>
                <c:pt idx="1924">
                  <c:v>5216.4000000000005</c:v>
                </c:pt>
                <c:pt idx="1925">
                  <c:v>6384</c:v>
                </c:pt>
                <c:pt idx="1926">
                  <c:v>7442.4000000000005</c:v>
                </c:pt>
                <c:pt idx="1927">
                  <c:v>8362.2000000000007</c:v>
                </c:pt>
                <c:pt idx="1928">
                  <c:v>8937.6</c:v>
                </c:pt>
                <c:pt idx="1929">
                  <c:v>9660</c:v>
                </c:pt>
                <c:pt idx="1930">
                  <c:v>10546.2</c:v>
                </c:pt>
                <c:pt idx="1931">
                  <c:v>11407.2</c:v>
                </c:pt>
                <c:pt idx="1932">
                  <c:v>12705</c:v>
                </c:pt>
                <c:pt idx="1933">
                  <c:v>13549.2</c:v>
                </c:pt>
                <c:pt idx="1934">
                  <c:v>14044.800000000001</c:v>
                </c:pt>
                <c:pt idx="1935">
                  <c:v>14183.400000000001</c:v>
                </c:pt>
                <c:pt idx="1936">
                  <c:v>14380.800000000001</c:v>
                </c:pt>
                <c:pt idx="1937">
                  <c:v>14145.6</c:v>
                </c:pt>
                <c:pt idx="1938">
                  <c:v>13671</c:v>
                </c:pt>
                <c:pt idx="1939">
                  <c:v>13280.400000000001</c:v>
                </c:pt>
                <c:pt idx="1940">
                  <c:v>13242.6</c:v>
                </c:pt>
                <c:pt idx="1941">
                  <c:v>13276.2</c:v>
                </c:pt>
                <c:pt idx="1942">
                  <c:v>13385.400000000001</c:v>
                </c:pt>
                <c:pt idx="1943">
                  <c:v>13385.400000000001</c:v>
                </c:pt>
                <c:pt idx="1944">
                  <c:v>13402.2</c:v>
                </c:pt>
                <c:pt idx="1945">
                  <c:v>13129.2</c:v>
                </c:pt>
                <c:pt idx="1946">
                  <c:v>13666.800000000001</c:v>
                </c:pt>
                <c:pt idx="1947">
                  <c:v>13452.6</c:v>
                </c:pt>
                <c:pt idx="1948">
                  <c:v>13028.400000000001</c:v>
                </c:pt>
                <c:pt idx="1949">
                  <c:v>13133.400000000001</c:v>
                </c:pt>
                <c:pt idx="1950">
                  <c:v>13116.6</c:v>
                </c:pt>
                <c:pt idx="1951">
                  <c:v>13158.6</c:v>
                </c:pt>
                <c:pt idx="1952">
                  <c:v>12885.6</c:v>
                </c:pt>
                <c:pt idx="1953">
                  <c:v>12490.800000000001</c:v>
                </c:pt>
                <c:pt idx="1954">
                  <c:v>12171.6</c:v>
                </c:pt>
                <c:pt idx="1955">
                  <c:v>12083.4</c:v>
                </c:pt>
                <c:pt idx="1956">
                  <c:v>12037.2</c:v>
                </c:pt>
                <c:pt idx="1957">
                  <c:v>12398.4</c:v>
                </c:pt>
                <c:pt idx="1958">
                  <c:v>12469.800000000001</c:v>
                </c:pt>
                <c:pt idx="1959">
                  <c:v>13007.400000000001</c:v>
                </c:pt>
                <c:pt idx="1960">
                  <c:v>13213.2</c:v>
                </c:pt>
                <c:pt idx="1961">
                  <c:v>13461</c:v>
                </c:pt>
                <c:pt idx="1962">
                  <c:v>13482</c:v>
                </c:pt>
                <c:pt idx="1963">
                  <c:v>13167</c:v>
                </c:pt>
                <c:pt idx="1964">
                  <c:v>13360.2</c:v>
                </c:pt>
                <c:pt idx="1965">
                  <c:v>13704.6</c:v>
                </c:pt>
                <c:pt idx="1966">
                  <c:v>13948.2</c:v>
                </c:pt>
                <c:pt idx="1967">
                  <c:v>13738.2</c:v>
                </c:pt>
                <c:pt idx="1968">
                  <c:v>13507.2</c:v>
                </c:pt>
                <c:pt idx="1969">
                  <c:v>13049.400000000001</c:v>
                </c:pt>
                <c:pt idx="1970">
                  <c:v>12705</c:v>
                </c:pt>
                <c:pt idx="1971">
                  <c:v>12049.800000000001</c:v>
                </c:pt>
                <c:pt idx="1972">
                  <c:v>11642.4</c:v>
                </c:pt>
                <c:pt idx="1973">
                  <c:v>11188.800000000001</c:v>
                </c:pt>
                <c:pt idx="1974">
                  <c:v>10794</c:v>
                </c:pt>
                <c:pt idx="1975">
                  <c:v>10407.6</c:v>
                </c:pt>
                <c:pt idx="1976">
                  <c:v>9781.8000000000011</c:v>
                </c:pt>
                <c:pt idx="1977">
                  <c:v>8904</c:v>
                </c:pt>
                <c:pt idx="1978">
                  <c:v>8206.8000000000011</c:v>
                </c:pt>
                <c:pt idx="1979">
                  <c:v>7471.8</c:v>
                </c:pt>
                <c:pt idx="1980">
                  <c:v>6921.6</c:v>
                </c:pt>
                <c:pt idx="1981">
                  <c:v>6350.4000000000005</c:v>
                </c:pt>
                <c:pt idx="1982">
                  <c:v>6300</c:v>
                </c:pt>
                <c:pt idx="1983">
                  <c:v>5997.6</c:v>
                </c:pt>
                <c:pt idx="1984">
                  <c:v>5720.4000000000005</c:v>
                </c:pt>
                <c:pt idx="1985">
                  <c:v>5304.6</c:v>
                </c:pt>
                <c:pt idx="1986">
                  <c:v>5115.6000000000004</c:v>
                </c:pt>
                <c:pt idx="1987">
                  <c:v>4796.4000000000005</c:v>
                </c:pt>
                <c:pt idx="1988">
                  <c:v>4393.2</c:v>
                </c:pt>
                <c:pt idx="1989">
                  <c:v>4309.2</c:v>
                </c:pt>
                <c:pt idx="1990">
                  <c:v>4225.2</c:v>
                </c:pt>
                <c:pt idx="1991">
                  <c:v>4317.6000000000004</c:v>
                </c:pt>
                <c:pt idx="1992">
                  <c:v>4250.4000000000005</c:v>
                </c:pt>
                <c:pt idx="1993">
                  <c:v>4200</c:v>
                </c:pt>
                <c:pt idx="1994">
                  <c:v>5010.6000000000004</c:v>
                </c:pt>
                <c:pt idx="1995">
                  <c:v>5275.2</c:v>
                </c:pt>
                <c:pt idx="1996">
                  <c:v>5615.4000000000005</c:v>
                </c:pt>
                <c:pt idx="1997">
                  <c:v>5947.2</c:v>
                </c:pt>
                <c:pt idx="1998">
                  <c:v>6358.8</c:v>
                </c:pt>
                <c:pt idx="1999">
                  <c:v>6804</c:v>
                </c:pt>
                <c:pt idx="2000">
                  <c:v>7161</c:v>
                </c:pt>
                <c:pt idx="2001">
                  <c:v>7303.8</c:v>
                </c:pt>
                <c:pt idx="2002">
                  <c:v>7480.2000000000007</c:v>
                </c:pt>
                <c:pt idx="2003">
                  <c:v>7534.8</c:v>
                </c:pt>
                <c:pt idx="2004">
                  <c:v>7459.2000000000007</c:v>
                </c:pt>
                <c:pt idx="2005">
                  <c:v>7429.8</c:v>
                </c:pt>
                <c:pt idx="2006">
                  <c:v>7589.4000000000005</c:v>
                </c:pt>
                <c:pt idx="2007">
                  <c:v>8072.4000000000005</c:v>
                </c:pt>
                <c:pt idx="2008">
                  <c:v>8370.6</c:v>
                </c:pt>
                <c:pt idx="2009">
                  <c:v>8723.4</c:v>
                </c:pt>
                <c:pt idx="2010">
                  <c:v>9202.2000000000007</c:v>
                </c:pt>
                <c:pt idx="2011">
                  <c:v>9559.2000000000007</c:v>
                </c:pt>
                <c:pt idx="2012">
                  <c:v>9966.6</c:v>
                </c:pt>
                <c:pt idx="2013">
                  <c:v>10407.6</c:v>
                </c:pt>
                <c:pt idx="2014">
                  <c:v>11079.6</c:v>
                </c:pt>
                <c:pt idx="2015">
                  <c:v>11545.800000000001</c:v>
                </c:pt>
                <c:pt idx="2016">
                  <c:v>11642.4</c:v>
                </c:pt>
                <c:pt idx="2017">
                  <c:v>11991</c:v>
                </c:pt>
                <c:pt idx="2018">
                  <c:v>12797.4</c:v>
                </c:pt>
                <c:pt idx="2019">
                  <c:v>12885.6</c:v>
                </c:pt>
                <c:pt idx="2020">
                  <c:v>13070.400000000001</c:v>
                </c:pt>
                <c:pt idx="2021">
                  <c:v>13435.800000000001</c:v>
                </c:pt>
                <c:pt idx="2022">
                  <c:v>13750.800000000001</c:v>
                </c:pt>
                <c:pt idx="2023">
                  <c:v>13910.400000000001</c:v>
                </c:pt>
                <c:pt idx="2024">
                  <c:v>14120.400000000001</c:v>
                </c:pt>
                <c:pt idx="2025">
                  <c:v>13973.400000000001</c:v>
                </c:pt>
                <c:pt idx="2026">
                  <c:v>13662.6</c:v>
                </c:pt>
                <c:pt idx="2027">
                  <c:v>13725.6</c:v>
                </c:pt>
                <c:pt idx="2028">
                  <c:v>13225.800000000001</c:v>
                </c:pt>
                <c:pt idx="2029">
                  <c:v>12768</c:v>
                </c:pt>
                <c:pt idx="2030">
                  <c:v>12322.800000000001</c:v>
                </c:pt>
                <c:pt idx="2031">
                  <c:v>11873.4</c:v>
                </c:pt>
                <c:pt idx="2032">
                  <c:v>11298</c:v>
                </c:pt>
                <c:pt idx="2033">
                  <c:v>11113.2</c:v>
                </c:pt>
                <c:pt idx="2034">
                  <c:v>10941</c:v>
                </c:pt>
                <c:pt idx="2035">
                  <c:v>10684.800000000001</c:v>
                </c:pt>
                <c:pt idx="2036">
                  <c:v>10353</c:v>
                </c:pt>
                <c:pt idx="2037">
                  <c:v>10281.6</c:v>
                </c:pt>
                <c:pt idx="2038">
                  <c:v>9727.2000000000007</c:v>
                </c:pt>
                <c:pt idx="2039">
                  <c:v>9483.6</c:v>
                </c:pt>
                <c:pt idx="2040">
                  <c:v>8967</c:v>
                </c:pt>
                <c:pt idx="2041">
                  <c:v>8400</c:v>
                </c:pt>
                <c:pt idx="2042">
                  <c:v>7047.6</c:v>
                </c:pt>
                <c:pt idx="2043">
                  <c:v>6342</c:v>
                </c:pt>
                <c:pt idx="2044">
                  <c:v>5850.6</c:v>
                </c:pt>
                <c:pt idx="2045">
                  <c:v>5434.8</c:v>
                </c:pt>
                <c:pt idx="2046">
                  <c:v>4989.6000000000004</c:v>
                </c:pt>
                <c:pt idx="2047">
                  <c:v>4691.4000000000005</c:v>
                </c:pt>
                <c:pt idx="2048">
                  <c:v>4242</c:v>
                </c:pt>
                <c:pt idx="2049">
                  <c:v>3826.2000000000003</c:v>
                </c:pt>
                <c:pt idx="2050">
                  <c:v>3528</c:v>
                </c:pt>
                <c:pt idx="2051">
                  <c:v>3297</c:v>
                </c:pt>
                <c:pt idx="2052">
                  <c:v>3192</c:v>
                </c:pt>
                <c:pt idx="2053">
                  <c:v>3003</c:v>
                </c:pt>
                <c:pt idx="2054">
                  <c:v>2961</c:v>
                </c:pt>
                <c:pt idx="2055">
                  <c:v>2935.8</c:v>
                </c:pt>
                <c:pt idx="2056">
                  <c:v>2898</c:v>
                </c:pt>
                <c:pt idx="2057">
                  <c:v>2935.8</c:v>
                </c:pt>
                <c:pt idx="2058">
                  <c:v>3066</c:v>
                </c:pt>
                <c:pt idx="2059">
                  <c:v>2961</c:v>
                </c:pt>
                <c:pt idx="2060">
                  <c:v>2935.8</c:v>
                </c:pt>
                <c:pt idx="2061">
                  <c:v>2940</c:v>
                </c:pt>
                <c:pt idx="2062">
                  <c:v>3061.8</c:v>
                </c:pt>
                <c:pt idx="2063">
                  <c:v>3154.2000000000003</c:v>
                </c:pt>
                <c:pt idx="2064">
                  <c:v>3229.8</c:v>
                </c:pt>
                <c:pt idx="2065">
                  <c:v>3305.4</c:v>
                </c:pt>
                <c:pt idx="2066">
                  <c:v>3284.4</c:v>
                </c:pt>
                <c:pt idx="2067">
                  <c:v>3334.8</c:v>
                </c:pt>
                <c:pt idx="2068">
                  <c:v>3418.8</c:v>
                </c:pt>
                <c:pt idx="2069">
                  <c:v>3297</c:v>
                </c:pt>
                <c:pt idx="2070">
                  <c:v>3204.6</c:v>
                </c:pt>
                <c:pt idx="2071">
                  <c:v>3259.2000000000003</c:v>
                </c:pt>
                <c:pt idx="2072">
                  <c:v>3040.8</c:v>
                </c:pt>
                <c:pt idx="2073">
                  <c:v>2696.4</c:v>
                </c:pt>
                <c:pt idx="2074">
                  <c:v>2234.4</c:v>
                </c:pt>
                <c:pt idx="2075">
                  <c:v>2020.2</c:v>
                </c:pt>
                <c:pt idx="2076">
                  <c:v>1822.8000000000002</c:v>
                </c:pt>
                <c:pt idx="2077">
                  <c:v>1780.8000000000002</c:v>
                </c:pt>
                <c:pt idx="2078">
                  <c:v>1734.6000000000001</c:v>
                </c:pt>
                <c:pt idx="2079">
                  <c:v>1885.8000000000002</c:v>
                </c:pt>
                <c:pt idx="2080">
                  <c:v>2171.4</c:v>
                </c:pt>
                <c:pt idx="2081">
                  <c:v>2469.6</c:v>
                </c:pt>
                <c:pt idx="2082">
                  <c:v>2830.8</c:v>
                </c:pt>
                <c:pt idx="2083">
                  <c:v>3511.2000000000003</c:v>
                </c:pt>
                <c:pt idx="2084">
                  <c:v>4716.6000000000004</c:v>
                </c:pt>
                <c:pt idx="2085">
                  <c:v>6178.2</c:v>
                </c:pt>
                <c:pt idx="2086">
                  <c:v>7950.6</c:v>
                </c:pt>
                <c:pt idx="2087">
                  <c:v>9794.4</c:v>
                </c:pt>
                <c:pt idx="2088">
                  <c:v>11272.800000000001</c:v>
                </c:pt>
                <c:pt idx="2089">
                  <c:v>12285</c:v>
                </c:pt>
                <c:pt idx="2090">
                  <c:v>12520.2</c:v>
                </c:pt>
                <c:pt idx="2091">
                  <c:v>13251</c:v>
                </c:pt>
                <c:pt idx="2092">
                  <c:v>13251</c:v>
                </c:pt>
                <c:pt idx="2093">
                  <c:v>13074.6</c:v>
                </c:pt>
                <c:pt idx="2094">
                  <c:v>14296.800000000001</c:v>
                </c:pt>
                <c:pt idx="2095">
                  <c:v>14280</c:v>
                </c:pt>
                <c:pt idx="2096">
                  <c:v>14511</c:v>
                </c:pt>
                <c:pt idx="2097">
                  <c:v>14074.2</c:v>
                </c:pt>
                <c:pt idx="2098">
                  <c:v>13566</c:v>
                </c:pt>
                <c:pt idx="2099">
                  <c:v>13049.400000000001</c:v>
                </c:pt>
                <c:pt idx="2100">
                  <c:v>12545.4</c:v>
                </c:pt>
                <c:pt idx="2101">
                  <c:v>12108.6</c:v>
                </c:pt>
                <c:pt idx="2102">
                  <c:v>11726.4</c:v>
                </c:pt>
                <c:pt idx="2103">
                  <c:v>11344.2</c:v>
                </c:pt>
                <c:pt idx="2104">
                  <c:v>10861.2</c:v>
                </c:pt>
                <c:pt idx="2105">
                  <c:v>10197.6</c:v>
                </c:pt>
                <c:pt idx="2106">
                  <c:v>9664.2000000000007</c:v>
                </c:pt>
                <c:pt idx="2107">
                  <c:v>8958.6</c:v>
                </c:pt>
                <c:pt idx="2108">
                  <c:v>8610</c:v>
                </c:pt>
                <c:pt idx="2109">
                  <c:v>8202.6</c:v>
                </c:pt>
                <c:pt idx="2110">
                  <c:v>7665</c:v>
                </c:pt>
                <c:pt idx="2111">
                  <c:v>7161</c:v>
                </c:pt>
                <c:pt idx="2112">
                  <c:v>6459.6</c:v>
                </c:pt>
                <c:pt idx="2113">
                  <c:v>5741.4000000000005</c:v>
                </c:pt>
                <c:pt idx="2114">
                  <c:v>5182.8</c:v>
                </c:pt>
                <c:pt idx="2115">
                  <c:v>4527.6000000000004</c:v>
                </c:pt>
                <c:pt idx="2116">
                  <c:v>3969</c:v>
                </c:pt>
                <c:pt idx="2117">
                  <c:v>3616.2000000000003</c:v>
                </c:pt>
                <c:pt idx="2118">
                  <c:v>3397.8</c:v>
                </c:pt>
                <c:pt idx="2119">
                  <c:v>3217.2000000000003</c:v>
                </c:pt>
                <c:pt idx="2120">
                  <c:v>3200.4</c:v>
                </c:pt>
                <c:pt idx="2121">
                  <c:v>3015.6</c:v>
                </c:pt>
                <c:pt idx="2122">
                  <c:v>3049.2000000000003</c:v>
                </c:pt>
                <c:pt idx="2123">
                  <c:v>3574.2000000000003</c:v>
                </c:pt>
                <c:pt idx="2124">
                  <c:v>4145.4000000000005</c:v>
                </c:pt>
                <c:pt idx="2125">
                  <c:v>4674.6000000000004</c:v>
                </c:pt>
                <c:pt idx="2126">
                  <c:v>5371.8</c:v>
                </c:pt>
                <c:pt idx="2127">
                  <c:v>5934.6</c:v>
                </c:pt>
                <c:pt idx="2128">
                  <c:v>6186.6</c:v>
                </c:pt>
                <c:pt idx="2129">
                  <c:v>6694.8</c:v>
                </c:pt>
                <c:pt idx="2130">
                  <c:v>7249.2000000000007</c:v>
                </c:pt>
                <c:pt idx="2131">
                  <c:v>7690.2000000000007</c:v>
                </c:pt>
                <c:pt idx="2132">
                  <c:v>8055.6</c:v>
                </c:pt>
                <c:pt idx="2133">
                  <c:v>8215.2000000000007</c:v>
                </c:pt>
                <c:pt idx="2134">
                  <c:v>8605.8000000000011</c:v>
                </c:pt>
                <c:pt idx="2135">
                  <c:v>9147.6</c:v>
                </c:pt>
                <c:pt idx="2136">
                  <c:v>9445.8000000000011</c:v>
                </c:pt>
                <c:pt idx="2137">
                  <c:v>9538.2000000000007</c:v>
                </c:pt>
                <c:pt idx="2138">
                  <c:v>10176.6</c:v>
                </c:pt>
                <c:pt idx="2139">
                  <c:v>10134.6</c:v>
                </c:pt>
                <c:pt idx="2140">
                  <c:v>9933</c:v>
                </c:pt>
                <c:pt idx="2141">
                  <c:v>9613.8000000000011</c:v>
                </c:pt>
                <c:pt idx="2142">
                  <c:v>8752.8000000000011</c:v>
                </c:pt>
                <c:pt idx="2143">
                  <c:v>7959</c:v>
                </c:pt>
                <c:pt idx="2144">
                  <c:v>7434</c:v>
                </c:pt>
                <c:pt idx="2145">
                  <c:v>6917.4000000000005</c:v>
                </c:pt>
                <c:pt idx="2146">
                  <c:v>6451.2000000000007</c:v>
                </c:pt>
                <c:pt idx="2147">
                  <c:v>5922</c:v>
                </c:pt>
                <c:pt idx="2148">
                  <c:v>5682.6</c:v>
                </c:pt>
                <c:pt idx="2149">
                  <c:v>5418</c:v>
                </c:pt>
                <c:pt idx="2150">
                  <c:v>4964.4000000000005</c:v>
                </c:pt>
                <c:pt idx="2151">
                  <c:v>4418.4000000000005</c:v>
                </c:pt>
                <c:pt idx="2152">
                  <c:v>4069.8</c:v>
                </c:pt>
                <c:pt idx="2153">
                  <c:v>3851.4</c:v>
                </c:pt>
                <c:pt idx="2154">
                  <c:v>3809.4</c:v>
                </c:pt>
                <c:pt idx="2155">
                  <c:v>3729.6000000000004</c:v>
                </c:pt>
                <c:pt idx="2156">
                  <c:v>3901.8</c:v>
                </c:pt>
                <c:pt idx="2157">
                  <c:v>4069.8</c:v>
                </c:pt>
                <c:pt idx="2158">
                  <c:v>4431</c:v>
                </c:pt>
                <c:pt idx="2159">
                  <c:v>4704</c:v>
                </c:pt>
                <c:pt idx="2160">
                  <c:v>5199.6000000000004</c:v>
                </c:pt>
                <c:pt idx="2161">
                  <c:v>5304.6</c:v>
                </c:pt>
                <c:pt idx="2162">
                  <c:v>4481.4000000000005</c:v>
                </c:pt>
                <c:pt idx="2163">
                  <c:v>4515</c:v>
                </c:pt>
                <c:pt idx="2164">
                  <c:v>4393.2</c:v>
                </c:pt>
                <c:pt idx="2165">
                  <c:v>4326</c:v>
                </c:pt>
                <c:pt idx="2166">
                  <c:v>4418.4000000000005</c:v>
                </c:pt>
                <c:pt idx="2167">
                  <c:v>4569.6000000000004</c:v>
                </c:pt>
                <c:pt idx="2168">
                  <c:v>4779.6000000000004</c:v>
                </c:pt>
                <c:pt idx="2169">
                  <c:v>4586.4000000000005</c:v>
                </c:pt>
                <c:pt idx="2170">
                  <c:v>4662</c:v>
                </c:pt>
                <c:pt idx="2171">
                  <c:v>4523.4000000000005</c:v>
                </c:pt>
                <c:pt idx="2172">
                  <c:v>4296.6000000000004</c:v>
                </c:pt>
                <c:pt idx="2173">
                  <c:v>4258.8</c:v>
                </c:pt>
                <c:pt idx="2174">
                  <c:v>4309.2</c:v>
                </c:pt>
                <c:pt idx="2175">
                  <c:v>4750.2</c:v>
                </c:pt>
                <c:pt idx="2176">
                  <c:v>4830</c:v>
                </c:pt>
                <c:pt idx="2177">
                  <c:v>5195.4000000000005</c:v>
                </c:pt>
                <c:pt idx="2178">
                  <c:v>5481</c:v>
                </c:pt>
                <c:pt idx="2179">
                  <c:v>5808.6</c:v>
                </c:pt>
                <c:pt idx="2180">
                  <c:v>6132</c:v>
                </c:pt>
                <c:pt idx="2181">
                  <c:v>6337.8</c:v>
                </c:pt>
                <c:pt idx="2182">
                  <c:v>6451.2000000000007</c:v>
                </c:pt>
                <c:pt idx="2183">
                  <c:v>6665.4000000000005</c:v>
                </c:pt>
                <c:pt idx="2184">
                  <c:v>6745.2000000000007</c:v>
                </c:pt>
                <c:pt idx="2185">
                  <c:v>6749.4000000000005</c:v>
                </c:pt>
                <c:pt idx="2186">
                  <c:v>6951</c:v>
                </c:pt>
                <c:pt idx="2187">
                  <c:v>6745.2000000000007</c:v>
                </c:pt>
                <c:pt idx="2188">
                  <c:v>6762</c:v>
                </c:pt>
                <c:pt idx="2189">
                  <c:v>6484.8</c:v>
                </c:pt>
                <c:pt idx="2190">
                  <c:v>6463.8</c:v>
                </c:pt>
                <c:pt idx="2191">
                  <c:v>6497.4000000000005</c:v>
                </c:pt>
                <c:pt idx="2192">
                  <c:v>6615</c:v>
                </c:pt>
                <c:pt idx="2193">
                  <c:v>6484.8</c:v>
                </c:pt>
                <c:pt idx="2194">
                  <c:v>6094.2</c:v>
                </c:pt>
                <c:pt idx="2195">
                  <c:v>5922</c:v>
                </c:pt>
                <c:pt idx="2196">
                  <c:v>5489.4000000000005</c:v>
                </c:pt>
                <c:pt idx="2197">
                  <c:v>5355</c:v>
                </c:pt>
                <c:pt idx="2198">
                  <c:v>5384.4000000000005</c:v>
                </c:pt>
                <c:pt idx="2199">
                  <c:v>5854.8</c:v>
                </c:pt>
                <c:pt idx="2200">
                  <c:v>6371.4000000000005</c:v>
                </c:pt>
                <c:pt idx="2201">
                  <c:v>6867</c:v>
                </c:pt>
                <c:pt idx="2202">
                  <c:v>7232.4000000000005</c:v>
                </c:pt>
                <c:pt idx="2203">
                  <c:v>7425.6</c:v>
                </c:pt>
                <c:pt idx="2204">
                  <c:v>7555.8</c:v>
                </c:pt>
                <c:pt idx="2205">
                  <c:v>7677.6</c:v>
                </c:pt>
                <c:pt idx="2206">
                  <c:v>7497</c:v>
                </c:pt>
                <c:pt idx="2207">
                  <c:v>7728</c:v>
                </c:pt>
                <c:pt idx="2208">
                  <c:v>7984.2000000000007</c:v>
                </c:pt>
                <c:pt idx="2209">
                  <c:v>8131.2000000000007</c:v>
                </c:pt>
                <c:pt idx="2210">
                  <c:v>8946</c:v>
                </c:pt>
                <c:pt idx="2211">
                  <c:v>8845.2000000000007</c:v>
                </c:pt>
                <c:pt idx="2212">
                  <c:v>8883</c:v>
                </c:pt>
                <c:pt idx="2213">
                  <c:v>8807.4</c:v>
                </c:pt>
                <c:pt idx="2214">
                  <c:v>8605.8000000000011</c:v>
                </c:pt>
                <c:pt idx="2215">
                  <c:v>8374.8000000000011</c:v>
                </c:pt>
                <c:pt idx="2216">
                  <c:v>8047.2000000000007</c:v>
                </c:pt>
                <c:pt idx="2217">
                  <c:v>7929.6</c:v>
                </c:pt>
                <c:pt idx="2218">
                  <c:v>7635.6</c:v>
                </c:pt>
                <c:pt idx="2219">
                  <c:v>6980.4000000000005</c:v>
                </c:pt>
                <c:pt idx="2220">
                  <c:v>6535.2000000000007</c:v>
                </c:pt>
                <c:pt idx="2221">
                  <c:v>6115.2</c:v>
                </c:pt>
                <c:pt idx="2222">
                  <c:v>6111</c:v>
                </c:pt>
                <c:pt idx="2223">
                  <c:v>6216</c:v>
                </c:pt>
                <c:pt idx="2224">
                  <c:v>6476.4000000000005</c:v>
                </c:pt>
                <c:pt idx="2225">
                  <c:v>6640.2000000000007</c:v>
                </c:pt>
                <c:pt idx="2226">
                  <c:v>6694.8</c:v>
                </c:pt>
                <c:pt idx="2227">
                  <c:v>6430.2</c:v>
                </c:pt>
                <c:pt idx="2228">
                  <c:v>6241.2</c:v>
                </c:pt>
                <c:pt idx="2229">
                  <c:v>6043.8</c:v>
                </c:pt>
                <c:pt idx="2230">
                  <c:v>6018.6</c:v>
                </c:pt>
                <c:pt idx="2231">
                  <c:v>6094.2</c:v>
                </c:pt>
                <c:pt idx="2232">
                  <c:v>6459.6</c:v>
                </c:pt>
                <c:pt idx="2233">
                  <c:v>6715.8</c:v>
                </c:pt>
                <c:pt idx="2234">
                  <c:v>6392.4000000000005</c:v>
                </c:pt>
                <c:pt idx="2235">
                  <c:v>6442.8</c:v>
                </c:pt>
                <c:pt idx="2236">
                  <c:v>6476.4000000000005</c:v>
                </c:pt>
                <c:pt idx="2237">
                  <c:v>6556.2000000000007</c:v>
                </c:pt>
                <c:pt idx="2238">
                  <c:v>6858.6</c:v>
                </c:pt>
                <c:pt idx="2239">
                  <c:v>6972</c:v>
                </c:pt>
                <c:pt idx="2240">
                  <c:v>6871.2000000000007</c:v>
                </c:pt>
                <c:pt idx="2241">
                  <c:v>6547.8</c:v>
                </c:pt>
                <c:pt idx="2242">
                  <c:v>6102.6</c:v>
                </c:pt>
                <c:pt idx="2243">
                  <c:v>5716.2</c:v>
                </c:pt>
                <c:pt idx="2244">
                  <c:v>5376</c:v>
                </c:pt>
                <c:pt idx="2245">
                  <c:v>5304.6</c:v>
                </c:pt>
                <c:pt idx="2246">
                  <c:v>5434.8</c:v>
                </c:pt>
                <c:pt idx="2247">
                  <c:v>5598.6</c:v>
                </c:pt>
                <c:pt idx="2248">
                  <c:v>5716.2</c:v>
                </c:pt>
                <c:pt idx="2249">
                  <c:v>5808.6</c:v>
                </c:pt>
                <c:pt idx="2250">
                  <c:v>5875.8</c:v>
                </c:pt>
                <c:pt idx="2251">
                  <c:v>5817</c:v>
                </c:pt>
                <c:pt idx="2252">
                  <c:v>5590.2</c:v>
                </c:pt>
                <c:pt idx="2253">
                  <c:v>5334</c:v>
                </c:pt>
                <c:pt idx="2254">
                  <c:v>5212.2</c:v>
                </c:pt>
                <c:pt idx="2255">
                  <c:v>5103</c:v>
                </c:pt>
                <c:pt idx="2256">
                  <c:v>5229</c:v>
                </c:pt>
                <c:pt idx="2257">
                  <c:v>5308.8</c:v>
                </c:pt>
                <c:pt idx="2258">
                  <c:v>5145</c:v>
                </c:pt>
                <c:pt idx="2259">
                  <c:v>5010.6000000000004</c:v>
                </c:pt>
                <c:pt idx="2260">
                  <c:v>5010.6000000000004</c:v>
                </c:pt>
                <c:pt idx="2261">
                  <c:v>4972.8</c:v>
                </c:pt>
                <c:pt idx="2262">
                  <c:v>4855.2</c:v>
                </c:pt>
                <c:pt idx="2263">
                  <c:v>4716.6000000000004</c:v>
                </c:pt>
                <c:pt idx="2264">
                  <c:v>4468.8</c:v>
                </c:pt>
                <c:pt idx="2265">
                  <c:v>4065.6000000000004</c:v>
                </c:pt>
                <c:pt idx="2266">
                  <c:v>3675</c:v>
                </c:pt>
                <c:pt idx="2267">
                  <c:v>3381</c:v>
                </c:pt>
                <c:pt idx="2268">
                  <c:v>3204.6</c:v>
                </c:pt>
                <c:pt idx="2269">
                  <c:v>3150</c:v>
                </c:pt>
                <c:pt idx="2270">
                  <c:v>3099.6</c:v>
                </c:pt>
                <c:pt idx="2271">
                  <c:v>3183.6</c:v>
                </c:pt>
                <c:pt idx="2272">
                  <c:v>3276</c:v>
                </c:pt>
                <c:pt idx="2273">
                  <c:v>3313.8</c:v>
                </c:pt>
                <c:pt idx="2274">
                  <c:v>3318</c:v>
                </c:pt>
                <c:pt idx="2275">
                  <c:v>3183.6</c:v>
                </c:pt>
                <c:pt idx="2276">
                  <c:v>2982</c:v>
                </c:pt>
                <c:pt idx="2277">
                  <c:v>3074.4</c:v>
                </c:pt>
                <c:pt idx="2278">
                  <c:v>3297</c:v>
                </c:pt>
                <c:pt idx="2279">
                  <c:v>3733.8</c:v>
                </c:pt>
                <c:pt idx="2280">
                  <c:v>4296.6000000000004</c:v>
                </c:pt>
                <c:pt idx="2281">
                  <c:v>4712.4000000000005</c:v>
                </c:pt>
                <c:pt idx="2282">
                  <c:v>5632.2</c:v>
                </c:pt>
                <c:pt idx="2283">
                  <c:v>6115.2</c:v>
                </c:pt>
                <c:pt idx="2284">
                  <c:v>6249.6</c:v>
                </c:pt>
                <c:pt idx="2285">
                  <c:v>6694.8</c:v>
                </c:pt>
                <c:pt idx="2286">
                  <c:v>6774.6</c:v>
                </c:pt>
                <c:pt idx="2287">
                  <c:v>6858.6</c:v>
                </c:pt>
                <c:pt idx="2288">
                  <c:v>6762</c:v>
                </c:pt>
                <c:pt idx="2289">
                  <c:v>6652.8</c:v>
                </c:pt>
                <c:pt idx="2290">
                  <c:v>6325.2</c:v>
                </c:pt>
                <c:pt idx="2291">
                  <c:v>5783.4000000000005</c:v>
                </c:pt>
                <c:pt idx="2292">
                  <c:v>5586</c:v>
                </c:pt>
                <c:pt idx="2293">
                  <c:v>5392.8</c:v>
                </c:pt>
                <c:pt idx="2294">
                  <c:v>5376</c:v>
                </c:pt>
                <c:pt idx="2295">
                  <c:v>5720.4000000000005</c:v>
                </c:pt>
                <c:pt idx="2296">
                  <c:v>5934.6</c:v>
                </c:pt>
                <c:pt idx="2297">
                  <c:v>6249.6</c:v>
                </c:pt>
                <c:pt idx="2298">
                  <c:v>6669.6</c:v>
                </c:pt>
                <c:pt idx="2299">
                  <c:v>7211.4000000000005</c:v>
                </c:pt>
                <c:pt idx="2300">
                  <c:v>7841.4000000000005</c:v>
                </c:pt>
                <c:pt idx="2301">
                  <c:v>8341.2000000000007</c:v>
                </c:pt>
                <c:pt idx="2302">
                  <c:v>9072</c:v>
                </c:pt>
                <c:pt idx="2303">
                  <c:v>9655.8000000000011</c:v>
                </c:pt>
                <c:pt idx="2304">
                  <c:v>10281.6</c:v>
                </c:pt>
                <c:pt idx="2305">
                  <c:v>11046</c:v>
                </c:pt>
                <c:pt idx="2306">
                  <c:v>12331.2</c:v>
                </c:pt>
                <c:pt idx="2307">
                  <c:v>12780.6</c:v>
                </c:pt>
                <c:pt idx="2308">
                  <c:v>13406.400000000001</c:v>
                </c:pt>
                <c:pt idx="2309">
                  <c:v>13981.800000000001</c:v>
                </c:pt>
                <c:pt idx="2310">
                  <c:v>14397.6</c:v>
                </c:pt>
                <c:pt idx="2311">
                  <c:v>14477.400000000001</c:v>
                </c:pt>
                <c:pt idx="2312">
                  <c:v>14641.2</c:v>
                </c:pt>
                <c:pt idx="2313">
                  <c:v>14011.2</c:v>
                </c:pt>
                <c:pt idx="2314">
                  <c:v>13351.800000000001</c:v>
                </c:pt>
                <c:pt idx="2315">
                  <c:v>12621</c:v>
                </c:pt>
                <c:pt idx="2316">
                  <c:v>12159</c:v>
                </c:pt>
                <c:pt idx="2317">
                  <c:v>11634</c:v>
                </c:pt>
                <c:pt idx="2318">
                  <c:v>11230.800000000001</c:v>
                </c:pt>
                <c:pt idx="2319">
                  <c:v>10857</c:v>
                </c:pt>
                <c:pt idx="2320">
                  <c:v>10399.200000000001</c:v>
                </c:pt>
                <c:pt idx="2321">
                  <c:v>10298.4</c:v>
                </c:pt>
                <c:pt idx="2322">
                  <c:v>9807</c:v>
                </c:pt>
                <c:pt idx="2323">
                  <c:v>9790.2000000000007</c:v>
                </c:pt>
                <c:pt idx="2324">
                  <c:v>9773.4</c:v>
                </c:pt>
                <c:pt idx="2325">
                  <c:v>9979.2000000000007</c:v>
                </c:pt>
                <c:pt idx="2326">
                  <c:v>10374</c:v>
                </c:pt>
                <c:pt idx="2327">
                  <c:v>11142.6</c:v>
                </c:pt>
                <c:pt idx="2328">
                  <c:v>11516.4</c:v>
                </c:pt>
                <c:pt idx="2329">
                  <c:v>11806.2</c:v>
                </c:pt>
                <c:pt idx="2330">
                  <c:v>12415.2</c:v>
                </c:pt>
                <c:pt idx="2331">
                  <c:v>12461.4</c:v>
                </c:pt>
                <c:pt idx="2332">
                  <c:v>12415.2</c:v>
                </c:pt>
                <c:pt idx="2333">
                  <c:v>12524.4</c:v>
                </c:pt>
                <c:pt idx="2334">
                  <c:v>12600</c:v>
                </c:pt>
                <c:pt idx="2335">
                  <c:v>12805.800000000001</c:v>
                </c:pt>
                <c:pt idx="2336">
                  <c:v>12663</c:v>
                </c:pt>
                <c:pt idx="2337">
                  <c:v>12440.4</c:v>
                </c:pt>
                <c:pt idx="2338">
                  <c:v>12255.6</c:v>
                </c:pt>
                <c:pt idx="2339">
                  <c:v>12440.4</c:v>
                </c:pt>
                <c:pt idx="2340">
                  <c:v>12432</c:v>
                </c:pt>
                <c:pt idx="2341">
                  <c:v>12457.2</c:v>
                </c:pt>
                <c:pt idx="2342">
                  <c:v>12440.4</c:v>
                </c:pt>
                <c:pt idx="2343">
                  <c:v>12087.6</c:v>
                </c:pt>
                <c:pt idx="2344">
                  <c:v>11734.800000000001</c:v>
                </c:pt>
                <c:pt idx="2345">
                  <c:v>11243.4</c:v>
                </c:pt>
                <c:pt idx="2346">
                  <c:v>10731</c:v>
                </c:pt>
                <c:pt idx="2347">
                  <c:v>10214.4</c:v>
                </c:pt>
                <c:pt idx="2348">
                  <c:v>10075.800000000001</c:v>
                </c:pt>
                <c:pt idx="2349">
                  <c:v>9777.6</c:v>
                </c:pt>
                <c:pt idx="2350">
                  <c:v>9479.4</c:v>
                </c:pt>
                <c:pt idx="2351">
                  <c:v>9399.6</c:v>
                </c:pt>
                <c:pt idx="2352">
                  <c:v>9429</c:v>
                </c:pt>
                <c:pt idx="2353">
                  <c:v>9227.4</c:v>
                </c:pt>
                <c:pt idx="2354">
                  <c:v>9798.6</c:v>
                </c:pt>
                <c:pt idx="2355">
                  <c:v>10105.200000000001</c:v>
                </c:pt>
                <c:pt idx="2356">
                  <c:v>10567.2</c:v>
                </c:pt>
                <c:pt idx="2357">
                  <c:v>11214</c:v>
                </c:pt>
                <c:pt idx="2358">
                  <c:v>11781</c:v>
                </c:pt>
                <c:pt idx="2359">
                  <c:v>12217.800000000001</c:v>
                </c:pt>
                <c:pt idx="2360">
                  <c:v>12658.800000000001</c:v>
                </c:pt>
                <c:pt idx="2361">
                  <c:v>12528.6</c:v>
                </c:pt>
                <c:pt idx="2362">
                  <c:v>12314.4</c:v>
                </c:pt>
                <c:pt idx="2363">
                  <c:v>12142.2</c:v>
                </c:pt>
                <c:pt idx="2364">
                  <c:v>12125.4</c:v>
                </c:pt>
                <c:pt idx="2365">
                  <c:v>12255.6</c:v>
                </c:pt>
                <c:pt idx="2366">
                  <c:v>12583.2</c:v>
                </c:pt>
                <c:pt idx="2367">
                  <c:v>12944.400000000001</c:v>
                </c:pt>
                <c:pt idx="2368">
                  <c:v>13335</c:v>
                </c:pt>
                <c:pt idx="2369">
                  <c:v>13616.400000000001</c:v>
                </c:pt>
                <c:pt idx="2370">
                  <c:v>13599.6</c:v>
                </c:pt>
                <c:pt idx="2371">
                  <c:v>13179.6</c:v>
                </c:pt>
                <c:pt idx="2372">
                  <c:v>12969.6</c:v>
                </c:pt>
                <c:pt idx="2373">
                  <c:v>12516</c:v>
                </c:pt>
                <c:pt idx="2374">
                  <c:v>12033</c:v>
                </c:pt>
                <c:pt idx="2375">
                  <c:v>11470.2</c:v>
                </c:pt>
                <c:pt idx="2376">
                  <c:v>10999.800000000001</c:v>
                </c:pt>
                <c:pt idx="2377">
                  <c:v>10264.800000000001</c:v>
                </c:pt>
                <c:pt idx="2378">
                  <c:v>9475.2000000000007</c:v>
                </c:pt>
                <c:pt idx="2379">
                  <c:v>8761.2000000000007</c:v>
                </c:pt>
                <c:pt idx="2380">
                  <c:v>7791</c:v>
                </c:pt>
                <c:pt idx="2381">
                  <c:v>7467.6</c:v>
                </c:pt>
                <c:pt idx="2382">
                  <c:v>7261.8</c:v>
                </c:pt>
                <c:pt idx="2383">
                  <c:v>7719.6</c:v>
                </c:pt>
                <c:pt idx="2384">
                  <c:v>8370.6</c:v>
                </c:pt>
                <c:pt idx="2385">
                  <c:v>8765.4</c:v>
                </c:pt>
                <c:pt idx="2386">
                  <c:v>8975.4</c:v>
                </c:pt>
                <c:pt idx="2387">
                  <c:v>9571.8000000000011</c:v>
                </c:pt>
                <c:pt idx="2388">
                  <c:v>10113.6</c:v>
                </c:pt>
                <c:pt idx="2389">
                  <c:v>10743.6</c:v>
                </c:pt>
                <c:pt idx="2390">
                  <c:v>11281.2</c:v>
                </c:pt>
                <c:pt idx="2391">
                  <c:v>11928</c:v>
                </c:pt>
                <c:pt idx="2392">
                  <c:v>12138</c:v>
                </c:pt>
                <c:pt idx="2393">
                  <c:v>12276.6</c:v>
                </c:pt>
                <c:pt idx="2394">
                  <c:v>12213.6</c:v>
                </c:pt>
                <c:pt idx="2395">
                  <c:v>11957.4</c:v>
                </c:pt>
                <c:pt idx="2396">
                  <c:v>11722.2</c:v>
                </c:pt>
                <c:pt idx="2397">
                  <c:v>11524.800000000001</c:v>
                </c:pt>
                <c:pt idx="2398">
                  <c:v>11155.2</c:v>
                </c:pt>
                <c:pt idx="2399">
                  <c:v>10529.4</c:v>
                </c:pt>
                <c:pt idx="2400">
                  <c:v>9819.6</c:v>
                </c:pt>
                <c:pt idx="2401">
                  <c:v>9156</c:v>
                </c:pt>
                <c:pt idx="2402">
                  <c:v>7324.8</c:v>
                </c:pt>
                <c:pt idx="2403">
                  <c:v>6594</c:v>
                </c:pt>
                <c:pt idx="2404">
                  <c:v>5955.6</c:v>
                </c:pt>
                <c:pt idx="2405">
                  <c:v>5455.8</c:v>
                </c:pt>
                <c:pt idx="2406">
                  <c:v>4905.6000000000004</c:v>
                </c:pt>
                <c:pt idx="2407">
                  <c:v>4569.6000000000004</c:v>
                </c:pt>
                <c:pt idx="2408">
                  <c:v>4309.2</c:v>
                </c:pt>
                <c:pt idx="2409">
                  <c:v>3914.4</c:v>
                </c:pt>
                <c:pt idx="2410">
                  <c:v>3536.4</c:v>
                </c:pt>
                <c:pt idx="2411">
                  <c:v>3305.4</c:v>
                </c:pt>
                <c:pt idx="2412">
                  <c:v>3763.2000000000003</c:v>
                </c:pt>
                <c:pt idx="2413">
                  <c:v>4221</c:v>
                </c:pt>
                <c:pt idx="2414">
                  <c:v>5115.6000000000004</c:v>
                </c:pt>
                <c:pt idx="2415">
                  <c:v>6014.4000000000005</c:v>
                </c:pt>
                <c:pt idx="2416">
                  <c:v>6808.2000000000007</c:v>
                </c:pt>
                <c:pt idx="2417">
                  <c:v>7198.8</c:v>
                </c:pt>
                <c:pt idx="2418">
                  <c:v>7971.6</c:v>
                </c:pt>
                <c:pt idx="2419">
                  <c:v>8475.6</c:v>
                </c:pt>
                <c:pt idx="2420">
                  <c:v>8555.4</c:v>
                </c:pt>
                <c:pt idx="2421">
                  <c:v>9130.8000000000011</c:v>
                </c:pt>
                <c:pt idx="2422">
                  <c:v>9458.4</c:v>
                </c:pt>
                <c:pt idx="2423">
                  <c:v>10193.4</c:v>
                </c:pt>
                <c:pt idx="2424">
                  <c:v>10932.6</c:v>
                </c:pt>
                <c:pt idx="2425">
                  <c:v>12297.6</c:v>
                </c:pt>
                <c:pt idx="2426">
                  <c:v>11680.2</c:v>
                </c:pt>
                <c:pt idx="2427">
                  <c:v>12012</c:v>
                </c:pt>
                <c:pt idx="2428">
                  <c:v>12793.2</c:v>
                </c:pt>
                <c:pt idx="2429">
                  <c:v>13146</c:v>
                </c:pt>
                <c:pt idx="2430">
                  <c:v>13406.400000000001</c:v>
                </c:pt>
                <c:pt idx="2431">
                  <c:v>13713</c:v>
                </c:pt>
                <c:pt idx="2432">
                  <c:v>13578.6</c:v>
                </c:pt>
                <c:pt idx="2433">
                  <c:v>13599.6</c:v>
                </c:pt>
                <c:pt idx="2434">
                  <c:v>13671</c:v>
                </c:pt>
                <c:pt idx="2435">
                  <c:v>13834.800000000001</c:v>
                </c:pt>
                <c:pt idx="2436">
                  <c:v>13847.400000000001</c:v>
                </c:pt>
                <c:pt idx="2437">
                  <c:v>14523.6</c:v>
                </c:pt>
                <c:pt idx="2438">
                  <c:v>15359.400000000001</c:v>
                </c:pt>
                <c:pt idx="2439">
                  <c:v>16052.400000000001</c:v>
                </c:pt>
                <c:pt idx="2440">
                  <c:v>16577.400000000001</c:v>
                </c:pt>
                <c:pt idx="2441">
                  <c:v>16745.400000000001</c:v>
                </c:pt>
                <c:pt idx="2442">
                  <c:v>16598.400000000001</c:v>
                </c:pt>
                <c:pt idx="2443">
                  <c:v>16535.400000000001</c:v>
                </c:pt>
                <c:pt idx="2444">
                  <c:v>16291.800000000001</c:v>
                </c:pt>
                <c:pt idx="2445">
                  <c:v>16132.2</c:v>
                </c:pt>
                <c:pt idx="2446">
                  <c:v>15930.6</c:v>
                </c:pt>
                <c:pt idx="2447">
                  <c:v>15342.6</c:v>
                </c:pt>
                <c:pt idx="2448">
                  <c:v>15157.800000000001</c:v>
                </c:pt>
                <c:pt idx="2449">
                  <c:v>14641.2</c:v>
                </c:pt>
                <c:pt idx="2450">
                  <c:v>10533.6</c:v>
                </c:pt>
                <c:pt idx="2451">
                  <c:v>10042.200000000001</c:v>
                </c:pt>
                <c:pt idx="2452">
                  <c:v>9802.8000000000011</c:v>
                </c:pt>
                <c:pt idx="2453">
                  <c:v>9802.8000000000011</c:v>
                </c:pt>
                <c:pt idx="2454">
                  <c:v>10193.4</c:v>
                </c:pt>
                <c:pt idx="2455">
                  <c:v>10668</c:v>
                </c:pt>
                <c:pt idx="2456">
                  <c:v>11407.2</c:v>
                </c:pt>
                <c:pt idx="2457">
                  <c:v>11911.2</c:v>
                </c:pt>
                <c:pt idx="2458">
                  <c:v>12558</c:v>
                </c:pt>
                <c:pt idx="2459">
                  <c:v>13280.400000000001</c:v>
                </c:pt>
                <c:pt idx="2460">
                  <c:v>13847.400000000001</c:v>
                </c:pt>
                <c:pt idx="2461">
                  <c:v>14452.2</c:v>
                </c:pt>
                <c:pt idx="2462">
                  <c:v>14733.6</c:v>
                </c:pt>
                <c:pt idx="2463">
                  <c:v>15002.400000000001</c:v>
                </c:pt>
                <c:pt idx="2464">
                  <c:v>15153.6</c:v>
                </c:pt>
                <c:pt idx="2465">
                  <c:v>15300.6</c:v>
                </c:pt>
                <c:pt idx="2466">
                  <c:v>17224.2</c:v>
                </c:pt>
                <c:pt idx="2467">
                  <c:v>16905</c:v>
                </c:pt>
                <c:pt idx="2468">
                  <c:v>16430.400000000001</c:v>
                </c:pt>
                <c:pt idx="2469">
                  <c:v>15737.400000000001</c:v>
                </c:pt>
                <c:pt idx="2470">
                  <c:v>15372</c:v>
                </c:pt>
                <c:pt idx="2471">
                  <c:v>14750.400000000001</c:v>
                </c:pt>
                <c:pt idx="2472">
                  <c:v>14095.2</c:v>
                </c:pt>
                <c:pt idx="2473">
                  <c:v>13532.400000000001</c:v>
                </c:pt>
                <c:pt idx="2474">
                  <c:v>13360.2</c:v>
                </c:pt>
                <c:pt idx="2475">
                  <c:v>12797.4</c:v>
                </c:pt>
                <c:pt idx="2476">
                  <c:v>12033</c:v>
                </c:pt>
                <c:pt idx="2477">
                  <c:v>11373.6</c:v>
                </c:pt>
                <c:pt idx="2478">
                  <c:v>10542</c:v>
                </c:pt>
                <c:pt idx="2479">
                  <c:v>9970.8000000000011</c:v>
                </c:pt>
                <c:pt idx="2480">
                  <c:v>9114</c:v>
                </c:pt>
                <c:pt idx="2481">
                  <c:v>7858.2000000000007</c:v>
                </c:pt>
                <c:pt idx="2482">
                  <c:v>6531</c:v>
                </c:pt>
                <c:pt idx="2483">
                  <c:v>5619.6</c:v>
                </c:pt>
                <c:pt idx="2484">
                  <c:v>4977</c:v>
                </c:pt>
                <c:pt idx="2485">
                  <c:v>4914</c:v>
                </c:pt>
                <c:pt idx="2486">
                  <c:v>5455.8</c:v>
                </c:pt>
                <c:pt idx="2487">
                  <c:v>6165.6</c:v>
                </c:pt>
                <c:pt idx="2488">
                  <c:v>6682.2000000000007</c:v>
                </c:pt>
                <c:pt idx="2489">
                  <c:v>7660.8</c:v>
                </c:pt>
                <c:pt idx="2490">
                  <c:v>8379</c:v>
                </c:pt>
                <c:pt idx="2491">
                  <c:v>8920.8000000000011</c:v>
                </c:pt>
                <c:pt idx="2492">
                  <c:v>9702</c:v>
                </c:pt>
                <c:pt idx="2493">
                  <c:v>9794.4</c:v>
                </c:pt>
                <c:pt idx="2494">
                  <c:v>9664.2000000000007</c:v>
                </c:pt>
                <c:pt idx="2495">
                  <c:v>9882.6</c:v>
                </c:pt>
                <c:pt idx="2496">
                  <c:v>10214.4</c:v>
                </c:pt>
                <c:pt idx="2497">
                  <c:v>10172.4</c:v>
                </c:pt>
                <c:pt idx="2498">
                  <c:v>10122</c:v>
                </c:pt>
                <c:pt idx="2499">
                  <c:v>9773.4</c:v>
                </c:pt>
                <c:pt idx="2500">
                  <c:v>9307.2000000000007</c:v>
                </c:pt>
                <c:pt idx="2501">
                  <c:v>8929.2000000000007</c:v>
                </c:pt>
                <c:pt idx="2502">
                  <c:v>8681.4</c:v>
                </c:pt>
                <c:pt idx="2503">
                  <c:v>8223.6</c:v>
                </c:pt>
                <c:pt idx="2504">
                  <c:v>7765.8</c:v>
                </c:pt>
                <c:pt idx="2505">
                  <c:v>7035</c:v>
                </c:pt>
                <c:pt idx="2506">
                  <c:v>6560.4000000000005</c:v>
                </c:pt>
                <c:pt idx="2507">
                  <c:v>6161.4000000000005</c:v>
                </c:pt>
                <c:pt idx="2508">
                  <c:v>6031.2</c:v>
                </c:pt>
                <c:pt idx="2509">
                  <c:v>5775</c:v>
                </c:pt>
                <c:pt idx="2510">
                  <c:v>6006</c:v>
                </c:pt>
                <c:pt idx="2511">
                  <c:v>6048</c:v>
                </c:pt>
                <c:pt idx="2512">
                  <c:v>6476.4000000000005</c:v>
                </c:pt>
                <c:pt idx="2513">
                  <c:v>7114.8</c:v>
                </c:pt>
                <c:pt idx="2514">
                  <c:v>7761.6</c:v>
                </c:pt>
                <c:pt idx="2515">
                  <c:v>8219.4</c:v>
                </c:pt>
                <c:pt idx="2516">
                  <c:v>8715</c:v>
                </c:pt>
                <c:pt idx="2517">
                  <c:v>9109.8000000000011</c:v>
                </c:pt>
                <c:pt idx="2518">
                  <c:v>9714.6</c:v>
                </c:pt>
                <c:pt idx="2519">
                  <c:v>10122</c:v>
                </c:pt>
                <c:pt idx="2520">
                  <c:v>10483.200000000001</c:v>
                </c:pt>
                <c:pt idx="2521">
                  <c:v>10819.2</c:v>
                </c:pt>
                <c:pt idx="2522">
                  <c:v>11172</c:v>
                </c:pt>
                <c:pt idx="2523">
                  <c:v>11365.2</c:v>
                </c:pt>
                <c:pt idx="2524">
                  <c:v>11642.4</c:v>
                </c:pt>
                <c:pt idx="2525">
                  <c:v>11764.2</c:v>
                </c:pt>
                <c:pt idx="2526">
                  <c:v>11701.2</c:v>
                </c:pt>
                <c:pt idx="2527">
                  <c:v>11461.800000000001</c:v>
                </c:pt>
                <c:pt idx="2528">
                  <c:v>11159.4</c:v>
                </c:pt>
                <c:pt idx="2529">
                  <c:v>10613.4</c:v>
                </c:pt>
                <c:pt idx="2530">
                  <c:v>10155.6</c:v>
                </c:pt>
                <c:pt idx="2531">
                  <c:v>9907.8000000000011</c:v>
                </c:pt>
                <c:pt idx="2532">
                  <c:v>10134.6</c:v>
                </c:pt>
                <c:pt idx="2533">
                  <c:v>10113.6</c:v>
                </c:pt>
                <c:pt idx="2534">
                  <c:v>10550.4</c:v>
                </c:pt>
                <c:pt idx="2535">
                  <c:v>10957.800000000001</c:v>
                </c:pt>
                <c:pt idx="2536">
                  <c:v>11117.4</c:v>
                </c:pt>
                <c:pt idx="2537">
                  <c:v>11432.4</c:v>
                </c:pt>
                <c:pt idx="2538">
                  <c:v>11587.800000000001</c:v>
                </c:pt>
                <c:pt idx="2539">
                  <c:v>11054.4</c:v>
                </c:pt>
                <c:pt idx="2540">
                  <c:v>10550.4</c:v>
                </c:pt>
                <c:pt idx="2541">
                  <c:v>9710.4</c:v>
                </c:pt>
                <c:pt idx="2542">
                  <c:v>9681</c:v>
                </c:pt>
                <c:pt idx="2543">
                  <c:v>9760.8000000000011</c:v>
                </c:pt>
                <c:pt idx="2544">
                  <c:v>9458.4</c:v>
                </c:pt>
                <c:pt idx="2545">
                  <c:v>9403.8000000000011</c:v>
                </c:pt>
                <c:pt idx="2546">
                  <c:v>10449.6</c:v>
                </c:pt>
                <c:pt idx="2547">
                  <c:v>10294.200000000001</c:v>
                </c:pt>
                <c:pt idx="2548">
                  <c:v>10365.6</c:v>
                </c:pt>
                <c:pt idx="2549">
                  <c:v>10168.200000000001</c:v>
                </c:pt>
                <c:pt idx="2550">
                  <c:v>9840.6</c:v>
                </c:pt>
                <c:pt idx="2551">
                  <c:v>9828</c:v>
                </c:pt>
                <c:pt idx="2552">
                  <c:v>9324</c:v>
                </c:pt>
                <c:pt idx="2553">
                  <c:v>8631</c:v>
                </c:pt>
                <c:pt idx="2554">
                  <c:v>8169</c:v>
                </c:pt>
                <c:pt idx="2555">
                  <c:v>7967.4000000000005</c:v>
                </c:pt>
                <c:pt idx="2556">
                  <c:v>7959</c:v>
                </c:pt>
                <c:pt idx="2557">
                  <c:v>7996.8</c:v>
                </c:pt>
                <c:pt idx="2558">
                  <c:v>7816.2000000000007</c:v>
                </c:pt>
                <c:pt idx="2559">
                  <c:v>7896</c:v>
                </c:pt>
                <c:pt idx="2560">
                  <c:v>7765.8</c:v>
                </c:pt>
                <c:pt idx="2561">
                  <c:v>7623</c:v>
                </c:pt>
                <c:pt idx="2562">
                  <c:v>7518</c:v>
                </c:pt>
                <c:pt idx="2563">
                  <c:v>7299.6</c:v>
                </c:pt>
                <c:pt idx="2564">
                  <c:v>6980.4000000000005</c:v>
                </c:pt>
                <c:pt idx="2565">
                  <c:v>6640.2000000000007</c:v>
                </c:pt>
                <c:pt idx="2566">
                  <c:v>6220.2</c:v>
                </c:pt>
                <c:pt idx="2567">
                  <c:v>6232.8</c:v>
                </c:pt>
                <c:pt idx="2568">
                  <c:v>6438.6</c:v>
                </c:pt>
                <c:pt idx="2569">
                  <c:v>6770.4000000000005</c:v>
                </c:pt>
                <c:pt idx="2570">
                  <c:v>7308</c:v>
                </c:pt>
                <c:pt idx="2571">
                  <c:v>7350</c:v>
                </c:pt>
                <c:pt idx="2572">
                  <c:v>7476</c:v>
                </c:pt>
                <c:pt idx="2573">
                  <c:v>7316.4000000000005</c:v>
                </c:pt>
                <c:pt idx="2574">
                  <c:v>7459.2000000000007</c:v>
                </c:pt>
                <c:pt idx="2575">
                  <c:v>7190.4000000000005</c:v>
                </c:pt>
                <c:pt idx="2576">
                  <c:v>6799.8</c:v>
                </c:pt>
                <c:pt idx="2577">
                  <c:v>6480.6</c:v>
                </c:pt>
                <c:pt idx="2578">
                  <c:v>5850.6</c:v>
                </c:pt>
                <c:pt idx="2579">
                  <c:v>5640.6</c:v>
                </c:pt>
                <c:pt idx="2580">
                  <c:v>5451.6</c:v>
                </c:pt>
                <c:pt idx="2581">
                  <c:v>5607</c:v>
                </c:pt>
                <c:pt idx="2582">
                  <c:v>5917.8</c:v>
                </c:pt>
                <c:pt idx="2583">
                  <c:v>6589.8</c:v>
                </c:pt>
                <c:pt idx="2584">
                  <c:v>7026.6</c:v>
                </c:pt>
                <c:pt idx="2585">
                  <c:v>7387.8</c:v>
                </c:pt>
                <c:pt idx="2586">
                  <c:v>7690.2000000000007</c:v>
                </c:pt>
                <c:pt idx="2587">
                  <c:v>7791</c:v>
                </c:pt>
                <c:pt idx="2588">
                  <c:v>7744.8</c:v>
                </c:pt>
                <c:pt idx="2589">
                  <c:v>7555.8</c:v>
                </c:pt>
                <c:pt idx="2590">
                  <c:v>7946.4000000000005</c:v>
                </c:pt>
                <c:pt idx="2591">
                  <c:v>7795.2000000000007</c:v>
                </c:pt>
                <c:pt idx="2592">
                  <c:v>8761.2000000000007</c:v>
                </c:pt>
                <c:pt idx="2593">
                  <c:v>9156</c:v>
                </c:pt>
                <c:pt idx="2594">
                  <c:v>8299.2000000000007</c:v>
                </c:pt>
                <c:pt idx="2595">
                  <c:v>8467.2000000000007</c:v>
                </c:pt>
                <c:pt idx="2596">
                  <c:v>8530.2000000000007</c:v>
                </c:pt>
                <c:pt idx="2597">
                  <c:v>8916.6</c:v>
                </c:pt>
                <c:pt idx="2598">
                  <c:v>9252.6</c:v>
                </c:pt>
                <c:pt idx="2599">
                  <c:v>9412.2000000000007</c:v>
                </c:pt>
                <c:pt idx="2600">
                  <c:v>9664.2000000000007</c:v>
                </c:pt>
                <c:pt idx="2601">
                  <c:v>9618</c:v>
                </c:pt>
                <c:pt idx="2602">
                  <c:v>9500.4</c:v>
                </c:pt>
                <c:pt idx="2603">
                  <c:v>9559.2000000000007</c:v>
                </c:pt>
                <c:pt idx="2604">
                  <c:v>9933</c:v>
                </c:pt>
                <c:pt idx="2605">
                  <c:v>9958.2000000000007</c:v>
                </c:pt>
                <c:pt idx="2606">
                  <c:v>10235.4</c:v>
                </c:pt>
                <c:pt idx="2607">
                  <c:v>10609.2</c:v>
                </c:pt>
                <c:pt idx="2608">
                  <c:v>11067</c:v>
                </c:pt>
                <c:pt idx="2609">
                  <c:v>11646.6</c:v>
                </c:pt>
                <c:pt idx="2610">
                  <c:v>12310.2</c:v>
                </c:pt>
                <c:pt idx="2611">
                  <c:v>12969.6</c:v>
                </c:pt>
                <c:pt idx="2612">
                  <c:v>13179.6</c:v>
                </c:pt>
                <c:pt idx="2613">
                  <c:v>13482</c:v>
                </c:pt>
                <c:pt idx="2614">
                  <c:v>13645.800000000001</c:v>
                </c:pt>
                <c:pt idx="2615">
                  <c:v>13456.800000000001</c:v>
                </c:pt>
                <c:pt idx="2616">
                  <c:v>13393.800000000001</c:v>
                </c:pt>
                <c:pt idx="2617">
                  <c:v>13423.2</c:v>
                </c:pt>
                <c:pt idx="2618">
                  <c:v>13797</c:v>
                </c:pt>
                <c:pt idx="2619">
                  <c:v>13377</c:v>
                </c:pt>
                <c:pt idx="2620">
                  <c:v>12847.800000000001</c:v>
                </c:pt>
                <c:pt idx="2621">
                  <c:v>12385.800000000001</c:v>
                </c:pt>
                <c:pt idx="2622">
                  <c:v>11776.800000000001</c:v>
                </c:pt>
                <c:pt idx="2623">
                  <c:v>10945.2</c:v>
                </c:pt>
                <c:pt idx="2624">
                  <c:v>10197.6</c:v>
                </c:pt>
                <c:pt idx="2625">
                  <c:v>8920.8000000000011</c:v>
                </c:pt>
                <c:pt idx="2626">
                  <c:v>8047.2000000000007</c:v>
                </c:pt>
                <c:pt idx="2627">
                  <c:v>7051.8</c:v>
                </c:pt>
                <c:pt idx="2628">
                  <c:v>6132</c:v>
                </c:pt>
                <c:pt idx="2629">
                  <c:v>5481</c:v>
                </c:pt>
                <c:pt idx="2630">
                  <c:v>5556.6</c:v>
                </c:pt>
                <c:pt idx="2631">
                  <c:v>5485.2</c:v>
                </c:pt>
                <c:pt idx="2632">
                  <c:v>6039.6</c:v>
                </c:pt>
                <c:pt idx="2633">
                  <c:v>6598.2000000000007</c:v>
                </c:pt>
                <c:pt idx="2634">
                  <c:v>7081.2000000000007</c:v>
                </c:pt>
                <c:pt idx="2635">
                  <c:v>7404.6</c:v>
                </c:pt>
                <c:pt idx="2636">
                  <c:v>7526.4000000000005</c:v>
                </c:pt>
                <c:pt idx="2637">
                  <c:v>7711.2000000000007</c:v>
                </c:pt>
                <c:pt idx="2638">
                  <c:v>7820.4000000000005</c:v>
                </c:pt>
                <c:pt idx="2639">
                  <c:v>7904.4000000000005</c:v>
                </c:pt>
                <c:pt idx="2640">
                  <c:v>8463</c:v>
                </c:pt>
                <c:pt idx="2641">
                  <c:v>8673</c:v>
                </c:pt>
                <c:pt idx="2642">
                  <c:v>9752.4</c:v>
                </c:pt>
                <c:pt idx="2643">
                  <c:v>9756.6</c:v>
                </c:pt>
                <c:pt idx="2644">
                  <c:v>9433.2000000000007</c:v>
                </c:pt>
                <c:pt idx="2645">
                  <c:v>9219</c:v>
                </c:pt>
                <c:pt idx="2646">
                  <c:v>9025.8000000000011</c:v>
                </c:pt>
                <c:pt idx="2647">
                  <c:v>8517.6</c:v>
                </c:pt>
                <c:pt idx="2648">
                  <c:v>7610.4000000000005</c:v>
                </c:pt>
                <c:pt idx="2649">
                  <c:v>6518.4000000000005</c:v>
                </c:pt>
                <c:pt idx="2650">
                  <c:v>5523</c:v>
                </c:pt>
                <c:pt idx="2651">
                  <c:v>4086.6000000000004</c:v>
                </c:pt>
                <c:pt idx="2652">
                  <c:v>3250.8</c:v>
                </c:pt>
                <c:pt idx="2653">
                  <c:v>2234.4</c:v>
                </c:pt>
                <c:pt idx="2654">
                  <c:v>1596</c:v>
                </c:pt>
                <c:pt idx="2655">
                  <c:v>1381.8</c:v>
                </c:pt>
                <c:pt idx="2656">
                  <c:v>1407</c:v>
                </c:pt>
                <c:pt idx="2657">
                  <c:v>1512</c:v>
                </c:pt>
                <c:pt idx="2658">
                  <c:v>1722</c:v>
                </c:pt>
                <c:pt idx="2659">
                  <c:v>1801.8000000000002</c:v>
                </c:pt>
                <c:pt idx="2660">
                  <c:v>2221.8000000000002</c:v>
                </c:pt>
                <c:pt idx="2661">
                  <c:v>2692.2000000000003</c:v>
                </c:pt>
                <c:pt idx="2662">
                  <c:v>3183.6</c:v>
                </c:pt>
                <c:pt idx="2663">
                  <c:v>4221</c:v>
                </c:pt>
                <c:pt idx="2664">
                  <c:v>5556.6</c:v>
                </c:pt>
                <c:pt idx="2665">
                  <c:v>6249.6</c:v>
                </c:pt>
                <c:pt idx="2666">
                  <c:v>6724.2000000000007</c:v>
                </c:pt>
                <c:pt idx="2667">
                  <c:v>7005.6</c:v>
                </c:pt>
                <c:pt idx="2668">
                  <c:v>6904.8</c:v>
                </c:pt>
                <c:pt idx="2669">
                  <c:v>7270.2000000000007</c:v>
                </c:pt>
                <c:pt idx="2670">
                  <c:v>7404.6</c:v>
                </c:pt>
                <c:pt idx="2671">
                  <c:v>7736.4000000000005</c:v>
                </c:pt>
                <c:pt idx="2672">
                  <c:v>7749</c:v>
                </c:pt>
                <c:pt idx="2673">
                  <c:v>7627.2000000000007</c:v>
                </c:pt>
                <c:pt idx="2674">
                  <c:v>7450.8</c:v>
                </c:pt>
                <c:pt idx="2675">
                  <c:v>7375.2000000000007</c:v>
                </c:pt>
                <c:pt idx="2676">
                  <c:v>7320.6</c:v>
                </c:pt>
                <c:pt idx="2677">
                  <c:v>7429.8</c:v>
                </c:pt>
                <c:pt idx="2678">
                  <c:v>7581</c:v>
                </c:pt>
                <c:pt idx="2679">
                  <c:v>7715.4000000000005</c:v>
                </c:pt>
                <c:pt idx="2680">
                  <c:v>7908.6</c:v>
                </c:pt>
                <c:pt idx="2681">
                  <c:v>8152.2000000000007</c:v>
                </c:pt>
                <c:pt idx="2682">
                  <c:v>8286.6</c:v>
                </c:pt>
                <c:pt idx="2683">
                  <c:v>8211</c:v>
                </c:pt>
                <c:pt idx="2684">
                  <c:v>8240.4</c:v>
                </c:pt>
                <c:pt idx="2685">
                  <c:v>8290.8000000000011</c:v>
                </c:pt>
                <c:pt idx="2686">
                  <c:v>9370.2000000000007</c:v>
                </c:pt>
                <c:pt idx="2687">
                  <c:v>10453.800000000001</c:v>
                </c:pt>
                <c:pt idx="2688">
                  <c:v>11961.6</c:v>
                </c:pt>
                <c:pt idx="2689">
                  <c:v>12940.2</c:v>
                </c:pt>
                <c:pt idx="2690">
                  <c:v>15107.400000000001</c:v>
                </c:pt>
                <c:pt idx="2691">
                  <c:v>15657.6</c:v>
                </c:pt>
                <c:pt idx="2692">
                  <c:v>16077.6</c:v>
                </c:pt>
                <c:pt idx="2693">
                  <c:v>16317</c:v>
                </c:pt>
                <c:pt idx="2694">
                  <c:v>16212</c:v>
                </c:pt>
                <c:pt idx="2695">
                  <c:v>16102.800000000001</c:v>
                </c:pt>
                <c:pt idx="2696">
                  <c:v>15649.2</c:v>
                </c:pt>
                <c:pt idx="2697">
                  <c:v>15107.400000000001</c:v>
                </c:pt>
                <c:pt idx="2698">
                  <c:v>14292.6</c:v>
                </c:pt>
                <c:pt idx="2699">
                  <c:v>14065.800000000001</c:v>
                </c:pt>
                <c:pt idx="2700">
                  <c:v>13574.400000000001</c:v>
                </c:pt>
                <c:pt idx="2701">
                  <c:v>13578.6</c:v>
                </c:pt>
                <c:pt idx="2702">
                  <c:v>13629</c:v>
                </c:pt>
                <c:pt idx="2703">
                  <c:v>13977.6</c:v>
                </c:pt>
                <c:pt idx="2704">
                  <c:v>14548.800000000001</c:v>
                </c:pt>
                <c:pt idx="2705">
                  <c:v>14842.800000000001</c:v>
                </c:pt>
                <c:pt idx="2706">
                  <c:v>15237.6</c:v>
                </c:pt>
                <c:pt idx="2707">
                  <c:v>15178.800000000001</c:v>
                </c:pt>
                <c:pt idx="2708">
                  <c:v>14889</c:v>
                </c:pt>
                <c:pt idx="2709">
                  <c:v>14019.6</c:v>
                </c:pt>
                <c:pt idx="2710">
                  <c:v>13431.6</c:v>
                </c:pt>
                <c:pt idx="2711">
                  <c:v>12986.400000000001</c:v>
                </c:pt>
                <c:pt idx="2712">
                  <c:v>12465.6</c:v>
                </c:pt>
                <c:pt idx="2713">
                  <c:v>11831.4</c:v>
                </c:pt>
                <c:pt idx="2714">
                  <c:v>11940.6</c:v>
                </c:pt>
                <c:pt idx="2715">
                  <c:v>11243.4</c:v>
                </c:pt>
                <c:pt idx="2716">
                  <c:v>10651.2</c:v>
                </c:pt>
                <c:pt idx="2717">
                  <c:v>10504.2</c:v>
                </c:pt>
                <c:pt idx="2718">
                  <c:v>10054.800000000001</c:v>
                </c:pt>
                <c:pt idx="2719">
                  <c:v>9450</c:v>
                </c:pt>
                <c:pt idx="2720">
                  <c:v>8664.6</c:v>
                </c:pt>
                <c:pt idx="2721">
                  <c:v>7803.6</c:v>
                </c:pt>
                <c:pt idx="2722">
                  <c:v>6993</c:v>
                </c:pt>
                <c:pt idx="2723">
                  <c:v>6468</c:v>
                </c:pt>
                <c:pt idx="2724">
                  <c:v>6052.2</c:v>
                </c:pt>
                <c:pt idx="2725">
                  <c:v>5741.4000000000005</c:v>
                </c:pt>
                <c:pt idx="2726">
                  <c:v>5653.2</c:v>
                </c:pt>
                <c:pt idx="2727">
                  <c:v>5573.4000000000005</c:v>
                </c:pt>
                <c:pt idx="2728">
                  <c:v>5518.8</c:v>
                </c:pt>
                <c:pt idx="2729">
                  <c:v>5779.2</c:v>
                </c:pt>
                <c:pt idx="2730">
                  <c:v>5867.4000000000005</c:v>
                </c:pt>
                <c:pt idx="2731">
                  <c:v>5514.6</c:v>
                </c:pt>
                <c:pt idx="2732">
                  <c:v>5086.2</c:v>
                </c:pt>
                <c:pt idx="2733">
                  <c:v>4489.8</c:v>
                </c:pt>
                <c:pt idx="2734">
                  <c:v>4342.8</c:v>
                </c:pt>
                <c:pt idx="2735">
                  <c:v>4494</c:v>
                </c:pt>
                <c:pt idx="2736">
                  <c:v>4687.2</c:v>
                </c:pt>
                <c:pt idx="2737">
                  <c:v>4846.8</c:v>
                </c:pt>
                <c:pt idx="2738">
                  <c:v>3036.6</c:v>
                </c:pt>
                <c:pt idx="2739">
                  <c:v>2851.8</c:v>
                </c:pt>
                <c:pt idx="2740">
                  <c:v>2776.2000000000003</c:v>
                </c:pt>
                <c:pt idx="2741">
                  <c:v>2704.8</c:v>
                </c:pt>
                <c:pt idx="2742">
                  <c:v>2612.4</c:v>
                </c:pt>
                <c:pt idx="2743">
                  <c:v>2696.4</c:v>
                </c:pt>
                <c:pt idx="2744">
                  <c:v>2776.2000000000003</c:v>
                </c:pt>
                <c:pt idx="2745">
                  <c:v>2860.2000000000003</c:v>
                </c:pt>
                <c:pt idx="2746">
                  <c:v>3066</c:v>
                </c:pt>
                <c:pt idx="2747">
                  <c:v>3460.8</c:v>
                </c:pt>
                <c:pt idx="2748">
                  <c:v>3864</c:v>
                </c:pt>
                <c:pt idx="2749">
                  <c:v>4758.6000000000004</c:v>
                </c:pt>
                <c:pt idx="2750">
                  <c:v>5892.6</c:v>
                </c:pt>
                <c:pt idx="2751">
                  <c:v>6140.4000000000005</c:v>
                </c:pt>
                <c:pt idx="2752">
                  <c:v>7089.6</c:v>
                </c:pt>
                <c:pt idx="2753">
                  <c:v>7534.8</c:v>
                </c:pt>
                <c:pt idx="2754">
                  <c:v>7673.4000000000005</c:v>
                </c:pt>
                <c:pt idx="2755">
                  <c:v>8101.8</c:v>
                </c:pt>
                <c:pt idx="2756">
                  <c:v>8450.4</c:v>
                </c:pt>
                <c:pt idx="2757">
                  <c:v>8715</c:v>
                </c:pt>
                <c:pt idx="2758">
                  <c:v>8857.8000000000011</c:v>
                </c:pt>
                <c:pt idx="2759">
                  <c:v>9013.2000000000007</c:v>
                </c:pt>
                <c:pt idx="2760">
                  <c:v>9496.2000000000007</c:v>
                </c:pt>
                <c:pt idx="2761">
                  <c:v>9550.8000000000011</c:v>
                </c:pt>
                <c:pt idx="2762">
                  <c:v>9844.8000000000011</c:v>
                </c:pt>
                <c:pt idx="2763">
                  <c:v>9735.6</c:v>
                </c:pt>
                <c:pt idx="2764">
                  <c:v>9920.4</c:v>
                </c:pt>
                <c:pt idx="2765">
                  <c:v>10084.200000000001</c:v>
                </c:pt>
                <c:pt idx="2766">
                  <c:v>9651.6</c:v>
                </c:pt>
                <c:pt idx="2767">
                  <c:v>9030</c:v>
                </c:pt>
                <c:pt idx="2768">
                  <c:v>8815.8000000000011</c:v>
                </c:pt>
                <c:pt idx="2769">
                  <c:v>8206.8000000000011</c:v>
                </c:pt>
                <c:pt idx="2770">
                  <c:v>8047.2000000000007</c:v>
                </c:pt>
                <c:pt idx="2771">
                  <c:v>8051.4000000000005</c:v>
                </c:pt>
                <c:pt idx="2772">
                  <c:v>7820.4000000000005</c:v>
                </c:pt>
                <c:pt idx="2773">
                  <c:v>7585.2000000000007</c:v>
                </c:pt>
                <c:pt idx="2774">
                  <c:v>7358.4000000000005</c:v>
                </c:pt>
                <c:pt idx="2775">
                  <c:v>7219.8</c:v>
                </c:pt>
                <c:pt idx="2776">
                  <c:v>6942.6</c:v>
                </c:pt>
                <c:pt idx="2777">
                  <c:v>6522.6</c:v>
                </c:pt>
                <c:pt idx="2778">
                  <c:v>6148.8</c:v>
                </c:pt>
                <c:pt idx="2779">
                  <c:v>5384.4000000000005</c:v>
                </c:pt>
                <c:pt idx="2780">
                  <c:v>4599</c:v>
                </c:pt>
                <c:pt idx="2781">
                  <c:v>3901.8</c:v>
                </c:pt>
                <c:pt idx="2782">
                  <c:v>3431.4</c:v>
                </c:pt>
                <c:pt idx="2783">
                  <c:v>3045</c:v>
                </c:pt>
                <c:pt idx="2784">
                  <c:v>2851.8</c:v>
                </c:pt>
                <c:pt idx="2785">
                  <c:v>2818.2000000000003</c:v>
                </c:pt>
                <c:pt idx="2786">
                  <c:v>2583</c:v>
                </c:pt>
                <c:pt idx="2787">
                  <c:v>2427.6</c:v>
                </c:pt>
                <c:pt idx="2788">
                  <c:v>2217.6</c:v>
                </c:pt>
                <c:pt idx="2789">
                  <c:v>2074.8000000000002</c:v>
                </c:pt>
                <c:pt idx="2790">
                  <c:v>1932</c:v>
                </c:pt>
                <c:pt idx="2791">
                  <c:v>1680</c:v>
                </c:pt>
                <c:pt idx="2792">
                  <c:v>1411.2</c:v>
                </c:pt>
                <c:pt idx="2793">
                  <c:v>1113</c:v>
                </c:pt>
                <c:pt idx="2794">
                  <c:v>974.40000000000009</c:v>
                </c:pt>
                <c:pt idx="2795">
                  <c:v>1117.2</c:v>
                </c:pt>
                <c:pt idx="2796">
                  <c:v>1079.4000000000001</c:v>
                </c:pt>
                <c:pt idx="2797">
                  <c:v>1247.4000000000001</c:v>
                </c:pt>
                <c:pt idx="2798">
                  <c:v>1381.8</c:v>
                </c:pt>
                <c:pt idx="2799">
                  <c:v>1570.8</c:v>
                </c:pt>
                <c:pt idx="2800">
                  <c:v>1713.6000000000001</c:v>
                </c:pt>
                <c:pt idx="2801">
                  <c:v>1932</c:v>
                </c:pt>
                <c:pt idx="2802">
                  <c:v>2020.2</c:v>
                </c:pt>
                <c:pt idx="2803">
                  <c:v>2142</c:v>
                </c:pt>
                <c:pt idx="2804">
                  <c:v>2087.4</c:v>
                </c:pt>
                <c:pt idx="2805">
                  <c:v>2100</c:v>
                </c:pt>
                <c:pt idx="2806">
                  <c:v>2133.6</c:v>
                </c:pt>
                <c:pt idx="2807">
                  <c:v>2217.6</c:v>
                </c:pt>
                <c:pt idx="2808">
                  <c:v>2545.2000000000003</c:v>
                </c:pt>
                <c:pt idx="2809">
                  <c:v>2843.4</c:v>
                </c:pt>
                <c:pt idx="2810">
                  <c:v>3721.2000000000003</c:v>
                </c:pt>
                <c:pt idx="2811">
                  <c:v>3780</c:v>
                </c:pt>
                <c:pt idx="2812">
                  <c:v>3834.6000000000004</c:v>
                </c:pt>
                <c:pt idx="2813">
                  <c:v>3813.6000000000004</c:v>
                </c:pt>
                <c:pt idx="2814">
                  <c:v>3654</c:v>
                </c:pt>
                <c:pt idx="2815">
                  <c:v>3511.2000000000003</c:v>
                </c:pt>
                <c:pt idx="2816">
                  <c:v>3259.2000000000003</c:v>
                </c:pt>
                <c:pt idx="2817">
                  <c:v>2646</c:v>
                </c:pt>
                <c:pt idx="2818">
                  <c:v>2289</c:v>
                </c:pt>
                <c:pt idx="2819">
                  <c:v>1902.6000000000001</c:v>
                </c:pt>
                <c:pt idx="2820">
                  <c:v>1629.6000000000001</c:v>
                </c:pt>
                <c:pt idx="2821">
                  <c:v>1617</c:v>
                </c:pt>
                <c:pt idx="2822">
                  <c:v>1835.4</c:v>
                </c:pt>
                <c:pt idx="2823">
                  <c:v>1906.8000000000002</c:v>
                </c:pt>
                <c:pt idx="2824">
                  <c:v>2011.8000000000002</c:v>
                </c:pt>
                <c:pt idx="2825">
                  <c:v>2205</c:v>
                </c:pt>
                <c:pt idx="2826">
                  <c:v>2465.4</c:v>
                </c:pt>
                <c:pt idx="2827">
                  <c:v>2553.6</c:v>
                </c:pt>
                <c:pt idx="2828">
                  <c:v>2528.4</c:v>
                </c:pt>
                <c:pt idx="2829">
                  <c:v>2360.4</c:v>
                </c:pt>
                <c:pt idx="2830">
                  <c:v>2112.6</c:v>
                </c:pt>
                <c:pt idx="2831">
                  <c:v>2305.8000000000002</c:v>
                </c:pt>
                <c:pt idx="2832">
                  <c:v>2591.4</c:v>
                </c:pt>
                <c:pt idx="2833">
                  <c:v>2956.8</c:v>
                </c:pt>
                <c:pt idx="2834">
                  <c:v>2851.8</c:v>
                </c:pt>
                <c:pt idx="2835">
                  <c:v>3078.6</c:v>
                </c:pt>
                <c:pt idx="2836">
                  <c:v>3284.4</c:v>
                </c:pt>
                <c:pt idx="2837">
                  <c:v>3385.2000000000003</c:v>
                </c:pt>
                <c:pt idx="2838">
                  <c:v>3431.4</c:v>
                </c:pt>
                <c:pt idx="2839">
                  <c:v>3561.6000000000004</c:v>
                </c:pt>
                <c:pt idx="2840">
                  <c:v>3515.4</c:v>
                </c:pt>
                <c:pt idx="2841">
                  <c:v>3414.6000000000004</c:v>
                </c:pt>
                <c:pt idx="2842">
                  <c:v>3452.4</c:v>
                </c:pt>
                <c:pt idx="2843">
                  <c:v>3792.6000000000004</c:v>
                </c:pt>
                <c:pt idx="2844">
                  <c:v>4086.6000000000004</c:v>
                </c:pt>
                <c:pt idx="2845">
                  <c:v>4687.2</c:v>
                </c:pt>
                <c:pt idx="2846">
                  <c:v>5195.4000000000005</c:v>
                </c:pt>
                <c:pt idx="2847">
                  <c:v>5926.2</c:v>
                </c:pt>
                <c:pt idx="2848">
                  <c:v>6325.2</c:v>
                </c:pt>
                <c:pt idx="2849">
                  <c:v>6493.2000000000007</c:v>
                </c:pt>
                <c:pt idx="2850">
                  <c:v>6489</c:v>
                </c:pt>
                <c:pt idx="2851">
                  <c:v>6384</c:v>
                </c:pt>
                <c:pt idx="2852">
                  <c:v>5762.4000000000005</c:v>
                </c:pt>
                <c:pt idx="2853">
                  <c:v>4876.2</c:v>
                </c:pt>
                <c:pt idx="2854">
                  <c:v>4624.2</c:v>
                </c:pt>
                <c:pt idx="2855">
                  <c:v>4712.4000000000005</c:v>
                </c:pt>
                <c:pt idx="2856">
                  <c:v>4737.6000000000004</c:v>
                </c:pt>
                <c:pt idx="2857">
                  <c:v>4909.8</c:v>
                </c:pt>
                <c:pt idx="2858">
                  <c:v>4691.4000000000005</c:v>
                </c:pt>
                <c:pt idx="2859">
                  <c:v>4809</c:v>
                </c:pt>
                <c:pt idx="2860">
                  <c:v>5241.6000000000004</c:v>
                </c:pt>
                <c:pt idx="2861">
                  <c:v>5556.6</c:v>
                </c:pt>
                <c:pt idx="2862">
                  <c:v>6010.2</c:v>
                </c:pt>
                <c:pt idx="2863">
                  <c:v>6258</c:v>
                </c:pt>
                <c:pt idx="2864">
                  <c:v>6165.6</c:v>
                </c:pt>
                <c:pt idx="2865">
                  <c:v>6140.4000000000005</c:v>
                </c:pt>
                <c:pt idx="2866">
                  <c:v>6064.8</c:v>
                </c:pt>
                <c:pt idx="2867">
                  <c:v>6153</c:v>
                </c:pt>
                <c:pt idx="2868">
                  <c:v>6367.2</c:v>
                </c:pt>
                <c:pt idx="2869">
                  <c:v>6753.6</c:v>
                </c:pt>
                <c:pt idx="2870">
                  <c:v>6934.2000000000007</c:v>
                </c:pt>
                <c:pt idx="2871">
                  <c:v>7064.4000000000005</c:v>
                </c:pt>
                <c:pt idx="2872">
                  <c:v>6942.6</c:v>
                </c:pt>
                <c:pt idx="2873">
                  <c:v>6867</c:v>
                </c:pt>
                <c:pt idx="2874">
                  <c:v>6846</c:v>
                </c:pt>
                <c:pt idx="2875">
                  <c:v>6442.8</c:v>
                </c:pt>
                <c:pt idx="2876">
                  <c:v>6266.4000000000005</c:v>
                </c:pt>
                <c:pt idx="2877">
                  <c:v>6119.4000000000005</c:v>
                </c:pt>
                <c:pt idx="2878">
                  <c:v>5909.4000000000005</c:v>
                </c:pt>
                <c:pt idx="2879">
                  <c:v>5493.6</c:v>
                </c:pt>
                <c:pt idx="2880">
                  <c:v>5065.2</c:v>
                </c:pt>
                <c:pt idx="2881">
                  <c:v>4704</c:v>
                </c:pt>
                <c:pt idx="2882">
                  <c:v>4876.2</c:v>
                </c:pt>
                <c:pt idx="2883">
                  <c:v>4363.8</c:v>
                </c:pt>
                <c:pt idx="2884">
                  <c:v>3876.6000000000004</c:v>
                </c:pt>
                <c:pt idx="2885">
                  <c:v>3591</c:v>
                </c:pt>
                <c:pt idx="2886">
                  <c:v>3166.8</c:v>
                </c:pt>
                <c:pt idx="2887">
                  <c:v>2797.2000000000003</c:v>
                </c:pt>
                <c:pt idx="2888">
                  <c:v>2457</c:v>
                </c:pt>
                <c:pt idx="2889">
                  <c:v>2163</c:v>
                </c:pt>
                <c:pt idx="2890">
                  <c:v>1978.2</c:v>
                </c:pt>
                <c:pt idx="2891">
                  <c:v>1898.4</c:v>
                </c:pt>
                <c:pt idx="2892">
                  <c:v>2284.8000000000002</c:v>
                </c:pt>
                <c:pt idx="2893">
                  <c:v>2410.8000000000002</c:v>
                </c:pt>
                <c:pt idx="2894">
                  <c:v>2163</c:v>
                </c:pt>
                <c:pt idx="2895">
                  <c:v>2381.4</c:v>
                </c:pt>
                <c:pt idx="2896">
                  <c:v>2688</c:v>
                </c:pt>
                <c:pt idx="2897">
                  <c:v>2851.8</c:v>
                </c:pt>
                <c:pt idx="2898">
                  <c:v>3087</c:v>
                </c:pt>
                <c:pt idx="2899">
                  <c:v>3250.8</c:v>
                </c:pt>
                <c:pt idx="2900">
                  <c:v>3246.6000000000004</c:v>
                </c:pt>
                <c:pt idx="2901">
                  <c:v>3435.6000000000004</c:v>
                </c:pt>
                <c:pt idx="2902">
                  <c:v>3759</c:v>
                </c:pt>
                <c:pt idx="2903">
                  <c:v>4187.4000000000005</c:v>
                </c:pt>
                <c:pt idx="2904">
                  <c:v>4712.4000000000005</c:v>
                </c:pt>
                <c:pt idx="2905">
                  <c:v>5170.2</c:v>
                </c:pt>
                <c:pt idx="2906">
                  <c:v>6585.6</c:v>
                </c:pt>
                <c:pt idx="2907">
                  <c:v>7320.6</c:v>
                </c:pt>
                <c:pt idx="2908">
                  <c:v>7933.8</c:v>
                </c:pt>
                <c:pt idx="2909">
                  <c:v>8458.8000000000011</c:v>
                </c:pt>
                <c:pt idx="2910">
                  <c:v>8832.6</c:v>
                </c:pt>
                <c:pt idx="2911">
                  <c:v>9126.6</c:v>
                </c:pt>
                <c:pt idx="2912">
                  <c:v>9294.6</c:v>
                </c:pt>
                <c:pt idx="2913">
                  <c:v>8988</c:v>
                </c:pt>
                <c:pt idx="2914">
                  <c:v>8752.8000000000011</c:v>
                </c:pt>
                <c:pt idx="2915">
                  <c:v>8534.4</c:v>
                </c:pt>
                <c:pt idx="2916">
                  <c:v>8278.2000000000007</c:v>
                </c:pt>
                <c:pt idx="2917">
                  <c:v>8017.8</c:v>
                </c:pt>
                <c:pt idx="2918">
                  <c:v>7875</c:v>
                </c:pt>
                <c:pt idx="2919">
                  <c:v>7623</c:v>
                </c:pt>
                <c:pt idx="2920">
                  <c:v>7404.6</c:v>
                </c:pt>
                <c:pt idx="2921">
                  <c:v>7035</c:v>
                </c:pt>
                <c:pt idx="2922">
                  <c:v>6762</c:v>
                </c:pt>
                <c:pt idx="2923">
                  <c:v>6321</c:v>
                </c:pt>
                <c:pt idx="2924">
                  <c:v>5745.6</c:v>
                </c:pt>
                <c:pt idx="2925">
                  <c:v>5413.8</c:v>
                </c:pt>
                <c:pt idx="2926">
                  <c:v>5178.6000000000004</c:v>
                </c:pt>
                <c:pt idx="2927">
                  <c:v>5002.2</c:v>
                </c:pt>
                <c:pt idx="2928">
                  <c:v>4876.2</c:v>
                </c:pt>
                <c:pt idx="2929">
                  <c:v>4956</c:v>
                </c:pt>
                <c:pt idx="2930">
                  <c:v>4699.8</c:v>
                </c:pt>
                <c:pt idx="2931">
                  <c:v>4762.8</c:v>
                </c:pt>
                <c:pt idx="2932">
                  <c:v>4804.8</c:v>
                </c:pt>
                <c:pt idx="2933">
                  <c:v>4557</c:v>
                </c:pt>
                <c:pt idx="2934">
                  <c:v>4405.8</c:v>
                </c:pt>
                <c:pt idx="2935">
                  <c:v>4153.8</c:v>
                </c:pt>
                <c:pt idx="2936">
                  <c:v>3679.2000000000003</c:v>
                </c:pt>
                <c:pt idx="2937">
                  <c:v>2990.4</c:v>
                </c:pt>
                <c:pt idx="2938">
                  <c:v>2457</c:v>
                </c:pt>
                <c:pt idx="2939">
                  <c:v>2158.8000000000002</c:v>
                </c:pt>
                <c:pt idx="2940">
                  <c:v>1906.8000000000002</c:v>
                </c:pt>
                <c:pt idx="2941">
                  <c:v>2024.4</c:v>
                </c:pt>
                <c:pt idx="2942">
                  <c:v>2230.2000000000003</c:v>
                </c:pt>
                <c:pt idx="2943">
                  <c:v>2368.8000000000002</c:v>
                </c:pt>
                <c:pt idx="2944">
                  <c:v>2389.8000000000002</c:v>
                </c:pt>
                <c:pt idx="2945">
                  <c:v>2574.6</c:v>
                </c:pt>
                <c:pt idx="2946">
                  <c:v>2885.4</c:v>
                </c:pt>
                <c:pt idx="2947">
                  <c:v>2898</c:v>
                </c:pt>
                <c:pt idx="2948">
                  <c:v>3166.8</c:v>
                </c:pt>
                <c:pt idx="2949">
                  <c:v>3578.4</c:v>
                </c:pt>
                <c:pt idx="2950">
                  <c:v>4006.8</c:v>
                </c:pt>
                <c:pt idx="2951">
                  <c:v>4699.8</c:v>
                </c:pt>
                <c:pt idx="2952">
                  <c:v>5577.6</c:v>
                </c:pt>
                <c:pt idx="2953">
                  <c:v>6111</c:v>
                </c:pt>
                <c:pt idx="2954">
                  <c:v>6669.6</c:v>
                </c:pt>
                <c:pt idx="2955">
                  <c:v>6879.6</c:v>
                </c:pt>
                <c:pt idx="2956">
                  <c:v>7144.2000000000007</c:v>
                </c:pt>
                <c:pt idx="2957">
                  <c:v>7497</c:v>
                </c:pt>
                <c:pt idx="2958">
                  <c:v>7942.2000000000007</c:v>
                </c:pt>
                <c:pt idx="2959">
                  <c:v>8219.4</c:v>
                </c:pt>
                <c:pt idx="2960">
                  <c:v>7980</c:v>
                </c:pt>
                <c:pt idx="2961">
                  <c:v>7711.2000000000007</c:v>
                </c:pt>
                <c:pt idx="2962">
                  <c:v>7459.2000000000007</c:v>
                </c:pt>
                <c:pt idx="2963">
                  <c:v>7329</c:v>
                </c:pt>
                <c:pt idx="2964">
                  <c:v>7429.8</c:v>
                </c:pt>
                <c:pt idx="2965">
                  <c:v>7417.2000000000007</c:v>
                </c:pt>
                <c:pt idx="2966">
                  <c:v>7421.4000000000005</c:v>
                </c:pt>
                <c:pt idx="2967">
                  <c:v>7312.2000000000007</c:v>
                </c:pt>
                <c:pt idx="2968">
                  <c:v>7383.6</c:v>
                </c:pt>
                <c:pt idx="2969">
                  <c:v>7366.8</c:v>
                </c:pt>
                <c:pt idx="2970">
                  <c:v>7312.2000000000007</c:v>
                </c:pt>
                <c:pt idx="2971">
                  <c:v>7278.6</c:v>
                </c:pt>
                <c:pt idx="2972">
                  <c:v>7228.2000000000007</c:v>
                </c:pt>
                <c:pt idx="2973">
                  <c:v>6883.8</c:v>
                </c:pt>
                <c:pt idx="2974">
                  <c:v>6867</c:v>
                </c:pt>
                <c:pt idx="2975">
                  <c:v>6741</c:v>
                </c:pt>
                <c:pt idx="2976">
                  <c:v>6279</c:v>
                </c:pt>
                <c:pt idx="2977">
                  <c:v>6018.6</c:v>
                </c:pt>
                <c:pt idx="2978">
                  <c:v>5426.4000000000005</c:v>
                </c:pt>
                <c:pt idx="2979">
                  <c:v>4964.4000000000005</c:v>
                </c:pt>
                <c:pt idx="2980">
                  <c:v>4704</c:v>
                </c:pt>
                <c:pt idx="2981">
                  <c:v>4456.2</c:v>
                </c:pt>
                <c:pt idx="2982">
                  <c:v>4099.2</c:v>
                </c:pt>
                <c:pt idx="2983">
                  <c:v>4090.8</c:v>
                </c:pt>
                <c:pt idx="2984">
                  <c:v>4078.2000000000003</c:v>
                </c:pt>
                <c:pt idx="2985">
                  <c:v>4040.4</c:v>
                </c:pt>
                <c:pt idx="2986">
                  <c:v>3994.2000000000003</c:v>
                </c:pt>
                <c:pt idx="2987">
                  <c:v>4305</c:v>
                </c:pt>
                <c:pt idx="2988">
                  <c:v>4817.4000000000005</c:v>
                </c:pt>
                <c:pt idx="2989">
                  <c:v>5611.2</c:v>
                </c:pt>
                <c:pt idx="2990">
                  <c:v>6283.2</c:v>
                </c:pt>
                <c:pt idx="2991">
                  <c:v>7001.4000000000005</c:v>
                </c:pt>
                <c:pt idx="2992">
                  <c:v>7900.2000000000007</c:v>
                </c:pt>
                <c:pt idx="2993">
                  <c:v>8988</c:v>
                </c:pt>
                <c:pt idx="2994">
                  <c:v>9861.6</c:v>
                </c:pt>
                <c:pt idx="2995">
                  <c:v>10449.6</c:v>
                </c:pt>
                <c:pt idx="2996">
                  <c:v>10831.800000000001</c:v>
                </c:pt>
                <c:pt idx="2997">
                  <c:v>10974.6</c:v>
                </c:pt>
                <c:pt idx="2998">
                  <c:v>11230.800000000001</c:v>
                </c:pt>
                <c:pt idx="2999">
                  <c:v>11369.4</c:v>
                </c:pt>
                <c:pt idx="3000">
                  <c:v>11495.4</c:v>
                </c:pt>
                <c:pt idx="3001">
                  <c:v>11592</c:v>
                </c:pt>
                <c:pt idx="3002">
                  <c:v>12133.800000000001</c:v>
                </c:pt>
                <c:pt idx="3003">
                  <c:v>12293.4</c:v>
                </c:pt>
                <c:pt idx="3004">
                  <c:v>12444.6</c:v>
                </c:pt>
                <c:pt idx="3005">
                  <c:v>12138</c:v>
                </c:pt>
                <c:pt idx="3006">
                  <c:v>11902.800000000001</c:v>
                </c:pt>
                <c:pt idx="3007">
                  <c:v>11516.4</c:v>
                </c:pt>
                <c:pt idx="3008">
                  <c:v>10827.6</c:v>
                </c:pt>
                <c:pt idx="3009">
                  <c:v>10075.800000000001</c:v>
                </c:pt>
                <c:pt idx="3010">
                  <c:v>9840.6</c:v>
                </c:pt>
                <c:pt idx="3011">
                  <c:v>9878.4</c:v>
                </c:pt>
                <c:pt idx="3012">
                  <c:v>9660</c:v>
                </c:pt>
                <c:pt idx="3013">
                  <c:v>9445.8000000000011</c:v>
                </c:pt>
                <c:pt idx="3014">
                  <c:v>9546.6</c:v>
                </c:pt>
                <c:pt idx="3015">
                  <c:v>9609.6</c:v>
                </c:pt>
                <c:pt idx="3016">
                  <c:v>9143.4</c:v>
                </c:pt>
                <c:pt idx="3017">
                  <c:v>8761.2000000000007</c:v>
                </c:pt>
                <c:pt idx="3018">
                  <c:v>8446.2000000000007</c:v>
                </c:pt>
                <c:pt idx="3019">
                  <c:v>8030.4000000000005</c:v>
                </c:pt>
                <c:pt idx="3020">
                  <c:v>7324.8</c:v>
                </c:pt>
                <c:pt idx="3021">
                  <c:v>6594</c:v>
                </c:pt>
                <c:pt idx="3022">
                  <c:v>6384</c:v>
                </c:pt>
                <c:pt idx="3023">
                  <c:v>6342</c:v>
                </c:pt>
                <c:pt idx="3024">
                  <c:v>6417.6</c:v>
                </c:pt>
                <c:pt idx="3025">
                  <c:v>6791.4000000000005</c:v>
                </c:pt>
                <c:pt idx="3026">
                  <c:v>7274.4000000000005</c:v>
                </c:pt>
                <c:pt idx="3027">
                  <c:v>7299.6</c:v>
                </c:pt>
                <c:pt idx="3028">
                  <c:v>7303.8</c:v>
                </c:pt>
                <c:pt idx="3029">
                  <c:v>7060.2000000000007</c:v>
                </c:pt>
                <c:pt idx="3030">
                  <c:v>6892.2000000000007</c:v>
                </c:pt>
                <c:pt idx="3031">
                  <c:v>6787.2000000000007</c:v>
                </c:pt>
                <c:pt idx="3032">
                  <c:v>6778.8</c:v>
                </c:pt>
                <c:pt idx="3033">
                  <c:v>6627.6</c:v>
                </c:pt>
                <c:pt idx="3034">
                  <c:v>6707.4000000000005</c:v>
                </c:pt>
                <c:pt idx="3035">
                  <c:v>7236.6</c:v>
                </c:pt>
                <c:pt idx="3036">
                  <c:v>7828.8</c:v>
                </c:pt>
                <c:pt idx="3037">
                  <c:v>8479.8000000000011</c:v>
                </c:pt>
                <c:pt idx="3038">
                  <c:v>9118.2000000000007</c:v>
                </c:pt>
                <c:pt idx="3039">
                  <c:v>9529.8000000000011</c:v>
                </c:pt>
                <c:pt idx="3040">
                  <c:v>10122</c:v>
                </c:pt>
                <c:pt idx="3041">
                  <c:v>10516.800000000001</c:v>
                </c:pt>
                <c:pt idx="3042">
                  <c:v>10584</c:v>
                </c:pt>
                <c:pt idx="3043">
                  <c:v>10684.800000000001</c:v>
                </c:pt>
                <c:pt idx="3044">
                  <c:v>10491.6</c:v>
                </c:pt>
                <c:pt idx="3045">
                  <c:v>10021.200000000001</c:v>
                </c:pt>
                <c:pt idx="3046">
                  <c:v>9676.8000000000011</c:v>
                </c:pt>
                <c:pt idx="3047">
                  <c:v>9538.2000000000007</c:v>
                </c:pt>
                <c:pt idx="3048">
                  <c:v>9437.4</c:v>
                </c:pt>
                <c:pt idx="3049">
                  <c:v>9231.6</c:v>
                </c:pt>
                <c:pt idx="3050">
                  <c:v>9303</c:v>
                </c:pt>
                <c:pt idx="3051">
                  <c:v>8698.2000000000007</c:v>
                </c:pt>
                <c:pt idx="3052">
                  <c:v>8757</c:v>
                </c:pt>
                <c:pt idx="3053">
                  <c:v>8803.2000000000007</c:v>
                </c:pt>
                <c:pt idx="3054">
                  <c:v>8605.8000000000011</c:v>
                </c:pt>
                <c:pt idx="3055">
                  <c:v>8425.2000000000007</c:v>
                </c:pt>
                <c:pt idx="3056">
                  <c:v>8131.2000000000007</c:v>
                </c:pt>
                <c:pt idx="3057">
                  <c:v>8047.2000000000007</c:v>
                </c:pt>
                <c:pt idx="3058">
                  <c:v>8202.6</c:v>
                </c:pt>
                <c:pt idx="3059">
                  <c:v>8265.6</c:v>
                </c:pt>
                <c:pt idx="3060">
                  <c:v>8353.8000000000011</c:v>
                </c:pt>
                <c:pt idx="3061">
                  <c:v>8563.8000000000011</c:v>
                </c:pt>
                <c:pt idx="3062">
                  <c:v>9055.2000000000007</c:v>
                </c:pt>
                <c:pt idx="3063">
                  <c:v>9244.2000000000007</c:v>
                </c:pt>
                <c:pt idx="3064">
                  <c:v>9492</c:v>
                </c:pt>
                <c:pt idx="3065">
                  <c:v>9601.2000000000007</c:v>
                </c:pt>
                <c:pt idx="3066">
                  <c:v>9525.6</c:v>
                </c:pt>
                <c:pt idx="3067">
                  <c:v>9521.4</c:v>
                </c:pt>
                <c:pt idx="3068">
                  <c:v>9265.2000000000007</c:v>
                </c:pt>
                <c:pt idx="3069">
                  <c:v>8744.4</c:v>
                </c:pt>
                <c:pt idx="3070">
                  <c:v>8320.2000000000007</c:v>
                </c:pt>
                <c:pt idx="3071">
                  <c:v>8131.2000000000007</c:v>
                </c:pt>
                <c:pt idx="3072">
                  <c:v>7875</c:v>
                </c:pt>
                <c:pt idx="3073">
                  <c:v>7421.4000000000005</c:v>
                </c:pt>
                <c:pt idx="3074">
                  <c:v>7387.8</c:v>
                </c:pt>
                <c:pt idx="3075">
                  <c:v>6967.8</c:v>
                </c:pt>
                <c:pt idx="3076">
                  <c:v>6812.4000000000005</c:v>
                </c:pt>
                <c:pt idx="3077">
                  <c:v>6644.4000000000005</c:v>
                </c:pt>
                <c:pt idx="3078">
                  <c:v>6547.8</c:v>
                </c:pt>
                <c:pt idx="3079">
                  <c:v>6489</c:v>
                </c:pt>
                <c:pt idx="3080">
                  <c:v>6430.2</c:v>
                </c:pt>
                <c:pt idx="3081">
                  <c:v>6006</c:v>
                </c:pt>
                <c:pt idx="3082">
                  <c:v>6153</c:v>
                </c:pt>
                <c:pt idx="3083">
                  <c:v>6283.2</c:v>
                </c:pt>
                <c:pt idx="3084">
                  <c:v>6526.8</c:v>
                </c:pt>
                <c:pt idx="3085">
                  <c:v>6531</c:v>
                </c:pt>
                <c:pt idx="3086">
                  <c:v>6774.6</c:v>
                </c:pt>
                <c:pt idx="3087">
                  <c:v>6976.2000000000007</c:v>
                </c:pt>
                <c:pt idx="3088">
                  <c:v>6980.4000000000005</c:v>
                </c:pt>
                <c:pt idx="3089">
                  <c:v>6728.4000000000005</c:v>
                </c:pt>
                <c:pt idx="3090">
                  <c:v>6514.2000000000007</c:v>
                </c:pt>
                <c:pt idx="3091">
                  <c:v>6211.8</c:v>
                </c:pt>
                <c:pt idx="3092">
                  <c:v>5859</c:v>
                </c:pt>
                <c:pt idx="3093">
                  <c:v>5724.6</c:v>
                </c:pt>
                <c:pt idx="3094">
                  <c:v>5367.6</c:v>
                </c:pt>
                <c:pt idx="3095">
                  <c:v>5594.4000000000005</c:v>
                </c:pt>
                <c:pt idx="3096">
                  <c:v>5665.8</c:v>
                </c:pt>
                <c:pt idx="3097">
                  <c:v>5607</c:v>
                </c:pt>
                <c:pt idx="3098">
                  <c:v>5485.2</c:v>
                </c:pt>
                <c:pt idx="3099">
                  <c:v>4998</c:v>
                </c:pt>
                <c:pt idx="3100">
                  <c:v>4590.6000000000004</c:v>
                </c:pt>
                <c:pt idx="3101">
                  <c:v>4174.8</c:v>
                </c:pt>
                <c:pt idx="3102">
                  <c:v>4174.8</c:v>
                </c:pt>
                <c:pt idx="3103">
                  <c:v>4103.4000000000005</c:v>
                </c:pt>
                <c:pt idx="3104">
                  <c:v>3708.6000000000004</c:v>
                </c:pt>
                <c:pt idx="3105">
                  <c:v>3351.6000000000004</c:v>
                </c:pt>
                <c:pt idx="3106">
                  <c:v>3200.4</c:v>
                </c:pt>
                <c:pt idx="3107">
                  <c:v>3133.2000000000003</c:v>
                </c:pt>
                <c:pt idx="3108">
                  <c:v>3460.8</c:v>
                </c:pt>
                <c:pt idx="3109">
                  <c:v>3906</c:v>
                </c:pt>
                <c:pt idx="3110">
                  <c:v>4716.6000000000004</c:v>
                </c:pt>
                <c:pt idx="3111">
                  <c:v>5455.8</c:v>
                </c:pt>
                <c:pt idx="3112">
                  <c:v>6048</c:v>
                </c:pt>
                <c:pt idx="3113">
                  <c:v>6648.6</c:v>
                </c:pt>
                <c:pt idx="3114">
                  <c:v>7110.6</c:v>
                </c:pt>
                <c:pt idx="3115">
                  <c:v>7308</c:v>
                </c:pt>
                <c:pt idx="3116">
                  <c:v>7047.6</c:v>
                </c:pt>
                <c:pt idx="3117">
                  <c:v>6862.8</c:v>
                </c:pt>
                <c:pt idx="3118">
                  <c:v>6346.2</c:v>
                </c:pt>
                <c:pt idx="3119">
                  <c:v>6186.6</c:v>
                </c:pt>
                <c:pt idx="3120">
                  <c:v>5749.8</c:v>
                </c:pt>
                <c:pt idx="3121">
                  <c:v>5548.2</c:v>
                </c:pt>
                <c:pt idx="3122">
                  <c:v>4851</c:v>
                </c:pt>
                <c:pt idx="3123">
                  <c:v>5002.2</c:v>
                </c:pt>
                <c:pt idx="3124">
                  <c:v>4712.4000000000005</c:v>
                </c:pt>
                <c:pt idx="3125">
                  <c:v>4443.6000000000004</c:v>
                </c:pt>
                <c:pt idx="3126">
                  <c:v>4040.4</c:v>
                </c:pt>
                <c:pt idx="3127">
                  <c:v>3645.6000000000004</c:v>
                </c:pt>
                <c:pt idx="3128">
                  <c:v>3242.4</c:v>
                </c:pt>
                <c:pt idx="3129">
                  <c:v>2940</c:v>
                </c:pt>
                <c:pt idx="3130">
                  <c:v>3074.4</c:v>
                </c:pt>
                <c:pt idx="3131">
                  <c:v>3985.8</c:v>
                </c:pt>
                <c:pt idx="3132">
                  <c:v>5691</c:v>
                </c:pt>
                <c:pt idx="3133">
                  <c:v>7505.4000000000005</c:v>
                </c:pt>
                <c:pt idx="3134">
                  <c:v>9345</c:v>
                </c:pt>
                <c:pt idx="3135">
                  <c:v>10735.2</c:v>
                </c:pt>
                <c:pt idx="3136">
                  <c:v>11650.800000000001</c:v>
                </c:pt>
                <c:pt idx="3137">
                  <c:v>12474</c:v>
                </c:pt>
                <c:pt idx="3138">
                  <c:v>12990.6</c:v>
                </c:pt>
                <c:pt idx="3139">
                  <c:v>13099.800000000001</c:v>
                </c:pt>
                <c:pt idx="3140">
                  <c:v>13141.800000000001</c:v>
                </c:pt>
                <c:pt idx="3141">
                  <c:v>13066.2</c:v>
                </c:pt>
                <c:pt idx="3142">
                  <c:v>13125</c:v>
                </c:pt>
                <c:pt idx="3143">
                  <c:v>13154.400000000001</c:v>
                </c:pt>
                <c:pt idx="3144">
                  <c:v>13255.2</c:v>
                </c:pt>
                <c:pt idx="3145">
                  <c:v>13188</c:v>
                </c:pt>
                <c:pt idx="3146">
                  <c:v>13183.800000000001</c:v>
                </c:pt>
                <c:pt idx="3147">
                  <c:v>12553.800000000001</c:v>
                </c:pt>
                <c:pt idx="3148">
                  <c:v>11604.6</c:v>
                </c:pt>
                <c:pt idx="3149">
                  <c:v>10773</c:v>
                </c:pt>
                <c:pt idx="3150">
                  <c:v>9718.8000000000011</c:v>
                </c:pt>
                <c:pt idx="3151">
                  <c:v>8555.4</c:v>
                </c:pt>
                <c:pt idx="3152">
                  <c:v>7665</c:v>
                </c:pt>
                <c:pt idx="3153">
                  <c:v>6804</c:v>
                </c:pt>
                <c:pt idx="3154">
                  <c:v>6119.4000000000005</c:v>
                </c:pt>
                <c:pt idx="3155">
                  <c:v>5707.8</c:v>
                </c:pt>
                <c:pt idx="3156">
                  <c:v>5552.4000000000005</c:v>
                </c:pt>
                <c:pt idx="3157">
                  <c:v>5569.2</c:v>
                </c:pt>
                <c:pt idx="3158">
                  <c:v>5598.6</c:v>
                </c:pt>
                <c:pt idx="3159">
                  <c:v>5880</c:v>
                </c:pt>
                <c:pt idx="3160">
                  <c:v>5905.2</c:v>
                </c:pt>
                <c:pt idx="3161">
                  <c:v>5817</c:v>
                </c:pt>
                <c:pt idx="3162">
                  <c:v>5846.4000000000005</c:v>
                </c:pt>
                <c:pt idx="3163">
                  <c:v>6010.2</c:v>
                </c:pt>
                <c:pt idx="3164">
                  <c:v>6426</c:v>
                </c:pt>
                <c:pt idx="3165">
                  <c:v>6850.2000000000007</c:v>
                </c:pt>
                <c:pt idx="3166">
                  <c:v>7291.2000000000007</c:v>
                </c:pt>
                <c:pt idx="3167">
                  <c:v>7833</c:v>
                </c:pt>
                <c:pt idx="3168">
                  <c:v>8303.4</c:v>
                </c:pt>
                <c:pt idx="3169">
                  <c:v>9034.2000000000007</c:v>
                </c:pt>
                <c:pt idx="3170">
                  <c:v>10285.800000000001</c:v>
                </c:pt>
                <c:pt idx="3171">
                  <c:v>10663.800000000001</c:v>
                </c:pt>
                <c:pt idx="3172">
                  <c:v>10966.2</c:v>
                </c:pt>
                <c:pt idx="3173">
                  <c:v>11453.4</c:v>
                </c:pt>
                <c:pt idx="3174">
                  <c:v>11860.800000000001</c:v>
                </c:pt>
                <c:pt idx="3175">
                  <c:v>12222</c:v>
                </c:pt>
                <c:pt idx="3176">
                  <c:v>12356.4</c:v>
                </c:pt>
                <c:pt idx="3177">
                  <c:v>12423.6</c:v>
                </c:pt>
                <c:pt idx="3178">
                  <c:v>12654.6</c:v>
                </c:pt>
                <c:pt idx="3179">
                  <c:v>12982.2</c:v>
                </c:pt>
                <c:pt idx="3180">
                  <c:v>13372.800000000001</c:v>
                </c:pt>
                <c:pt idx="3181">
                  <c:v>13469.400000000001</c:v>
                </c:pt>
                <c:pt idx="3182">
                  <c:v>13633.2</c:v>
                </c:pt>
                <c:pt idx="3183">
                  <c:v>13620.6</c:v>
                </c:pt>
                <c:pt idx="3184">
                  <c:v>13725.6</c:v>
                </c:pt>
                <c:pt idx="3185">
                  <c:v>13553.400000000001</c:v>
                </c:pt>
                <c:pt idx="3186">
                  <c:v>13125</c:v>
                </c:pt>
                <c:pt idx="3187">
                  <c:v>12906.6</c:v>
                </c:pt>
                <c:pt idx="3188">
                  <c:v>12671.4</c:v>
                </c:pt>
                <c:pt idx="3189">
                  <c:v>12276.6</c:v>
                </c:pt>
                <c:pt idx="3190">
                  <c:v>11923.800000000001</c:v>
                </c:pt>
                <c:pt idx="3191">
                  <c:v>11734.800000000001</c:v>
                </c:pt>
                <c:pt idx="3192">
                  <c:v>11676</c:v>
                </c:pt>
                <c:pt idx="3193">
                  <c:v>11562.6</c:v>
                </c:pt>
                <c:pt idx="3194">
                  <c:v>11806.2</c:v>
                </c:pt>
                <c:pt idx="3195">
                  <c:v>11890.2</c:v>
                </c:pt>
                <c:pt idx="3196">
                  <c:v>12007.800000000001</c:v>
                </c:pt>
                <c:pt idx="3197">
                  <c:v>12201</c:v>
                </c:pt>
                <c:pt idx="3198">
                  <c:v>12209.4</c:v>
                </c:pt>
                <c:pt idx="3199">
                  <c:v>12133.800000000001</c:v>
                </c:pt>
                <c:pt idx="3200">
                  <c:v>11873.4</c:v>
                </c:pt>
                <c:pt idx="3201">
                  <c:v>11533.2</c:v>
                </c:pt>
                <c:pt idx="3202">
                  <c:v>11088</c:v>
                </c:pt>
                <c:pt idx="3203">
                  <c:v>10693.2</c:v>
                </c:pt>
                <c:pt idx="3204">
                  <c:v>10378.200000000001</c:v>
                </c:pt>
                <c:pt idx="3205">
                  <c:v>10210.200000000001</c:v>
                </c:pt>
                <c:pt idx="3206">
                  <c:v>10348.800000000001</c:v>
                </c:pt>
                <c:pt idx="3207">
                  <c:v>10550.4</c:v>
                </c:pt>
                <c:pt idx="3208">
                  <c:v>10676.4</c:v>
                </c:pt>
                <c:pt idx="3209">
                  <c:v>10970.4</c:v>
                </c:pt>
                <c:pt idx="3210">
                  <c:v>11054.4</c:v>
                </c:pt>
                <c:pt idx="3211">
                  <c:v>10987.2</c:v>
                </c:pt>
                <c:pt idx="3212">
                  <c:v>10924.2</c:v>
                </c:pt>
                <c:pt idx="3213">
                  <c:v>10621.800000000001</c:v>
                </c:pt>
                <c:pt idx="3214">
                  <c:v>10374</c:v>
                </c:pt>
                <c:pt idx="3215">
                  <c:v>10588.2</c:v>
                </c:pt>
                <c:pt idx="3216">
                  <c:v>10844.4</c:v>
                </c:pt>
                <c:pt idx="3217">
                  <c:v>11256</c:v>
                </c:pt>
                <c:pt idx="3218">
                  <c:v>11587.800000000001</c:v>
                </c:pt>
                <c:pt idx="3219">
                  <c:v>11768.4</c:v>
                </c:pt>
                <c:pt idx="3220">
                  <c:v>11755.800000000001</c:v>
                </c:pt>
                <c:pt idx="3221">
                  <c:v>11839.800000000001</c:v>
                </c:pt>
                <c:pt idx="3222">
                  <c:v>11814.6</c:v>
                </c:pt>
                <c:pt idx="3223">
                  <c:v>11705.4</c:v>
                </c:pt>
                <c:pt idx="3224">
                  <c:v>11554.2</c:v>
                </c:pt>
                <c:pt idx="3225">
                  <c:v>11125.800000000001</c:v>
                </c:pt>
                <c:pt idx="3226">
                  <c:v>10886.4</c:v>
                </c:pt>
                <c:pt idx="3227">
                  <c:v>10479</c:v>
                </c:pt>
                <c:pt idx="3228">
                  <c:v>10080</c:v>
                </c:pt>
                <c:pt idx="3229">
                  <c:v>9790.2000000000007</c:v>
                </c:pt>
                <c:pt idx="3230">
                  <c:v>9655.8000000000011</c:v>
                </c:pt>
                <c:pt idx="3231">
                  <c:v>9143.4</c:v>
                </c:pt>
                <c:pt idx="3232">
                  <c:v>8626.8000000000011</c:v>
                </c:pt>
                <c:pt idx="3233">
                  <c:v>7887.6</c:v>
                </c:pt>
                <c:pt idx="3234">
                  <c:v>7018.2000000000007</c:v>
                </c:pt>
                <c:pt idx="3235">
                  <c:v>5993.4000000000005</c:v>
                </c:pt>
                <c:pt idx="3236">
                  <c:v>4804.8</c:v>
                </c:pt>
                <c:pt idx="3237">
                  <c:v>3918.6000000000004</c:v>
                </c:pt>
                <c:pt idx="3238">
                  <c:v>2818.2000000000003</c:v>
                </c:pt>
                <c:pt idx="3239">
                  <c:v>2385.6</c:v>
                </c:pt>
                <c:pt idx="3240">
                  <c:v>2108.4</c:v>
                </c:pt>
                <c:pt idx="3241">
                  <c:v>2070.6</c:v>
                </c:pt>
                <c:pt idx="3242">
                  <c:v>2297.4</c:v>
                </c:pt>
                <c:pt idx="3243">
                  <c:v>2251.2000000000003</c:v>
                </c:pt>
                <c:pt idx="3244">
                  <c:v>2205</c:v>
                </c:pt>
                <c:pt idx="3245">
                  <c:v>2192.4</c:v>
                </c:pt>
                <c:pt idx="3246">
                  <c:v>2179.8000000000002</c:v>
                </c:pt>
                <c:pt idx="3247">
                  <c:v>2146.2000000000003</c:v>
                </c:pt>
                <c:pt idx="3248">
                  <c:v>2028.6000000000001</c:v>
                </c:pt>
                <c:pt idx="3249">
                  <c:v>1936.2</c:v>
                </c:pt>
                <c:pt idx="3250">
                  <c:v>1898.4</c:v>
                </c:pt>
                <c:pt idx="3251">
                  <c:v>2154.6</c:v>
                </c:pt>
                <c:pt idx="3252">
                  <c:v>2465.4</c:v>
                </c:pt>
                <c:pt idx="3253">
                  <c:v>2717.4</c:v>
                </c:pt>
                <c:pt idx="3254">
                  <c:v>3145.8</c:v>
                </c:pt>
                <c:pt idx="3255">
                  <c:v>3683.4</c:v>
                </c:pt>
                <c:pt idx="3256">
                  <c:v>4271.4000000000005</c:v>
                </c:pt>
                <c:pt idx="3257">
                  <c:v>4842.6000000000004</c:v>
                </c:pt>
                <c:pt idx="3258">
                  <c:v>5107.2</c:v>
                </c:pt>
                <c:pt idx="3259">
                  <c:v>5397</c:v>
                </c:pt>
                <c:pt idx="3260">
                  <c:v>5577.6</c:v>
                </c:pt>
                <c:pt idx="3261">
                  <c:v>5749.8</c:v>
                </c:pt>
                <c:pt idx="3262">
                  <c:v>6052.2</c:v>
                </c:pt>
                <c:pt idx="3263">
                  <c:v>6594</c:v>
                </c:pt>
                <c:pt idx="3264">
                  <c:v>7127.4000000000005</c:v>
                </c:pt>
                <c:pt idx="3265">
                  <c:v>7799.4000000000005</c:v>
                </c:pt>
                <c:pt idx="3266">
                  <c:v>8555.4</c:v>
                </c:pt>
                <c:pt idx="3267">
                  <c:v>9025.8000000000011</c:v>
                </c:pt>
                <c:pt idx="3268">
                  <c:v>9559.2000000000007</c:v>
                </c:pt>
                <c:pt idx="3269">
                  <c:v>9895.2000000000007</c:v>
                </c:pt>
                <c:pt idx="3270">
                  <c:v>10164</c:v>
                </c:pt>
                <c:pt idx="3271">
                  <c:v>10378.200000000001</c:v>
                </c:pt>
                <c:pt idx="3272">
                  <c:v>10567.2</c:v>
                </c:pt>
                <c:pt idx="3273">
                  <c:v>10890.6</c:v>
                </c:pt>
                <c:pt idx="3274">
                  <c:v>11033.4</c:v>
                </c:pt>
                <c:pt idx="3275">
                  <c:v>11243.4</c:v>
                </c:pt>
                <c:pt idx="3276">
                  <c:v>11411.4</c:v>
                </c:pt>
                <c:pt idx="3277">
                  <c:v>11394.6</c:v>
                </c:pt>
                <c:pt idx="3278">
                  <c:v>11260.2</c:v>
                </c:pt>
                <c:pt idx="3279">
                  <c:v>11067</c:v>
                </c:pt>
                <c:pt idx="3280">
                  <c:v>10886.4</c:v>
                </c:pt>
                <c:pt idx="3281">
                  <c:v>10592.4</c:v>
                </c:pt>
                <c:pt idx="3282">
                  <c:v>10206</c:v>
                </c:pt>
                <c:pt idx="3283">
                  <c:v>9672.6</c:v>
                </c:pt>
                <c:pt idx="3284">
                  <c:v>8904</c:v>
                </c:pt>
                <c:pt idx="3285">
                  <c:v>8072.4000000000005</c:v>
                </c:pt>
                <c:pt idx="3286">
                  <c:v>7455</c:v>
                </c:pt>
                <c:pt idx="3287">
                  <c:v>6993</c:v>
                </c:pt>
                <c:pt idx="3288">
                  <c:v>6711.6</c:v>
                </c:pt>
                <c:pt idx="3289">
                  <c:v>6388.2</c:v>
                </c:pt>
                <c:pt idx="3290">
                  <c:v>6279</c:v>
                </c:pt>
                <c:pt idx="3291">
                  <c:v>6039.6</c:v>
                </c:pt>
                <c:pt idx="3292">
                  <c:v>5783.4000000000005</c:v>
                </c:pt>
                <c:pt idx="3293">
                  <c:v>5670</c:v>
                </c:pt>
                <c:pt idx="3294">
                  <c:v>5304.6</c:v>
                </c:pt>
                <c:pt idx="3295">
                  <c:v>4993.8</c:v>
                </c:pt>
                <c:pt idx="3296">
                  <c:v>4389</c:v>
                </c:pt>
                <c:pt idx="3297">
                  <c:v>3943.8</c:v>
                </c:pt>
                <c:pt idx="3298">
                  <c:v>3544.8</c:v>
                </c:pt>
                <c:pt idx="3299">
                  <c:v>3154.2000000000003</c:v>
                </c:pt>
                <c:pt idx="3300">
                  <c:v>2633.4</c:v>
                </c:pt>
                <c:pt idx="3301">
                  <c:v>2242.8000000000002</c:v>
                </c:pt>
                <c:pt idx="3302">
                  <c:v>1974</c:v>
                </c:pt>
                <c:pt idx="3303">
                  <c:v>1801.8000000000002</c:v>
                </c:pt>
                <c:pt idx="3304">
                  <c:v>1558.2</c:v>
                </c:pt>
                <c:pt idx="3305">
                  <c:v>1499.4</c:v>
                </c:pt>
                <c:pt idx="3306">
                  <c:v>1465.8</c:v>
                </c:pt>
                <c:pt idx="3307">
                  <c:v>1516.2</c:v>
                </c:pt>
                <c:pt idx="3308">
                  <c:v>1667.4</c:v>
                </c:pt>
                <c:pt idx="3309">
                  <c:v>1776.6000000000001</c:v>
                </c:pt>
                <c:pt idx="3310">
                  <c:v>2024.4</c:v>
                </c:pt>
                <c:pt idx="3311">
                  <c:v>2478</c:v>
                </c:pt>
                <c:pt idx="3312">
                  <c:v>2994.6</c:v>
                </c:pt>
                <c:pt idx="3313">
                  <c:v>3498.6000000000004</c:v>
                </c:pt>
                <c:pt idx="3314">
                  <c:v>4573.8</c:v>
                </c:pt>
                <c:pt idx="3315">
                  <c:v>5275.2</c:v>
                </c:pt>
                <c:pt idx="3316">
                  <c:v>5724.6</c:v>
                </c:pt>
                <c:pt idx="3317">
                  <c:v>6098.4000000000005</c:v>
                </c:pt>
                <c:pt idx="3318">
                  <c:v>6358.8</c:v>
                </c:pt>
                <c:pt idx="3319">
                  <c:v>6325.2</c:v>
                </c:pt>
                <c:pt idx="3320">
                  <c:v>6241.2</c:v>
                </c:pt>
                <c:pt idx="3321">
                  <c:v>5867.4000000000005</c:v>
                </c:pt>
                <c:pt idx="3322">
                  <c:v>5342.4000000000005</c:v>
                </c:pt>
                <c:pt idx="3323">
                  <c:v>4956</c:v>
                </c:pt>
                <c:pt idx="3324">
                  <c:v>4846.8</c:v>
                </c:pt>
                <c:pt idx="3325">
                  <c:v>4603.2</c:v>
                </c:pt>
                <c:pt idx="3326">
                  <c:v>4473</c:v>
                </c:pt>
                <c:pt idx="3327">
                  <c:v>4590.6000000000004</c:v>
                </c:pt>
                <c:pt idx="3328">
                  <c:v>4813.2</c:v>
                </c:pt>
                <c:pt idx="3329">
                  <c:v>5077.8</c:v>
                </c:pt>
                <c:pt idx="3330">
                  <c:v>5203.8</c:v>
                </c:pt>
                <c:pt idx="3331">
                  <c:v>5266.8</c:v>
                </c:pt>
                <c:pt idx="3332">
                  <c:v>5023.2</c:v>
                </c:pt>
                <c:pt idx="3333">
                  <c:v>4754.4000000000005</c:v>
                </c:pt>
                <c:pt idx="3334">
                  <c:v>4670.4000000000005</c:v>
                </c:pt>
                <c:pt idx="3335">
                  <c:v>4746</c:v>
                </c:pt>
                <c:pt idx="3336">
                  <c:v>4880.4000000000005</c:v>
                </c:pt>
                <c:pt idx="3337">
                  <c:v>4582.2</c:v>
                </c:pt>
                <c:pt idx="3338">
                  <c:v>4363.8</c:v>
                </c:pt>
                <c:pt idx="3339">
                  <c:v>4208.4000000000005</c:v>
                </c:pt>
                <c:pt idx="3340">
                  <c:v>4351.2</c:v>
                </c:pt>
                <c:pt idx="3341">
                  <c:v>4086.6000000000004</c:v>
                </c:pt>
                <c:pt idx="3342">
                  <c:v>3864</c:v>
                </c:pt>
                <c:pt idx="3343">
                  <c:v>3675</c:v>
                </c:pt>
                <c:pt idx="3344">
                  <c:v>3192</c:v>
                </c:pt>
                <c:pt idx="3345">
                  <c:v>2734.2000000000003</c:v>
                </c:pt>
                <c:pt idx="3346">
                  <c:v>2440.2000000000003</c:v>
                </c:pt>
                <c:pt idx="3347">
                  <c:v>2347.8000000000002</c:v>
                </c:pt>
                <c:pt idx="3348">
                  <c:v>2436</c:v>
                </c:pt>
                <c:pt idx="3349">
                  <c:v>2625</c:v>
                </c:pt>
                <c:pt idx="3350">
                  <c:v>2856</c:v>
                </c:pt>
                <c:pt idx="3351">
                  <c:v>3066</c:v>
                </c:pt>
                <c:pt idx="3352">
                  <c:v>3213</c:v>
                </c:pt>
                <c:pt idx="3353">
                  <c:v>3368.4</c:v>
                </c:pt>
                <c:pt idx="3354">
                  <c:v>3326.4</c:v>
                </c:pt>
                <c:pt idx="3355">
                  <c:v>3355.8</c:v>
                </c:pt>
                <c:pt idx="3356">
                  <c:v>3166.8</c:v>
                </c:pt>
                <c:pt idx="3357">
                  <c:v>3049.2000000000003</c:v>
                </c:pt>
                <c:pt idx="3358">
                  <c:v>2864.4</c:v>
                </c:pt>
                <c:pt idx="3359">
                  <c:v>3036.6</c:v>
                </c:pt>
                <c:pt idx="3360">
                  <c:v>3200.4</c:v>
                </c:pt>
                <c:pt idx="3361">
                  <c:v>3393.6000000000004</c:v>
                </c:pt>
                <c:pt idx="3362">
                  <c:v>4103.4000000000005</c:v>
                </c:pt>
                <c:pt idx="3363">
                  <c:v>4132.8</c:v>
                </c:pt>
                <c:pt idx="3364">
                  <c:v>4158</c:v>
                </c:pt>
                <c:pt idx="3365">
                  <c:v>4120.2</c:v>
                </c:pt>
                <c:pt idx="3366">
                  <c:v>3885</c:v>
                </c:pt>
                <c:pt idx="3367">
                  <c:v>3654</c:v>
                </c:pt>
                <c:pt idx="3368">
                  <c:v>3040.8</c:v>
                </c:pt>
                <c:pt idx="3369">
                  <c:v>2511.6</c:v>
                </c:pt>
                <c:pt idx="3370">
                  <c:v>2108.4</c:v>
                </c:pt>
                <c:pt idx="3371">
                  <c:v>2049.6</c:v>
                </c:pt>
                <c:pt idx="3372">
                  <c:v>2020.2</c:v>
                </c:pt>
                <c:pt idx="3373">
                  <c:v>2221.8000000000002</c:v>
                </c:pt>
                <c:pt idx="3374">
                  <c:v>2478</c:v>
                </c:pt>
                <c:pt idx="3375">
                  <c:v>2717.4</c:v>
                </c:pt>
                <c:pt idx="3376">
                  <c:v>2998.8</c:v>
                </c:pt>
                <c:pt idx="3377">
                  <c:v>3158.4</c:v>
                </c:pt>
                <c:pt idx="3378">
                  <c:v>3263.4</c:v>
                </c:pt>
                <c:pt idx="3379">
                  <c:v>3246.6000000000004</c:v>
                </c:pt>
                <c:pt idx="3380">
                  <c:v>3234</c:v>
                </c:pt>
                <c:pt idx="3381">
                  <c:v>3313.8</c:v>
                </c:pt>
                <c:pt idx="3382">
                  <c:v>3234</c:v>
                </c:pt>
                <c:pt idx="3383">
                  <c:v>3494.4</c:v>
                </c:pt>
                <c:pt idx="3384">
                  <c:v>3885</c:v>
                </c:pt>
                <c:pt idx="3385">
                  <c:v>4284</c:v>
                </c:pt>
                <c:pt idx="3386">
                  <c:v>5363.4000000000005</c:v>
                </c:pt>
                <c:pt idx="3387">
                  <c:v>5947.2</c:v>
                </c:pt>
                <c:pt idx="3388">
                  <c:v>6258</c:v>
                </c:pt>
                <c:pt idx="3389">
                  <c:v>6661.2000000000007</c:v>
                </c:pt>
                <c:pt idx="3390">
                  <c:v>6871.2000000000007</c:v>
                </c:pt>
                <c:pt idx="3391">
                  <c:v>7022.4000000000005</c:v>
                </c:pt>
                <c:pt idx="3392">
                  <c:v>6963.6</c:v>
                </c:pt>
                <c:pt idx="3393">
                  <c:v>6854.4000000000005</c:v>
                </c:pt>
                <c:pt idx="3394">
                  <c:v>7329</c:v>
                </c:pt>
                <c:pt idx="3395">
                  <c:v>8198.4</c:v>
                </c:pt>
                <c:pt idx="3396">
                  <c:v>9479.4</c:v>
                </c:pt>
                <c:pt idx="3397">
                  <c:v>10630.2</c:v>
                </c:pt>
                <c:pt idx="3398">
                  <c:v>11768.4</c:v>
                </c:pt>
                <c:pt idx="3399">
                  <c:v>12192.6</c:v>
                </c:pt>
                <c:pt idx="3400">
                  <c:v>12234.6</c:v>
                </c:pt>
                <c:pt idx="3401">
                  <c:v>12209.4</c:v>
                </c:pt>
                <c:pt idx="3402">
                  <c:v>12159</c:v>
                </c:pt>
                <c:pt idx="3403">
                  <c:v>12196.800000000001</c:v>
                </c:pt>
                <c:pt idx="3404">
                  <c:v>12007.800000000001</c:v>
                </c:pt>
                <c:pt idx="3405">
                  <c:v>11944.800000000001</c:v>
                </c:pt>
                <c:pt idx="3406">
                  <c:v>12133.800000000001</c:v>
                </c:pt>
                <c:pt idx="3407">
                  <c:v>12280.800000000001</c:v>
                </c:pt>
                <c:pt idx="3408">
                  <c:v>11692.800000000001</c:v>
                </c:pt>
                <c:pt idx="3409">
                  <c:v>11625.6</c:v>
                </c:pt>
                <c:pt idx="3410">
                  <c:v>11986.800000000001</c:v>
                </c:pt>
                <c:pt idx="3411">
                  <c:v>11302.2</c:v>
                </c:pt>
                <c:pt idx="3412">
                  <c:v>11117.4</c:v>
                </c:pt>
                <c:pt idx="3413">
                  <c:v>10752</c:v>
                </c:pt>
                <c:pt idx="3414">
                  <c:v>10655.4</c:v>
                </c:pt>
                <c:pt idx="3415">
                  <c:v>10386.6</c:v>
                </c:pt>
                <c:pt idx="3416">
                  <c:v>10222.800000000001</c:v>
                </c:pt>
                <c:pt idx="3417">
                  <c:v>10332</c:v>
                </c:pt>
                <c:pt idx="3418">
                  <c:v>9802.8000000000011</c:v>
                </c:pt>
                <c:pt idx="3419">
                  <c:v>9718.8000000000011</c:v>
                </c:pt>
                <c:pt idx="3420">
                  <c:v>9744</c:v>
                </c:pt>
                <c:pt idx="3421">
                  <c:v>9891</c:v>
                </c:pt>
                <c:pt idx="3422">
                  <c:v>9958.2000000000007</c:v>
                </c:pt>
                <c:pt idx="3423">
                  <c:v>9731.4</c:v>
                </c:pt>
                <c:pt idx="3424">
                  <c:v>10201.800000000001</c:v>
                </c:pt>
                <c:pt idx="3425">
                  <c:v>10281.6</c:v>
                </c:pt>
                <c:pt idx="3426">
                  <c:v>10143</c:v>
                </c:pt>
                <c:pt idx="3427">
                  <c:v>9786</c:v>
                </c:pt>
                <c:pt idx="3428">
                  <c:v>9609.6</c:v>
                </c:pt>
                <c:pt idx="3429">
                  <c:v>9084.6</c:v>
                </c:pt>
                <c:pt idx="3430">
                  <c:v>8652</c:v>
                </c:pt>
                <c:pt idx="3431">
                  <c:v>8324.4</c:v>
                </c:pt>
                <c:pt idx="3432">
                  <c:v>8278.2000000000007</c:v>
                </c:pt>
                <c:pt idx="3433">
                  <c:v>8450.4</c:v>
                </c:pt>
                <c:pt idx="3434">
                  <c:v>8849.4</c:v>
                </c:pt>
                <c:pt idx="3435">
                  <c:v>8580.6</c:v>
                </c:pt>
                <c:pt idx="3436">
                  <c:v>8631</c:v>
                </c:pt>
                <c:pt idx="3437">
                  <c:v>8211</c:v>
                </c:pt>
                <c:pt idx="3438">
                  <c:v>7866.6</c:v>
                </c:pt>
                <c:pt idx="3439">
                  <c:v>7417.2000000000007</c:v>
                </c:pt>
                <c:pt idx="3440">
                  <c:v>6707.4000000000005</c:v>
                </c:pt>
                <c:pt idx="3441">
                  <c:v>6039.6</c:v>
                </c:pt>
                <c:pt idx="3442">
                  <c:v>5279.4000000000005</c:v>
                </c:pt>
                <c:pt idx="3443">
                  <c:v>4905.6000000000004</c:v>
                </c:pt>
                <c:pt idx="3444">
                  <c:v>4699.8</c:v>
                </c:pt>
                <c:pt idx="3445">
                  <c:v>4456.2</c:v>
                </c:pt>
                <c:pt idx="3446">
                  <c:v>4410</c:v>
                </c:pt>
                <c:pt idx="3447">
                  <c:v>4687.2</c:v>
                </c:pt>
                <c:pt idx="3448">
                  <c:v>5153.4000000000005</c:v>
                </c:pt>
                <c:pt idx="3449">
                  <c:v>5212.2</c:v>
                </c:pt>
                <c:pt idx="3450">
                  <c:v>5245.8</c:v>
                </c:pt>
                <c:pt idx="3451">
                  <c:v>5140.8</c:v>
                </c:pt>
                <c:pt idx="3452">
                  <c:v>4985.4000000000005</c:v>
                </c:pt>
                <c:pt idx="3453">
                  <c:v>4935</c:v>
                </c:pt>
                <c:pt idx="3454">
                  <c:v>4641</c:v>
                </c:pt>
                <c:pt idx="3455">
                  <c:v>4708.2</c:v>
                </c:pt>
                <c:pt idx="3456">
                  <c:v>4800.6000000000004</c:v>
                </c:pt>
                <c:pt idx="3457">
                  <c:v>5073.6000000000004</c:v>
                </c:pt>
                <c:pt idx="3458">
                  <c:v>5371.8</c:v>
                </c:pt>
                <c:pt idx="3459">
                  <c:v>5308.8</c:v>
                </c:pt>
                <c:pt idx="3460">
                  <c:v>5140.8</c:v>
                </c:pt>
                <c:pt idx="3461">
                  <c:v>4960.2</c:v>
                </c:pt>
                <c:pt idx="3462">
                  <c:v>4725</c:v>
                </c:pt>
                <c:pt idx="3463">
                  <c:v>4347</c:v>
                </c:pt>
                <c:pt idx="3464">
                  <c:v>3872.4</c:v>
                </c:pt>
                <c:pt idx="3465">
                  <c:v>3570</c:v>
                </c:pt>
                <c:pt idx="3466">
                  <c:v>3368.4</c:v>
                </c:pt>
                <c:pt idx="3467">
                  <c:v>3322.2000000000003</c:v>
                </c:pt>
                <c:pt idx="3468">
                  <c:v>3494.4</c:v>
                </c:pt>
                <c:pt idx="3469">
                  <c:v>3687.6000000000004</c:v>
                </c:pt>
                <c:pt idx="3470">
                  <c:v>3851.4</c:v>
                </c:pt>
                <c:pt idx="3471">
                  <c:v>3952.2000000000003</c:v>
                </c:pt>
                <c:pt idx="3472">
                  <c:v>3969</c:v>
                </c:pt>
                <c:pt idx="3473">
                  <c:v>3851.4</c:v>
                </c:pt>
                <c:pt idx="3474">
                  <c:v>3834.6000000000004</c:v>
                </c:pt>
                <c:pt idx="3475">
                  <c:v>3708.6000000000004</c:v>
                </c:pt>
                <c:pt idx="3476">
                  <c:v>3532.2000000000003</c:v>
                </c:pt>
                <c:pt idx="3477">
                  <c:v>3242.4</c:v>
                </c:pt>
                <c:pt idx="3478">
                  <c:v>2851.8</c:v>
                </c:pt>
                <c:pt idx="3479">
                  <c:v>2776.2000000000003</c:v>
                </c:pt>
                <c:pt idx="3480">
                  <c:v>2490.6</c:v>
                </c:pt>
                <c:pt idx="3481">
                  <c:v>2528.4</c:v>
                </c:pt>
                <c:pt idx="3482">
                  <c:v>2574.6</c:v>
                </c:pt>
                <c:pt idx="3483">
                  <c:v>2490.6</c:v>
                </c:pt>
                <c:pt idx="3484">
                  <c:v>2415</c:v>
                </c:pt>
                <c:pt idx="3485">
                  <c:v>2377.2000000000003</c:v>
                </c:pt>
                <c:pt idx="3486">
                  <c:v>2263.8000000000002</c:v>
                </c:pt>
                <c:pt idx="3487">
                  <c:v>2112.6</c:v>
                </c:pt>
                <c:pt idx="3488">
                  <c:v>1810.2</c:v>
                </c:pt>
                <c:pt idx="3489">
                  <c:v>1608.6000000000001</c:v>
                </c:pt>
                <c:pt idx="3490">
                  <c:v>1575</c:v>
                </c:pt>
                <c:pt idx="3491">
                  <c:v>1625.4</c:v>
                </c:pt>
                <c:pt idx="3492">
                  <c:v>1680</c:v>
                </c:pt>
                <c:pt idx="3493">
                  <c:v>1940.4</c:v>
                </c:pt>
                <c:pt idx="3494">
                  <c:v>2335.2000000000003</c:v>
                </c:pt>
                <c:pt idx="3495">
                  <c:v>2688</c:v>
                </c:pt>
                <c:pt idx="3496">
                  <c:v>2982</c:v>
                </c:pt>
                <c:pt idx="3497">
                  <c:v>3368.4</c:v>
                </c:pt>
                <c:pt idx="3498">
                  <c:v>3620.4</c:v>
                </c:pt>
                <c:pt idx="3499">
                  <c:v>3759</c:v>
                </c:pt>
                <c:pt idx="3500">
                  <c:v>4065.6000000000004</c:v>
                </c:pt>
                <c:pt idx="3501">
                  <c:v>4019.4</c:v>
                </c:pt>
                <c:pt idx="3502">
                  <c:v>3859.8</c:v>
                </c:pt>
                <c:pt idx="3503">
                  <c:v>3931.2000000000003</c:v>
                </c:pt>
                <c:pt idx="3504">
                  <c:v>4069.8</c:v>
                </c:pt>
                <c:pt idx="3505">
                  <c:v>4477.2</c:v>
                </c:pt>
                <c:pt idx="3506">
                  <c:v>4716.6000000000004</c:v>
                </c:pt>
                <c:pt idx="3507">
                  <c:v>4918.2</c:v>
                </c:pt>
                <c:pt idx="3508">
                  <c:v>4888.8</c:v>
                </c:pt>
                <c:pt idx="3509">
                  <c:v>5040</c:v>
                </c:pt>
                <c:pt idx="3510">
                  <c:v>4989.6000000000004</c:v>
                </c:pt>
                <c:pt idx="3511">
                  <c:v>5027.4000000000005</c:v>
                </c:pt>
                <c:pt idx="3512">
                  <c:v>4863.6000000000004</c:v>
                </c:pt>
                <c:pt idx="3513">
                  <c:v>4968.6000000000004</c:v>
                </c:pt>
                <c:pt idx="3514">
                  <c:v>5216.4000000000005</c:v>
                </c:pt>
                <c:pt idx="3515">
                  <c:v>5539.8</c:v>
                </c:pt>
                <c:pt idx="3516">
                  <c:v>5859</c:v>
                </c:pt>
                <c:pt idx="3517">
                  <c:v>6199.2</c:v>
                </c:pt>
                <c:pt idx="3518">
                  <c:v>6699</c:v>
                </c:pt>
                <c:pt idx="3519">
                  <c:v>7224</c:v>
                </c:pt>
                <c:pt idx="3520">
                  <c:v>7707</c:v>
                </c:pt>
                <c:pt idx="3521">
                  <c:v>8080.8</c:v>
                </c:pt>
                <c:pt idx="3522">
                  <c:v>8383.2000000000007</c:v>
                </c:pt>
                <c:pt idx="3523">
                  <c:v>8479.8000000000011</c:v>
                </c:pt>
                <c:pt idx="3524">
                  <c:v>8215.2000000000007</c:v>
                </c:pt>
                <c:pt idx="3525">
                  <c:v>7875</c:v>
                </c:pt>
                <c:pt idx="3526">
                  <c:v>7303.8</c:v>
                </c:pt>
                <c:pt idx="3527">
                  <c:v>6972</c:v>
                </c:pt>
                <c:pt idx="3528">
                  <c:v>6917.4000000000005</c:v>
                </c:pt>
                <c:pt idx="3529">
                  <c:v>6888</c:v>
                </c:pt>
                <c:pt idx="3530">
                  <c:v>6573</c:v>
                </c:pt>
                <c:pt idx="3531">
                  <c:v>6300</c:v>
                </c:pt>
                <c:pt idx="3532">
                  <c:v>6207.6</c:v>
                </c:pt>
                <c:pt idx="3533">
                  <c:v>5989.2</c:v>
                </c:pt>
                <c:pt idx="3534">
                  <c:v>5741.4000000000005</c:v>
                </c:pt>
                <c:pt idx="3535">
                  <c:v>5178.6000000000004</c:v>
                </c:pt>
                <c:pt idx="3536">
                  <c:v>4548.6000000000004</c:v>
                </c:pt>
                <c:pt idx="3537">
                  <c:v>4065.6000000000004</c:v>
                </c:pt>
                <c:pt idx="3538">
                  <c:v>3649.8</c:v>
                </c:pt>
                <c:pt idx="3539">
                  <c:v>3855.6000000000004</c:v>
                </c:pt>
                <c:pt idx="3540">
                  <c:v>4317.6000000000004</c:v>
                </c:pt>
                <c:pt idx="3541">
                  <c:v>5023.2</c:v>
                </c:pt>
                <c:pt idx="3542">
                  <c:v>5850.6</c:v>
                </c:pt>
                <c:pt idx="3543">
                  <c:v>6615</c:v>
                </c:pt>
                <c:pt idx="3544">
                  <c:v>7165.2000000000007</c:v>
                </c:pt>
                <c:pt idx="3545">
                  <c:v>7610.4000000000005</c:v>
                </c:pt>
                <c:pt idx="3546">
                  <c:v>8009.4000000000005</c:v>
                </c:pt>
                <c:pt idx="3547">
                  <c:v>7996.8</c:v>
                </c:pt>
                <c:pt idx="3548">
                  <c:v>7803.6</c:v>
                </c:pt>
                <c:pt idx="3549">
                  <c:v>7564.2000000000007</c:v>
                </c:pt>
                <c:pt idx="3550">
                  <c:v>7387.8</c:v>
                </c:pt>
                <c:pt idx="3551">
                  <c:v>7366.8</c:v>
                </c:pt>
                <c:pt idx="3552">
                  <c:v>7282.8</c:v>
                </c:pt>
                <c:pt idx="3553">
                  <c:v>7635.6</c:v>
                </c:pt>
                <c:pt idx="3554">
                  <c:v>7820.4000000000005</c:v>
                </c:pt>
                <c:pt idx="3555">
                  <c:v>8047.2000000000007</c:v>
                </c:pt>
                <c:pt idx="3556">
                  <c:v>8122.8</c:v>
                </c:pt>
                <c:pt idx="3557">
                  <c:v>8135.4000000000005</c:v>
                </c:pt>
                <c:pt idx="3558">
                  <c:v>8097.6</c:v>
                </c:pt>
                <c:pt idx="3559">
                  <c:v>7803.6</c:v>
                </c:pt>
                <c:pt idx="3560">
                  <c:v>7530.6</c:v>
                </c:pt>
                <c:pt idx="3561">
                  <c:v>7610.4000000000005</c:v>
                </c:pt>
                <c:pt idx="3562">
                  <c:v>7732.2000000000007</c:v>
                </c:pt>
                <c:pt idx="3563">
                  <c:v>7996.8</c:v>
                </c:pt>
                <c:pt idx="3564">
                  <c:v>8261.4</c:v>
                </c:pt>
                <c:pt idx="3565">
                  <c:v>8820</c:v>
                </c:pt>
                <c:pt idx="3566">
                  <c:v>9387</c:v>
                </c:pt>
                <c:pt idx="3567">
                  <c:v>9723</c:v>
                </c:pt>
                <c:pt idx="3568">
                  <c:v>10000.200000000001</c:v>
                </c:pt>
                <c:pt idx="3569">
                  <c:v>10117.800000000001</c:v>
                </c:pt>
                <c:pt idx="3570">
                  <c:v>9849</c:v>
                </c:pt>
                <c:pt idx="3571">
                  <c:v>9093</c:v>
                </c:pt>
                <c:pt idx="3572">
                  <c:v>8584.8000000000011</c:v>
                </c:pt>
                <c:pt idx="3573">
                  <c:v>7723.8</c:v>
                </c:pt>
                <c:pt idx="3574">
                  <c:v>6867</c:v>
                </c:pt>
                <c:pt idx="3575">
                  <c:v>6232.8</c:v>
                </c:pt>
                <c:pt idx="3576">
                  <c:v>6119.4000000000005</c:v>
                </c:pt>
                <c:pt idx="3577">
                  <c:v>6140.4000000000005</c:v>
                </c:pt>
                <c:pt idx="3578">
                  <c:v>6753.6</c:v>
                </c:pt>
                <c:pt idx="3579">
                  <c:v>6783</c:v>
                </c:pt>
                <c:pt idx="3580">
                  <c:v>6787.2000000000007</c:v>
                </c:pt>
                <c:pt idx="3581">
                  <c:v>6745.2000000000007</c:v>
                </c:pt>
                <c:pt idx="3582">
                  <c:v>6661.2000000000007</c:v>
                </c:pt>
                <c:pt idx="3583">
                  <c:v>6358.8</c:v>
                </c:pt>
                <c:pt idx="3584">
                  <c:v>5859</c:v>
                </c:pt>
                <c:pt idx="3585">
                  <c:v>5434.8</c:v>
                </c:pt>
                <c:pt idx="3586">
                  <c:v>5384.4000000000005</c:v>
                </c:pt>
                <c:pt idx="3587">
                  <c:v>5552.4000000000005</c:v>
                </c:pt>
                <c:pt idx="3588">
                  <c:v>5808.6</c:v>
                </c:pt>
                <c:pt idx="3589">
                  <c:v>6123.6</c:v>
                </c:pt>
                <c:pt idx="3590">
                  <c:v>6791.4000000000005</c:v>
                </c:pt>
                <c:pt idx="3591">
                  <c:v>7593.6</c:v>
                </c:pt>
                <c:pt idx="3592">
                  <c:v>8240.4</c:v>
                </c:pt>
                <c:pt idx="3593">
                  <c:v>8794.8000000000011</c:v>
                </c:pt>
                <c:pt idx="3594">
                  <c:v>9399.6</c:v>
                </c:pt>
                <c:pt idx="3595">
                  <c:v>10138.800000000001</c:v>
                </c:pt>
                <c:pt idx="3596">
                  <c:v>10474.800000000001</c:v>
                </c:pt>
                <c:pt idx="3597">
                  <c:v>10626</c:v>
                </c:pt>
                <c:pt idx="3598">
                  <c:v>10726.800000000001</c:v>
                </c:pt>
                <c:pt idx="3599">
                  <c:v>10819.2</c:v>
                </c:pt>
                <c:pt idx="3600">
                  <c:v>11020.800000000001</c:v>
                </c:pt>
                <c:pt idx="3601">
                  <c:v>11365.2</c:v>
                </c:pt>
                <c:pt idx="3602">
                  <c:v>11453.4</c:v>
                </c:pt>
                <c:pt idx="3603">
                  <c:v>11709.6</c:v>
                </c:pt>
                <c:pt idx="3604">
                  <c:v>11701.2</c:v>
                </c:pt>
                <c:pt idx="3605">
                  <c:v>11974.2</c:v>
                </c:pt>
                <c:pt idx="3606">
                  <c:v>12331.2</c:v>
                </c:pt>
                <c:pt idx="3607">
                  <c:v>12889.800000000001</c:v>
                </c:pt>
                <c:pt idx="3608">
                  <c:v>13045.2</c:v>
                </c:pt>
                <c:pt idx="3609">
                  <c:v>13200.6</c:v>
                </c:pt>
                <c:pt idx="3610">
                  <c:v>13305.6</c:v>
                </c:pt>
                <c:pt idx="3611">
                  <c:v>13381.2</c:v>
                </c:pt>
                <c:pt idx="3612">
                  <c:v>13557.6</c:v>
                </c:pt>
                <c:pt idx="3613">
                  <c:v>13738.2</c:v>
                </c:pt>
                <c:pt idx="3614">
                  <c:v>14107.800000000001</c:v>
                </c:pt>
                <c:pt idx="3615">
                  <c:v>14292.6</c:v>
                </c:pt>
                <c:pt idx="3616">
                  <c:v>14330.400000000001</c:v>
                </c:pt>
                <c:pt idx="3617">
                  <c:v>14183.400000000001</c:v>
                </c:pt>
                <c:pt idx="3618">
                  <c:v>13675.2</c:v>
                </c:pt>
                <c:pt idx="3619">
                  <c:v>12944.400000000001</c:v>
                </c:pt>
                <c:pt idx="3620">
                  <c:v>12033</c:v>
                </c:pt>
                <c:pt idx="3621">
                  <c:v>11029.2</c:v>
                </c:pt>
                <c:pt idx="3622">
                  <c:v>10357.200000000001</c:v>
                </c:pt>
                <c:pt idx="3623">
                  <c:v>9966.6</c:v>
                </c:pt>
                <c:pt idx="3624">
                  <c:v>10092.6</c:v>
                </c:pt>
                <c:pt idx="3625">
                  <c:v>10353</c:v>
                </c:pt>
                <c:pt idx="3626">
                  <c:v>10571.4</c:v>
                </c:pt>
                <c:pt idx="3627">
                  <c:v>10936.800000000001</c:v>
                </c:pt>
                <c:pt idx="3628">
                  <c:v>11251.800000000001</c:v>
                </c:pt>
                <c:pt idx="3629">
                  <c:v>11155.2</c:v>
                </c:pt>
                <c:pt idx="3630">
                  <c:v>11046</c:v>
                </c:pt>
                <c:pt idx="3631">
                  <c:v>10903.2</c:v>
                </c:pt>
                <c:pt idx="3632">
                  <c:v>10789.800000000001</c:v>
                </c:pt>
                <c:pt idx="3633">
                  <c:v>10920</c:v>
                </c:pt>
                <c:pt idx="3634">
                  <c:v>11520.6</c:v>
                </c:pt>
                <c:pt idx="3635">
                  <c:v>12121.2</c:v>
                </c:pt>
                <c:pt idx="3636">
                  <c:v>12978</c:v>
                </c:pt>
                <c:pt idx="3637">
                  <c:v>13713</c:v>
                </c:pt>
                <c:pt idx="3638">
                  <c:v>14473.2</c:v>
                </c:pt>
                <c:pt idx="3639">
                  <c:v>14830.2</c:v>
                </c:pt>
                <c:pt idx="3640">
                  <c:v>14859.6</c:v>
                </c:pt>
                <c:pt idx="3641">
                  <c:v>15015</c:v>
                </c:pt>
                <c:pt idx="3642">
                  <c:v>15073.800000000001</c:v>
                </c:pt>
                <c:pt idx="3643">
                  <c:v>15044.400000000001</c:v>
                </c:pt>
                <c:pt idx="3644">
                  <c:v>14506.800000000001</c:v>
                </c:pt>
                <c:pt idx="3645">
                  <c:v>13851.6</c:v>
                </c:pt>
                <c:pt idx="3646">
                  <c:v>13062</c:v>
                </c:pt>
                <c:pt idx="3647">
                  <c:v>12436.2</c:v>
                </c:pt>
                <c:pt idx="3648">
                  <c:v>11886</c:v>
                </c:pt>
                <c:pt idx="3649">
                  <c:v>11382</c:v>
                </c:pt>
                <c:pt idx="3650">
                  <c:v>11575.2</c:v>
                </c:pt>
                <c:pt idx="3651">
                  <c:v>11251.800000000001</c:v>
                </c:pt>
                <c:pt idx="3652">
                  <c:v>10894.800000000001</c:v>
                </c:pt>
                <c:pt idx="3653">
                  <c:v>10743.6</c:v>
                </c:pt>
                <c:pt idx="3654">
                  <c:v>10588.2</c:v>
                </c:pt>
                <c:pt idx="3655">
                  <c:v>10365.6</c:v>
                </c:pt>
                <c:pt idx="3656">
                  <c:v>10008.6</c:v>
                </c:pt>
                <c:pt idx="3657">
                  <c:v>9664.2000000000007</c:v>
                </c:pt>
                <c:pt idx="3658">
                  <c:v>9731.4</c:v>
                </c:pt>
                <c:pt idx="3659">
                  <c:v>10080</c:v>
                </c:pt>
                <c:pt idx="3660">
                  <c:v>10789.800000000001</c:v>
                </c:pt>
                <c:pt idx="3661">
                  <c:v>11503.800000000001</c:v>
                </c:pt>
                <c:pt idx="3662">
                  <c:v>12499.2</c:v>
                </c:pt>
                <c:pt idx="3663">
                  <c:v>13490.400000000001</c:v>
                </c:pt>
                <c:pt idx="3664">
                  <c:v>14397.6</c:v>
                </c:pt>
                <c:pt idx="3665">
                  <c:v>14868</c:v>
                </c:pt>
                <c:pt idx="3666">
                  <c:v>15342.6</c:v>
                </c:pt>
                <c:pt idx="3667">
                  <c:v>15682.800000000001</c:v>
                </c:pt>
                <c:pt idx="3668">
                  <c:v>16056.6</c:v>
                </c:pt>
                <c:pt idx="3669">
                  <c:v>16346.400000000001</c:v>
                </c:pt>
                <c:pt idx="3670">
                  <c:v>16367.400000000001</c:v>
                </c:pt>
                <c:pt idx="3671">
                  <c:v>16275</c:v>
                </c:pt>
                <c:pt idx="3672">
                  <c:v>16090.2</c:v>
                </c:pt>
                <c:pt idx="3673">
                  <c:v>15825.6</c:v>
                </c:pt>
                <c:pt idx="3674">
                  <c:v>16039.800000000001</c:v>
                </c:pt>
                <c:pt idx="3675">
                  <c:v>15430.800000000001</c:v>
                </c:pt>
                <c:pt idx="3676">
                  <c:v>14784</c:v>
                </c:pt>
                <c:pt idx="3677">
                  <c:v>14271.6</c:v>
                </c:pt>
                <c:pt idx="3678">
                  <c:v>14040.6</c:v>
                </c:pt>
                <c:pt idx="3679">
                  <c:v>13906.2</c:v>
                </c:pt>
                <c:pt idx="3680">
                  <c:v>13855.800000000001</c:v>
                </c:pt>
                <c:pt idx="3681">
                  <c:v>13700.400000000001</c:v>
                </c:pt>
                <c:pt idx="3682">
                  <c:v>13717.2</c:v>
                </c:pt>
                <c:pt idx="3683">
                  <c:v>13923</c:v>
                </c:pt>
                <c:pt idx="3684">
                  <c:v>14002.800000000001</c:v>
                </c:pt>
                <c:pt idx="3685">
                  <c:v>14145.6</c:v>
                </c:pt>
                <c:pt idx="3686">
                  <c:v>14498.400000000001</c:v>
                </c:pt>
                <c:pt idx="3687">
                  <c:v>14784</c:v>
                </c:pt>
                <c:pt idx="3688">
                  <c:v>15279.6</c:v>
                </c:pt>
                <c:pt idx="3689">
                  <c:v>15414</c:v>
                </c:pt>
                <c:pt idx="3690">
                  <c:v>15724.800000000001</c:v>
                </c:pt>
                <c:pt idx="3691">
                  <c:v>15825.6</c:v>
                </c:pt>
                <c:pt idx="3692">
                  <c:v>15796.2</c:v>
                </c:pt>
                <c:pt idx="3693">
                  <c:v>15964.2</c:v>
                </c:pt>
                <c:pt idx="3694">
                  <c:v>16270.800000000001</c:v>
                </c:pt>
                <c:pt idx="3695">
                  <c:v>16296</c:v>
                </c:pt>
                <c:pt idx="3696">
                  <c:v>16531.2</c:v>
                </c:pt>
                <c:pt idx="3697">
                  <c:v>16581.600000000002</c:v>
                </c:pt>
                <c:pt idx="3698">
                  <c:v>16678.2</c:v>
                </c:pt>
                <c:pt idx="3699">
                  <c:v>16312.800000000001</c:v>
                </c:pt>
                <c:pt idx="3700">
                  <c:v>15939</c:v>
                </c:pt>
                <c:pt idx="3701">
                  <c:v>15296.400000000001</c:v>
                </c:pt>
                <c:pt idx="3702">
                  <c:v>14754.6</c:v>
                </c:pt>
                <c:pt idx="3703">
                  <c:v>14309.400000000001</c:v>
                </c:pt>
                <c:pt idx="3704">
                  <c:v>13503</c:v>
                </c:pt>
                <c:pt idx="3705">
                  <c:v>12873</c:v>
                </c:pt>
                <c:pt idx="3706">
                  <c:v>12402.6</c:v>
                </c:pt>
                <c:pt idx="3707">
                  <c:v>12133.800000000001</c:v>
                </c:pt>
                <c:pt idx="3708">
                  <c:v>12121.2</c:v>
                </c:pt>
                <c:pt idx="3709">
                  <c:v>12259.800000000001</c:v>
                </c:pt>
                <c:pt idx="3710">
                  <c:v>12747</c:v>
                </c:pt>
                <c:pt idx="3711">
                  <c:v>12868.800000000001</c:v>
                </c:pt>
                <c:pt idx="3712">
                  <c:v>13015.800000000001</c:v>
                </c:pt>
                <c:pt idx="3713">
                  <c:v>12805.800000000001</c:v>
                </c:pt>
                <c:pt idx="3714">
                  <c:v>12587.4</c:v>
                </c:pt>
                <c:pt idx="3715">
                  <c:v>11965.800000000001</c:v>
                </c:pt>
                <c:pt idx="3716">
                  <c:v>10920</c:v>
                </c:pt>
                <c:pt idx="3717">
                  <c:v>9689.4</c:v>
                </c:pt>
                <c:pt idx="3718">
                  <c:v>8769.6</c:v>
                </c:pt>
                <c:pt idx="3719">
                  <c:v>8475.6</c:v>
                </c:pt>
                <c:pt idx="3720">
                  <c:v>8211</c:v>
                </c:pt>
                <c:pt idx="3721">
                  <c:v>7933.8</c:v>
                </c:pt>
                <c:pt idx="3722">
                  <c:v>7996.8</c:v>
                </c:pt>
                <c:pt idx="3723">
                  <c:v>7765.8</c:v>
                </c:pt>
                <c:pt idx="3724">
                  <c:v>7774.2000000000007</c:v>
                </c:pt>
                <c:pt idx="3725">
                  <c:v>7618.8</c:v>
                </c:pt>
                <c:pt idx="3726">
                  <c:v>7299.6</c:v>
                </c:pt>
                <c:pt idx="3727">
                  <c:v>6762</c:v>
                </c:pt>
                <c:pt idx="3728">
                  <c:v>6165.6</c:v>
                </c:pt>
                <c:pt idx="3729">
                  <c:v>5649</c:v>
                </c:pt>
                <c:pt idx="3730">
                  <c:v>5212.2</c:v>
                </c:pt>
                <c:pt idx="3731">
                  <c:v>5069.4000000000005</c:v>
                </c:pt>
                <c:pt idx="3732">
                  <c:v>5086.2</c:v>
                </c:pt>
                <c:pt idx="3733">
                  <c:v>5602.8</c:v>
                </c:pt>
                <c:pt idx="3734">
                  <c:v>5804.4000000000005</c:v>
                </c:pt>
                <c:pt idx="3735">
                  <c:v>5959.8</c:v>
                </c:pt>
                <c:pt idx="3736">
                  <c:v>6052.2</c:v>
                </c:pt>
                <c:pt idx="3737">
                  <c:v>5972.4000000000005</c:v>
                </c:pt>
                <c:pt idx="3738">
                  <c:v>5691</c:v>
                </c:pt>
                <c:pt idx="3739">
                  <c:v>5329.8</c:v>
                </c:pt>
                <c:pt idx="3740">
                  <c:v>5027.4000000000005</c:v>
                </c:pt>
                <c:pt idx="3741">
                  <c:v>4708.2</c:v>
                </c:pt>
                <c:pt idx="3742">
                  <c:v>4200</c:v>
                </c:pt>
                <c:pt idx="3743">
                  <c:v>3939.6000000000004</c:v>
                </c:pt>
                <c:pt idx="3744">
                  <c:v>3943.8</c:v>
                </c:pt>
                <c:pt idx="3745">
                  <c:v>4099.2</c:v>
                </c:pt>
                <c:pt idx="3746">
                  <c:v>4813.2</c:v>
                </c:pt>
                <c:pt idx="3747">
                  <c:v>5237.4000000000005</c:v>
                </c:pt>
                <c:pt idx="3748">
                  <c:v>5548.2</c:v>
                </c:pt>
                <c:pt idx="3749">
                  <c:v>5812.8</c:v>
                </c:pt>
                <c:pt idx="3750">
                  <c:v>6027</c:v>
                </c:pt>
                <c:pt idx="3751">
                  <c:v>6346.2</c:v>
                </c:pt>
                <c:pt idx="3752">
                  <c:v>6581.4000000000005</c:v>
                </c:pt>
                <c:pt idx="3753">
                  <c:v>6518.4000000000005</c:v>
                </c:pt>
                <c:pt idx="3754">
                  <c:v>6199.2</c:v>
                </c:pt>
                <c:pt idx="3755">
                  <c:v>6090</c:v>
                </c:pt>
                <c:pt idx="3756">
                  <c:v>6518.4000000000005</c:v>
                </c:pt>
                <c:pt idx="3757">
                  <c:v>7131.6</c:v>
                </c:pt>
                <c:pt idx="3758">
                  <c:v>7845.6</c:v>
                </c:pt>
                <c:pt idx="3759">
                  <c:v>8668.8000000000011</c:v>
                </c:pt>
                <c:pt idx="3760">
                  <c:v>9387</c:v>
                </c:pt>
                <c:pt idx="3761">
                  <c:v>10071.6</c:v>
                </c:pt>
                <c:pt idx="3762">
                  <c:v>10491.6</c:v>
                </c:pt>
                <c:pt idx="3763">
                  <c:v>11247.6</c:v>
                </c:pt>
                <c:pt idx="3764">
                  <c:v>11491.2</c:v>
                </c:pt>
                <c:pt idx="3765">
                  <c:v>11352.6</c:v>
                </c:pt>
                <c:pt idx="3766">
                  <c:v>11239.2</c:v>
                </c:pt>
                <c:pt idx="3767">
                  <c:v>11436.6</c:v>
                </c:pt>
                <c:pt idx="3768">
                  <c:v>11545.800000000001</c:v>
                </c:pt>
                <c:pt idx="3769">
                  <c:v>11718</c:v>
                </c:pt>
                <c:pt idx="3770">
                  <c:v>13263.6</c:v>
                </c:pt>
                <c:pt idx="3771">
                  <c:v>13347.6</c:v>
                </c:pt>
                <c:pt idx="3772">
                  <c:v>13293</c:v>
                </c:pt>
                <c:pt idx="3773">
                  <c:v>13028.400000000001</c:v>
                </c:pt>
                <c:pt idx="3774">
                  <c:v>13099.800000000001</c:v>
                </c:pt>
                <c:pt idx="3775">
                  <c:v>13230</c:v>
                </c:pt>
                <c:pt idx="3776">
                  <c:v>13465.2</c:v>
                </c:pt>
                <c:pt idx="3777">
                  <c:v>13666.800000000001</c:v>
                </c:pt>
                <c:pt idx="3778">
                  <c:v>13948.2</c:v>
                </c:pt>
                <c:pt idx="3779">
                  <c:v>14191.800000000001</c:v>
                </c:pt>
                <c:pt idx="3780">
                  <c:v>14574</c:v>
                </c:pt>
                <c:pt idx="3781">
                  <c:v>14880.6</c:v>
                </c:pt>
                <c:pt idx="3782">
                  <c:v>15183</c:v>
                </c:pt>
                <c:pt idx="3783">
                  <c:v>14863.800000000001</c:v>
                </c:pt>
                <c:pt idx="3784">
                  <c:v>14733.6</c:v>
                </c:pt>
                <c:pt idx="3785">
                  <c:v>14779.800000000001</c:v>
                </c:pt>
                <c:pt idx="3786">
                  <c:v>14313.6</c:v>
                </c:pt>
                <c:pt idx="3787">
                  <c:v>14296.800000000001</c:v>
                </c:pt>
                <c:pt idx="3788">
                  <c:v>13771.800000000001</c:v>
                </c:pt>
                <c:pt idx="3789">
                  <c:v>13234.2</c:v>
                </c:pt>
                <c:pt idx="3790">
                  <c:v>12818.4</c:v>
                </c:pt>
                <c:pt idx="3791">
                  <c:v>12411</c:v>
                </c:pt>
                <c:pt idx="3792">
                  <c:v>11722.2</c:v>
                </c:pt>
                <c:pt idx="3793">
                  <c:v>11121.6</c:v>
                </c:pt>
                <c:pt idx="3794">
                  <c:v>10638.6</c:v>
                </c:pt>
                <c:pt idx="3795">
                  <c:v>10336.200000000001</c:v>
                </c:pt>
                <c:pt idx="3796">
                  <c:v>10269</c:v>
                </c:pt>
                <c:pt idx="3797">
                  <c:v>10252.200000000001</c:v>
                </c:pt>
                <c:pt idx="3798">
                  <c:v>10046.4</c:v>
                </c:pt>
                <c:pt idx="3799">
                  <c:v>9538.2000000000007</c:v>
                </c:pt>
                <c:pt idx="3800">
                  <c:v>8769.6</c:v>
                </c:pt>
                <c:pt idx="3801">
                  <c:v>8240.4</c:v>
                </c:pt>
                <c:pt idx="3802">
                  <c:v>8013.6</c:v>
                </c:pt>
                <c:pt idx="3803">
                  <c:v>7597.8</c:v>
                </c:pt>
                <c:pt idx="3804">
                  <c:v>7085.4000000000005</c:v>
                </c:pt>
                <c:pt idx="3805">
                  <c:v>6707.4000000000005</c:v>
                </c:pt>
                <c:pt idx="3806">
                  <c:v>6413.4000000000005</c:v>
                </c:pt>
                <c:pt idx="3807">
                  <c:v>6144.6</c:v>
                </c:pt>
                <c:pt idx="3808">
                  <c:v>5905.2</c:v>
                </c:pt>
                <c:pt idx="3809">
                  <c:v>5527.2</c:v>
                </c:pt>
                <c:pt idx="3810">
                  <c:v>5321.4000000000005</c:v>
                </c:pt>
                <c:pt idx="3811">
                  <c:v>5229</c:v>
                </c:pt>
                <c:pt idx="3812">
                  <c:v>4897.2</c:v>
                </c:pt>
                <c:pt idx="3813">
                  <c:v>4590.6000000000004</c:v>
                </c:pt>
                <c:pt idx="3814">
                  <c:v>4393.2</c:v>
                </c:pt>
                <c:pt idx="3815">
                  <c:v>3876.6000000000004</c:v>
                </c:pt>
                <c:pt idx="3816">
                  <c:v>4015.2000000000003</c:v>
                </c:pt>
                <c:pt idx="3817">
                  <c:v>3864</c:v>
                </c:pt>
                <c:pt idx="3818">
                  <c:v>3897.6000000000004</c:v>
                </c:pt>
                <c:pt idx="3819">
                  <c:v>4040.4</c:v>
                </c:pt>
                <c:pt idx="3820">
                  <c:v>4166.4000000000005</c:v>
                </c:pt>
                <c:pt idx="3821">
                  <c:v>3935.4</c:v>
                </c:pt>
                <c:pt idx="3822">
                  <c:v>3838.8</c:v>
                </c:pt>
                <c:pt idx="3823">
                  <c:v>3502.8</c:v>
                </c:pt>
                <c:pt idx="3824">
                  <c:v>3099.6</c:v>
                </c:pt>
                <c:pt idx="3825">
                  <c:v>2301.6</c:v>
                </c:pt>
                <c:pt idx="3826">
                  <c:v>2339.4</c:v>
                </c:pt>
                <c:pt idx="3827">
                  <c:v>2360.4</c:v>
                </c:pt>
                <c:pt idx="3828">
                  <c:v>2549.4</c:v>
                </c:pt>
                <c:pt idx="3829">
                  <c:v>2746.8</c:v>
                </c:pt>
                <c:pt idx="3830">
                  <c:v>3242.4</c:v>
                </c:pt>
                <c:pt idx="3831">
                  <c:v>3792.6000000000004</c:v>
                </c:pt>
                <c:pt idx="3832">
                  <c:v>4305</c:v>
                </c:pt>
                <c:pt idx="3833">
                  <c:v>4565.4000000000005</c:v>
                </c:pt>
                <c:pt idx="3834">
                  <c:v>4838.4000000000005</c:v>
                </c:pt>
                <c:pt idx="3835">
                  <c:v>4909.8</c:v>
                </c:pt>
                <c:pt idx="3836">
                  <c:v>4897.2</c:v>
                </c:pt>
                <c:pt idx="3837">
                  <c:v>4762.8</c:v>
                </c:pt>
                <c:pt idx="3838">
                  <c:v>4582.2</c:v>
                </c:pt>
                <c:pt idx="3839">
                  <c:v>4821.6000000000004</c:v>
                </c:pt>
                <c:pt idx="3840">
                  <c:v>5229</c:v>
                </c:pt>
                <c:pt idx="3841">
                  <c:v>5728.8</c:v>
                </c:pt>
                <c:pt idx="3842">
                  <c:v>5838</c:v>
                </c:pt>
                <c:pt idx="3843">
                  <c:v>6438.6</c:v>
                </c:pt>
                <c:pt idx="3844">
                  <c:v>7236.6</c:v>
                </c:pt>
                <c:pt idx="3845">
                  <c:v>7988.4000000000005</c:v>
                </c:pt>
                <c:pt idx="3846">
                  <c:v>8379</c:v>
                </c:pt>
                <c:pt idx="3847">
                  <c:v>8261.4</c:v>
                </c:pt>
                <c:pt idx="3848">
                  <c:v>7908.6</c:v>
                </c:pt>
                <c:pt idx="3849">
                  <c:v>7597.8</c:v>
                </c:pt>
                <c:pt idx="3850">
                  <c:v>7841.4000000000005</c:v>
                </c:pt>
                <c:pt idx="3851">
                  <c:v>8085</c:v>
                </c:pt>
                <c:pt idx="3852">
                  <c:v>8723.4</c:v>
                </c:pt>
                <c:pt idx="3853">
                  <c:v>9097.2000000000007</c:v>
                </c:pt>
                <c:pt idx="3854">
                  <c:v>9966.6</c:v>
                </c:pt>
                <c:pt idx="3855">
                  <c:v>10571.4</c:v>
                </c:pt>
                <c:pt idx="3856">
                  <c:v>11197.2</c:v>
                </c:pt>
                <c:pt idx="3857">
                  <c:v>11646.6</c:v>
                </c:pt>
                <c:pt idx="3858">
                  <c:v>12184.2</c:v>
                </c:pt>
                <c:pt idx="3859">
                  <c:v>12037.2</c:v>
                </c:pt>
                <c:pt idx="3860">
                  <c:v>11760</c:v>
                </c:pt>
                <c:pt idx="3861">
                  <c:v>11310.6</c:v>
                </c:pt>
                <c:pt idx="3862">
                  <c:v>10928.4</c:v>
                </c:pt>
                <c:pt idx="3863">
                  <c:v>10437</c:v>
                </c:pt>
                <c:pt idx="3864">
                  <c:v>10332</c:v>
                </c:pt>
                <c:pt idx="3865">
                  <c:v>9895.2000000000007</c:v>
                </c:pt>
                <c:pt idx="3866">
                  <c:v>10176.6</c:v>
                </c:pt>
                <c:pt idx="3867">
                  <c:v>9580.2000000000007</c:v>
                </c:pt>
                <c:pt idx="3868">
                  <c:v>9114</c:v>
                </c:pt>
                <c:pt idx="3869">
                  <c:v>8496.6</c:v>
                </c:pt>
                <c:pt idx="3870">
                  <c:v>7828.8</c:v>
                </c:pt>
                <c:pt idx="3871">
                  <c:v>7085.4000000000005</c:v>
                </c:pt>
                <c:pt idx="3872">
                  <c:v>6249.6</c:v>
                </c:pt>
                <c:pt idx="3873">
                  <c:v>5548.2</c:v>
                </c:pt>
                <c:pt idx="3874">
                  <c:v>5056.8</c:v>
                </c:pt>
                <c:pt idx="3875">
                  <c:v>5056.8</c:v>
                </c:pt>
                <c:pt idx="3876">
                  <c:v>5166</c:v>
                </c:pt>
                <c:pt idx="3877">
                  <c:v>5300.4000000000005</c:v>
                </c:pt>
                <c:pt idx="3878">
                  <c:v>5598.6</c:v>
                </c:pt>
                <c:pt idx="3879">
                  <c:v>6064.8</c:v>
                </c:pt>
                <c:pt idx="3880">
                  <c:v>6556.2000000000007</c:v>
                </c:pt>
                <c:pt idx="3881">
                  <c:v>6778.8</c:v>
                </c:pt>
                <c:pt idx="3882">
                  <c:v>6858.6</c:v>
                </c:pt>
                <c:pt idx="3883">
                  <c:v>6707.4000000000005</c:v>
                </c:pt>
                <c:pt idx="3884">
                  <c:v>6430.2</c:v>
                </c:pt>
                <c:pt idx="3885">
                  <c:v>5884.2</c:v>
                </c:pt>
                <c:pt idx="3886">
                  <c:v>5460</c:v>
                </c:pt>
                <c:pt idx="3887">
                  <c:v>5363.4000000000005</c:v>
                </c:pt>
                <c:pt idx="3888">
                  <c:v>5266.8</c:v>
                </c:pt>
                <c:pt idx="3889">
                  <c:v>5119.8</c:v>
                </c:pt>
                <c:pt idx="3890">
                  <c:v>5019</c:v>
                </c:pt>
                <c:pt idx="3891">
                  <c:v>4939.2</c:v>
                </c:pt>
                <c:pt idx="3892">
                  <c:v>4775.4000000000005</c:v>
                </c:pt>
                <c:pt idx="3893">
                  <c:v>4456.2</c:v>
                </c:pt>
                <c:pt idx="3894">
                  <c:v>4170.6000000000004</c:v>
                </c:pt>
                <c:pt idx="3895">
                  <c:v>3712.8</c:v>
                </c:pt>
                <c:pt idx="3896">
                  <c:v>3166.8</c:v>
                </c:pt>
                <c:pt idx="3897">
                  <c:v>2721.6</c:v>
                </c:pt>
                <c:pt idx="3898">
                  <c:v>2545.2000000000003</c:v>
                </c:pt>
                <c:pt idx="3899">
                  <c:v>2860.2000000000003</c:v>
                </c:pt>
                <c:pt idx="3900">
                  <c:v>3326.4</c:v>
                </c:pt>
                <c:pt idx="3901">
                  <c:v>3620.4</c:v>
                </c:pt>
                <c:pt idx="3902">
                  <c:v>4116</c:v>
                </c:pt>
                <c:pt idx="3903">
                  <c:v>4943.4000000000005</c:v>
                </c:pt>
                <c:pt idx="3904">
                  <c:v>5493.6</c:v>
                </c:pt>
                <c:pt idx="3905">
                  <c:v>5644.8</c:v>
                </c:pt>
                <c:pt idx="3906">
                  <c:v>5896.8</c:v>
                </c:pt>
                <c:pt idx="3907">
                  <c:v>6106.8</c:v>
                </c:pt>
                <c:pt idx="3908">
                  <c:v>5871.6</c:v>
                </c:pt>
                <c:pt idx="3909">
                  <c:v>5250</c:v>
                </c:pt>
                <c:pt idx="3910">
                  <c:v>4842.6000000000004</c:v>
                </c:pt>
                <c:pt idx="3911">
                  <c:v>4741.8</c:v>
                </c:pt>
                <c:pt idx="3912">
                  <c:v>4662</c:v>
                </c:pt>
                <c:pt idx="3913">
                  <c:v>4607.4000000000005</c:v>
                </c:pt>
                <c:pt idx="3914">
                  <c:v>4993.8</c:v>
                </c:pt>
                <c:pt idx="3915">
                  <c:v>5006.4000000000005</c:v>
                </c:pt>
                <c:pt idx="3916">
                  <c:v>5082</c:v>
                </c:pt>
                <c:pt idx="3917">
                  <c:v>5124</c:v>
                </c:pt>
                <c:pt idx="3918">
                  <c:v>4972.8</c:v>
                </c:pt>
                <c:pt idx="3919">
                  <c:v>4683</c:v>
                </c:pt>
                <c:pt idx="3920">
                  <c:v>4372.2</c:v>
                </c:pt>
                <c:pt idx="3921">
                  <c:v>3847.2000000000003</c:v>
                </c:pt>
                <c:pt idx="3922">
                  <c:v>3645.6000000000004</c:v>
                </c:pt>
                <c:pt idx="3923">
                  <c:v>3649.8</c:v>
                </c:pt>
                <c:pt idx="3924">
                  <c:v>3784.2000000000003</c:v>
                </c:pt>
                <c:pt idx="3925">
                  <c:v>3830.4</c:v>
                </c:pt>
                <c:pt idx="3926">
                  <c:v>3981.6000000000004</c:v>
                </c:pt>
                <c:pt idx="3927">
                  <c:v>4288.2</c:v>
                </c:pt>
                <c:pt idx="3928">
                  <c:v>4380.6000000000004</c:v>
                </c:pt>
                <c:pt idx="3929">
                  <c:v>4405.8</c:v>
                </c:pt>
                <c:pt idx="3930">
                  <c:v>4473</c:v>
                </c:pt>
                <c:pt idx="3931">
                  <c:v>4380.6000000000004</c:v>
                </c:pt>
                <c:pt idx="3932">
                  <c:v>4090.8</c:v>
                </c:pt>
                <c:pt idx="3933">
                  <c:v>3805.2000000000003</c:v>
                </c:pt>
                <c:pt idx="3934">
                  <c:v>3515.4</c:v>
                </c:pt>
                <c:pt idx="3935">
                  <c:v>3351.6000000000004</c:v>
                </c:pt>
                <c:pt idx="3936">
                  <c:v>3103.8</c:v>
                </c:pt>
                <c:pt idx="3937">
                  <c:v>2998.8</c:v>
                </c:pt>
                <c:pt idx="3938">
                  <c:v>2742.6</c:v>
                </c:pt>
                <c:pt idx="3939">
                  <c:v>2734.2000000000003</c:v>
                </c:pt>
                <c:pt idx="3940">
                  <c:v>2772</c:v>
                </c:pt>
                <c:pt idx="3941">
                  <c:v>2780.4</c:v>
                </c:pt>
                <c:pt idx="3942">
                  <c:v>2822.4</c:v>
                </c:pt>
                <c:pt idx="3943">
                  <c:v>2780.4</c:v>
                </c:pt>
                <c:pt idx="3944">
                  <c:v>2809.8</c:v>
                </c:pt>
                <c:pt idx="3945">
                  <c:v>2818.2000000000003</c:v>
                </c:pt>
                <c:pt idx="3946">
                  <c:v>2935.8</c:v>
                </c:pt>
                <c:pt idx="3947">
                  <c:v>3259.2000000000003</c:v>
                </c:pt>
                <c:pt idx="3948">
                  <c:v>3838.8</c:v>
                </c:pt>
                <c:pt idx="3949">
                  <c:v>4557</c:v>
                </c:pt>
                <c:pt idx="3950">
                  <c:v>5304.6</c:v>
                </c:pt>
                <c:pt idx="3951">
                  <c:v>6165.6</c:v>
                </c:pt>
                <c:pt idx="3952">
                  <c:v>6938.4000000000005</c:v>
                </c:pt>
                <c:pt idx="3953">
                  <c:v>7606.2000000000007</c:v>
                </c:pt>
                <c:pt idx="3954">
                  <c:v>8160.6</c:v>
                </c:pt>
                <c:pt idx="3955">
                  <c:v>8584.8000000000011</c:v>
                </c:pt>
                <c:pt idx="3956">
                  <c:v>8904</c:v>
                </c:pt>
                <c:pt idx="3957">
                  <c:v>9151.8000000000011</c:v>
                </c:pt>
                <c:pt idx="3958">
                  <c:v>9269.4</c:v>
                </c:pt>
                <c:pt idx="3959">
                  <c:v>9273.6</c:v>
                </c:pt>
                <c:pt idx="3960">
                  <c:v>9366</c:v>
                </c:pt>
                <c:pt idx="3961">
                  <c:v>9336.6</c:v>
                </c:pt>
                <c:pt idx="3962">
                  <c:v>9172.8000000000011</c:v>
                </c:pt>
                <c:pt idx="3963">
                  <c:v>9328.2000000000007</c:v>
                </c:pt>
                <c:pt idx="3964">
                  <c:v>9252.6</c:v>
                </c:pt>
                <c:pt idx="3965">
                  <c:v>9261</c:v>
                </c:pt>
                <c:pt idx="3966">
                  <c:v>9000.6</c:v>
                </c:pt>
                <c:pt idx="3967">
                  <c:v>8488.2000000000007</c:v>
                </c:pt>
                <c:pt idx="3968">
                  <c:v>7959</c:v>
                </c:pt>
                <c:pt idx="3969">
                  <c:v>7413</c:v>
                </c:pt>
                <c:pt idx="3970">
                  <c:v>7215.6</c:v>
                </c:pt>
                <c:pt idx="3971">
                  <c:v>7182</c:v>
                </c:pt>
                <c:pt idx="3972">
                  <c:v>7345.8</c:v>
                </c:pt>
                <c:pt idx="3973">
                  <c:v>7723.8</c:v>
                </c:pt>
                <c:pt idx="3974">
                  <c:v>8173.2000000000007</c:v>
                </c:pt>
                <c:pt idx="3975">
                  <c:v>8559.6</c:v>
                </c:pt>
                <c:pt idx="3976">
                  <c:v>8891.4</c:v>
                </c:pt>
                <c:pt idx="3977">
                  <c:v>9000.6</c:v>
                </c:pt>
                <c:pt idx="3978">
                  <c:v>9105.6</c:v>
                </c:pt>
                <c:pt idx="3979">
                  <c:v>9143.4</c:v>
                </c:pt>
                <c:pt idx="3980">
                  <c:v>9114</c:v>
                </c:pt>
                <c:pt idx="3981">
                  <c:v>9017.4</c:v>
                </c:pt>
                <c:pt idx="3982">
                  <c:v>8694</c:v>
                </c:pt>
                <c:pt idx="3983">
                  <c:v>8626.8000000000011</c:v>
                </c:pt>
                <c:pt idx="3984">
                  <c:v>8559.6</c:v>
                </c:pt>
                <c:pt idx="3985">
                  <c:v>8765.4</c:v>
                </c:pt>
                <c:pt idx="3986">
                  <c:v>8874.6</c:v>
                </c:pt>
                <c:pt idx="3987">
                  <c:v>9055.2000000000007</c:v>
                </c:pt>
                <c:pt idx="3988">
                  <c:v>9097.2000000000007</c:v>
                </c:pt>
                <c:pt idx="3989">
                  <c:v>8967</c:v>
                </c:pt>
                <c:pt idx="3990">
                  <c:v>8971.2000000000007</c:v>
                </c:pt>
                <c:pt idx="3991">
                  <c:v>8841</c:v>
                </c:pt>
                <c:pt idx="3992">
                  <c:v>8622.6</c:v>
                </c:pt>
                <c:pt idx="3993">
                  <c:v>8437.8000000000011</c:v>
                </c:pt>
                <c:pt idx="3994">
                  <c:v>8391.6</c:v>
                </c:pt>
                <c:pt idx="3995">
                  <c:v>8412.6</c:v>
                </c:pt>
                <c:pt idx="3996">
                  <c:v>8290.8000000000011</c:v>
                </c:pt>
                <c:pt idx="3997">
                  <c:v>8299.2000000000007</c:v>
                </c:pt>
                <c:pt idx="3998">
                  <c:v>8332.8000000000011</c:v>
                </c:pt>
                <c:pt idx="3999">
                  <c:v>8534.4</c:v>
                </c:pt>
                <c:pt idx="4000">
                  <c:v>8622.6</c:v>
                </c:pt>
                <c:pt idx="4001">
                  <c:v>8593.2000000000007</c:v>
                </c:pt>
                <c:pt idx="4002">
                  <c:v>8505</c:v>
                </c:pt>
                <c:pt idx="4003">
                  <c:v>8530.2000000000007</c:v>
                </c:pt>
                <c:pt idx="4004">
                  <c:v>8311.8000000000011</c:v>
                </c:pt>
                <c:pt idx="4005">
                  <c:v>7879.2000000000007</c:v>
                </c:pt>
                <c:pt idx="4006">
                  <c:v>7303.8</c:v>
                </c:pt>
                <c:pt idx="4007">
                  <c:v>6833.4000000000005</c:v>
                </c:pt>
                <c:pt idx="4008">
                  <c:v>6615</c:v>
                </c:pt>
                <c:pt idx="4009">
                  <c:v>6430.2</c:v>
                </c:pt>
                <c:pt idx="4010">
                  <c:v>6220.2</c:v>
                </c:pt>
                <c:pt idx="4011">
                  <c:v>6048</c:v>
                </c:pt>
                <c:pt idx="4012">
                  <c:v>6027</c:v>
                </c:pt>
                <c:pt idx="4013">
                  <c:v>5817</c:v>
                </c:pt>
                <c:pt idx="4014">
                  <c:v>5392.8</c:v>
                </c:pt>
                <c:pt idx="4015">
                  <c:v>4851</c:v>
                </c:pt>
                <c:pt idx="4016">
                  <c:v>3969</c:v>
                </c:pt>
                <c:pt idx="4017">
                  <c:v>3070.2000000000003</c:v>
                </c:pt>
                <c:pt idx="4018">
                  <c:v>2688</c:v>
                </c:pt>
                <c:pt idx="4019">
                  <c:v>2662.8</c:v>
                </c:pt>
                <c:pt idx="4020">
                  <c:v>2814</c:v>
                </c:pt>
                <c:pt idx="4021">
                  <c:v>3066</c:v>
                </c:pt>
                <c:pt idx="4022">
                  <c:v>3414.6000000000004</c:v>
                </c:pt>
                <c:pt idx="4023">
                  <c:v>3729.6000000000004</c:v>
                </c:pt>
                <c:pt idx="4024">
                  <c:v>4141.2</c:v>
                </c:pt>
                <c:pt idx="4025">
                  <c:v>4590.6000000000004</c:v>
                </c:pt>
                <c:pt idx="4026">
                  <c:v>5157.6000000000004</c:v>
                </c:pt>
                <c:pt idx="4027">
                  <c:v>5602.8</c:v>
                </c:pt>
                <c:pt idx="4028">
                  <c:v>5943</c:v>
                </c:pt>
                <c:pt idx="4029">
                  <c:v>6031.2</c:v>
                </c:pt>
                <c:pt idx="4030">
                  <c:v>6018.6</c:v>
                </c:pt>
                <c:pt idx="4031">
                  <c:v>6035.4000000000005</c:v>
                </c:pt>
                <c:pt idx="4032">
                  <c:v>6018.6</c:v>
                </c:pt>
                <c:pt idx="4033">
                  <c:v>6060.6</c:v>
                </c:pt>
                <c:pt idx="4034">
                  <c:v>6001.8</c:v>
                </c:pt>
                <c:pt idx="4035">
                  <c:v>5863.2</c:v>
                </c:pt>
                <c:pt idx="4036">
                  <c:v>5632.2</c:v>
                </c:pt>
                <c:pt idx="4037">
                  <c:v>5401.2</c:v>
                </c:pt>
                <c:pt idx="4038">
                  <c:v>5069.4000000000005</c:v>
                </c:pt>
                <c:pt idx="4039">
                  <c:v>4762.8</c:v>
                </c:pt>
                <c:pt idx="4040">
                  <c:v>4678.8</c:v>
                </c:pt>
                <c:pt idx="4041">
                  <c:v>4531.8</c:v>
                </c:pt>
                <c:pt idx="4042">
                  <c:v>4557</c:v>
                </c:pt>
                <c:pt idx="4043">
                  <c:v>4586.4000000000005</c:v>
                </c:pt>
                <c:pt idx="4044">
                  <c:v>4317.6000000000004</c:v>
                </c:pt>
                <c:pt idx="4045">
                  <c:v>4657.8</c:v>
                </c:pt>
                <c:pt idx="4046">
                  <c:v>4737.6000000000004</c:v>
                </c:pt>
                <c:pt idx="4047">
                  <c:v>4775.4000000000005</c:v>
                </c:pt>
                <c:pt idx="4048">
                  <c:v>4888.8</c:v>
                </c:pt>
                <c:pt idx="4049">
                  <c:v>5145</c:v>
                </c:pt>
                <c:pt idx="4050">
                  <c:v>5161.8</c:v>
                </c:pt>
                <c:pt idx="4051">
                  <c:v>4872</c:v>
                </c:pt>
                <c:pt idx="4052">
                  <c:v>4628.4000000000005</c:v>
                </c:pt>
                <c:pt idx="4053">
                  <c:v>4292.4000000000005</c:v>
                </c:pt>
                <c:pt idx="4054">
                  <c:v>3977.4</c:v>
                </c:pt>
                <c:pt idx="4055">
                  <c:v>3931.2000000000003</c:v>
                </c:pt>
                <c:pt idx="4056">
                  <c:v>3813.6000000000004</c:v>
                </c:pt>
                <c:pt idx="4057">
                  <c:v>3830.4</c:v>
                </c:pt>
                <c:pt idx="4058">
                  <c:v>3796.8</c:v>
                </c:pt>
                <c:pt idx="4059">
                  <c:v>3851.4</c:v>
                </c:pt>
                <c:pt idx="4060">
                  <c:v>3792.6000000000004</c:v>
                </c:pt>
                <c:pt idx="4061">
                  <c:v>3784.2000000000003</c:v>
                </c:pt>
                <c:pt idx="4062">
                  <c:v>3763.2000000000003</c:v>
                </c:pt>
                <c:pt idx="4063">
                  <c:v>3620.4</c:v>
                </c:pt>
                <c:pt idx="4064">
                  <c:v>3276</c:v>
                </c:pt>
                <c:pt idx="4065">
                  <c:v>3082.8</c:v>
                </c:pt>
                <c:pt idx="4066">
                  <c:v>2994.6</c:v>
                </c:pt>
                <c:pt idx="4067">
                  <c:v>2965.2000000000003</c:v>
                </c:pt>
                <c:pt idx="4068">
                  <c:v>3061.8</c:v>
                </c:pt>
                <c:pt idx="4069">
                  <c:v>3103.8</c:v>
                </c:pt>
                <c:pt idx="4070">
                  <c:v>3192</c:v>
                </c:pt>
                <c:pt idx="4071">
                  <c:v>3213</c:v>
                </c:pt>
                <c:pt idx="4072">
                  <c:v>3116.4</c:v>
                </c:pt>
                <c:pt idx="4073">
                  <c:v>3003</c:v>
                </c:pt>
                <c:pt idx="4074">
                  <c:v>2956.8</c:v>
                </c:pt>
                <c:pt idx="4075">
                  <c:v>2906.4</c:v>
                </c:pt>
                <c:pt idx="4076">
                  <c:v>2679.6</c:v>
                </c:pt>
                <c:pt idx="4077">
                  <c:v>2557.8000000000002</c:v>
                </c:pt>
                <c:pt idx="4078">
                  <c:v>2423.4</c:v>
                </c:pt>
                <c:pt idx="4079">
                  <c:v>2511.6</c:v>
                </c:pt>
                <c:pt idx="4080">
                  <c:v>2646</c:v>
                </c:pt>
                <c:pt idx="4081">
                  <c:v>2780.4</c:v>
                </c:pt>
                <c:pt idx="4082">
                  <c:v>3288.6000000000004</c:v>
                </c:pt>
                <c:pt idx="4083">
                  <c:v>3578.4</c:v>
                </c:pt>
                <c:pt idx="4084">
                  <c:v>3780</c:v>
                </c:pt>
                <c:pt idx="4085">
                  <c:v>3817.8</c:v>
                </c:pt>
                <c:pt idx="4086">
                  <c:v>3582.6000000000004</c:v>
                </c:pt>
                <c:pt idx="4087">
                  <c:v>3347.4</c:v>
                </c:pt>
                <c:pt idx="4088">
                  <c:v>2956.8</c:v>
                </c:pt>
                <c:pt idx="4089">
                  <c:v>2448.6</c:v>
                </c:pt>
                <c:pt idx="4090">
                  <c:v>2137.8000000000002</c:v>
                </c:pt>
                <c:pt idx="4091">
                  <c:v>1906.8000000000002</c:v>
                </c:pt>
                <c:pt idx="4092">
                  <c:v>1818.6000000000001</c:v>
                </c:pt>
                <c:pt idx="4093">
                  <c:v>1902.6000000000001</c:v>
                </c:pt>
                <c:pt idx="4094">
                  <c:v>1961.4</c:v>
                </c:pt>
                <c:pt idx="4095">
                  <c:v>1999.2</c:v>
                </c:pt>
                <c:pt idx="4096">
                  <c:v>2007.6000000000001</c:v>
                </c:pt>
                <c:pt idx="4097">
                  <c:v>1999.2</c:v>
                </c:pt>
                <c:pt idx="4098">
                  <c:v>1911</c:v>
                </c:pt>
                <c:pt idx="4099">
                  <c:v>1797.6000000000001</c:v>
                </c:pt>
                <c:pt idx="4100">
                  <c:v>1633.8000000000002</c:v>
                </c:pt>
                <c:pt idx="4101">
                  <c:v>1558.2</c:v>
                </c:pt>
                <c:pt idx="4102">
                  <c:v>1474.2</c:v>
                </c:pt>
                <c:pt idx="4103">
                  <c:v>1440.6000000000001</c:v>
                </c:pt>
                <c:pt idx="4104">
                  <c:v>1533</c:v>
                </c:pt>
                <c:pt idx="4105">
                  <c:v>1570.8</c:v>
                </c:pt>
                <c:pt idx="4106">
                  <c:v>1570.8</c:v>
                </c:pt>
                <c:pt idx="4107">
                  <c:v>1478.4</c:v>
                </c:pt>
                <c:pt idx="4108">
                  <c:v>1524.6000000000001</c:v>
                </c:pt>
                <c:pt idx="4109">
                  <c:v>1520.4</c:v>
                </c:pt>
                <c:pt idx="4110">
                  <c:v>1491</c:v>
                </c:pt>
                <c:pt idx="4111">
                  <c:v>1297.8</c:v>
                </c:pt>
                <c:pt idx="4112">
                  <c:v>1016.4000000000001</c:v>
                </c:pt>
                <c:pt idx="4113">
                  <c:v>831.6</c:v>
                </c:pt>
                <c:pt idx="4114">
                  <c:v>751.80000000000007</c:v>
                </c:pt>
                <c:pt idx="4115">
                  <c:v>672</c:v>
                </c:pt>
                <c:pt idx="4116">
                  <c:v>600.6</c:v>
                </c:pt>
                <c:pt idx="4117">
                  <c:v>634.20000000000005</c:v>
                </c:pt>
                <c:pt idx="4118">
                  <c:v>781.2</c:v>
                </c:pt>
                <c:pt idx="4119">
                  <c:v>995.40000000000009</c:v>
                </c:pt>
                <c:pt idx="4120">
                  <c:v>1083.6000000000001</c:v>
                </c:pt>
                <c:pt idx="4121">
                  <c:v>1125.6000000000001</c:v>
                </c:pt>
                <c:pt idx="4122">
                  <c:v>1100.4000000000001</c:v>
                </c:pt>
                <c:pt idx="4123">
                  <c:v>1138.2</c:v>
                </c:pt>
                <c:pt idx="4124">
                  <c:v>1016.4000000000001</c:v>
                </c:pt>
                <c:pt idx="4125">
                  <c:v>995.40000000000009</c:v>
                </c:pt>
                <c:pt idx="4126">
                  <c:v>873.6</c:v>
                </c:pt>
                <c:pt idx="4127">
                  <c:v>928.2</c:v>
                </c:pt>
                <c:pt idx="4128">
                  <c:v>1008</c:v>
                </c:pt>
                <c:pt idx="4129">
                  <c:v>999.6</c:v>
                </c:pt>
                <c:pt idx="4130">
                  <c:v>1096.2</c:v>
                </c:pt>
                <c:pt idx="4131">
                  <c:v>999.6</c:v>
                </c:pt>
                <c:pt idx="4132">
                  <c:v>949.2</c:v>
                </c:pt>
                <c:pt idx="4133">
                  <c:v>865.2</c:v>
                </c:pt>
                <c:pt idx="4134">
                  <c:v>852.6</c:v>
                </c:pt>
                <c:pt idx="4135">
                  <c:v>819</c:v>
                </c:pt>
                <c:pt idx="4136">
                  <c:v>667.80000000000007</c:v>
                </c:pt>
                <c:pt idx="4137">
                  <c:v>676.2</c:v>
                </c:pt>
                <c:pt idx="4138">
                  <c:v>726.6</c:v>
                </c:pt>
                <c:pt idx="4139">
                  <c:v>873.6</c:v>
                </c:pt>
                <c:pt idx="4140">
                  <c:v>1041.6000000000001</c:v>
                </c:pt>
                <c:pt idx="4141">
                  <c:v>1159.2</c:v>
                </c:pt>
                <c:pt idx="4142">
                  <c:v>1398.6000000000001</c:v>
                </c:pt>
                <c:pt idx="4143">
                  <c:v>1764</c:v>
                </c:pt>
                <c:pt idx="4144">
                  <c:v>1932</c:v>
                </c:pt>
                <c:pt idx="4145">
                  <c:v>2032.8000000000002</c:v>
                </c:pt>
                <c:pt idx="4146">
                  <c:v>2146.2000000000003</c:v>
                </c:pt>
                <c:pt idx="4147">
                  <c:v>2062.2000000000003</c:v>
                </c:pt>
                <c:pt idx="4148">
                  <c:v>1940.4</c:v>
                </c:pt>
                <c:pt idx="4149">
                  <c:v>1776.6000000000001</c:v>
                </c:pt>
                <c:pt idx="4150">
                  <c:v>1801.8000000000002</c:v>
                </c:pt>
                <c:pt idx="4151">
                  <c:v>1814.4</c:v>
                </c:pt>
                <c:pt idx="4152">
                  <c:v>1978.2</c:v>
                </c:pt>
                <c:pt idx="4153">
                  <c:v>1696.8000000000002</c:v>
                </c:pt>
                <c:pt idx="4154">
                  <c:v>1629.6000000000001</c:v>
                </c:pt>
                <c:pt idx="4155">
                  <c:v>1541.4</c:v>
                </c:pt>
                <c:pt idx="4156">
                  <c:v>1503.6000000000001</c:v>
                </c:pt>
                <c:pt idx="4157">
                  <c:v>1549.8</c:v>
                </c:pt>
                <c:pt idx="4158">
                  <c:v>1415.4</c:v>
                </c:pt>
                <c:pt idx="4159">
                  <c:v>1386</c:v>
                </c:pt>
                <c:pt idx="4160">
                  <c:v>1285.2</c:v>
                </c:pt>
                <c:pt idx="4161">
                  <c:v>1260</c:v>
                </c:pt>
                <c:pt idx="4162">
                  <c:v>1264.2</c:v>
                </c:pt>
                <c:pt idx="4163">
                  <c:v>1323</c:v>
                </c:pt>
                <c:pt idx="4164">
                  <c:v>1373.4</c:v>
                </c:pt>
                <c:pt idx="4165">
                  <c:v>1482.6000000000001</c:v>
                </c:pt>
                <c:pt idx="4166">
                  <c:v>1680</c:v>
                </c:pt>
                <c:pt idx="4167">
                  <c:v>1864.8000000000002</c:v>
                </c:pt>
                <c:pt idx="4168">
                  <c:v>2028.6000000000001</c:v>
                </c:pt>
                <c:pt idx="4169">
                  <c:v>2200.8000000000002</c:v>
                </c:pt>
                <c:pt idx="4170">
                  <c:v>2272.2000000000003</c:v>
                </c:pt>
                <c:pt idx="4171">
                  <c:v>2314.2000000000003</c:v>
                </c:pt>
                <c:pt idx="4172">
                  <c:v>2104.2000000000003</c:v>
                </c:pt>
                <c:pt idx="4173">
                  <c:v>2104.2000000000003</c:v>
                </c:pt>
                <c:pt idx="4174">
                  <c:v>2154.6</c:v>
                </c:pt>
                <c:pt idx="4175">
                  <c:v>2209.2000000000003</c:v>
                </c:pt>
                <c:pt idx="4176">
                  <c:v>2255.4</c:v>
                </c:pt>
                <c:pt idx="4177">
                  <c:v>2293.2000000000003</c:v>
                </c:pt>
                <c:pt idx="4178">
                  <c:v>2272.2000000000003</c:v>
                </c:pt>
                <c:pt idx="4179">
                  <c:v>2339.4</c:v>
                </c:pt>
                <c:pt idx="4180">
                  <c:v>2444.4</c:v>
                </c:pt>
                <c:pt idx="4181">
                  <c:v>2620.8000000000002</c:v>
                </c:pt>
                <c:pt idx="4182">
                  <c:v>2898</c:v>
                </c:pt>
                <c:pt idx="4183">
                  <c:v>2948.4</c:v>
                </c:pt>
                <c:pt idx="4184">
                  <c:v>2898</c:v>
                </c:pt>
                <c:pt idx="4185">
                  <c:v>2906.4</c:v>
                </c:pt>
                <c:pt idx="4186">
                  <c:v>3091.2000000000003</c:v>
                </c:pt>
                <c:pt idx="4187">
                  <c:v>3368.4</c:v>
                </c:pt>
                <c:pt idx="4188">
                  <c:v>3725.4</c:v>
                </c:pt>
                <c:pt idx="4189">
                  <c:v>4170.6000000000004</c:v>
                </c:pt>
                <c:pt idx="4190">
                  <c:v>4603.2</c:v>
                </c:pt>
                <c:pt idx="4191">
                  <c:v>5086.2</c:v>
                </c:pt>
                <c:pt idx="4192">
                  <c:v>5254.2</c:v>
                </c:pt>
                <c:pt idx="4193">
                  <c:v>5611.2</c:v>
                </c:pt>
                <c:pt idx="4194">
                  <c:v>5976.6</c:v>
                </c:pt>
                <c:pt idx="4195">
                  <c:v>6589.8</c:v>
                </c:pt>
                <c:pt idx="4196">
                  <c:v>7400.4000000000005</c:v>
                </c:pt>
                <c:pt idx="4197">
                  <c:v>7392</c:v>
                </c:pt>
                <c:pt idx="4198">
                  <c:v>7740.6</c:v>
                </c:pt>
                <c:pt idx="4199">
                  <c:v>8299.2000000000007</c:v>
                </c:pt>
                <c:pt idx="4200">
                  <c:v>8534.4</c:v>
                </c:pt>
                <c:pt idx="4201">
                  <c:v>8832.6</c:v>
                </c:pt>
                <c:pt idx="4202">
                  <c:v>9534</c:v>
                </c:pt>
                <c:pt idx="4203">
                  <c:v>9693.6</c:v>
                </c:pt>
                <c:pt idx="4204">
                  <c:v>9723</c:v>
                </c:pt>
                <c:pt idx="4205">
                  <c:v>9563.4</c:v>
                </c:pt>
                <c:pt idx="4206">
                  <c:v>9332.4</c:v>
                </c:pt>
                <c:pt idx="4207">
                  <c:v>9122.4</c:v>
                </c:pt>
                <c:pt idx="4208">
                  <c:v>8887.2000000000007</c:v>
                </c:pt>
                <c:pt idx="4209">
                  <c:v>8513.4</c:v>
                </c:pt>
                <c:pt idx="4210">
                  <c:v>8185.8</c:v>
                </c:pt>
                <c:pt idx="4211">
                  <c:v>8093.4000000000005</c:v>
                </c:pt>
                <c:pt idx="4212">
                  <c:v>8038.8</c:v>
                </c:pt>
                <c:pt idx="4213">
                  <c:v>7837.2000000000007</c:v>
                </c:pt>
                <c:pt idx="4214">
                  <c:v>7896</c:v>
                </c:pt>
                <c:pt idx="4215">
                  <c:v>7921.2000000000007</c:v>
                </c:pt>
                <c:pt idx="4216">
                  <c:v>7959</c:v>
                </c:pt>
                <c:pt idx="4217">
                  <c:v>8215.2000000000007</c:v>
                </c:pt>
                <c:pt idx="4218">
                  <c:v>8265.6</c:v>
                </c:pt>
                <c:pt idx="4219">
                  <c:v>8131.2000000000007</c:v>
                </c:pt>
                <c:pt idx="4220">
                  <c:v>7950.6</c:v>
                </c:pt>
                <c:pt idx="4221">
                  <c:v>7198.8</c:v>
                </c:pt>
                <c:pt idx="4222">
                  <c:v>6862.8</c:v>
                </c:pt>
                <c:pt idx="4223">
                  <c:v>6526.8</c:v>
                </c:pt>
                <c:pt idx="4224">
                  <c:v>6274.8</c:v>
                </c:pt>
                <c:pt idx="4225">
                  <c:v>6148.8</c:v>
                </c:pt>
                <c:pt idx="4226">
                  <c:v>5980.8</c:v>
                </c:pt>
                <c:pt idx="4227">
                  <c:v>5817</c:v>
                </c:pt>
                <c:pt idx="4228">
                  <c:v>5829.6</c:v>
                </c:pt>
                <c:pt idx="4229">
                  <c:v>5682.6</c:v>
                </c:pt>
                <c:pt idx="4230">
                  <c:v>5430.6</c:v>
                </c:pt>
                <c:pt idx="4231">
                  <c:v>5077.8</c:v>
                </c:pt>
                <c:pt idx="4232">
                  <c:v>4977</c:v>
                </c:pt>
                <c:pt idx="4233">
                  <c:v>4754.4000000000005</c:v>
                </c:pt>
                <c:pt idx="4234">
                  <c:v>4666.2</c:v>
                </c:pt>
                <c:pt idx="4235">
                  <c:v>4296.6000000000004</c:v>
                </c:pt>
                <c:pt idx="4236">
                  <c:v>4187.4000000000005</c:v>
                </c:pt>
                <c:pt idx="4237">
                  <c:v>4069.8</c:v>
                </c:pt>
                <c:pt idx="4238">
                  <c:v>4237.8</c:v>
                </c:pt>
                <c:pt idx="4239">
                  <c:v>4384.8</c:v>
                </c:pt>
                <c:pt idx="4240">
                  <c:v>4468.8</c:v>
                </c:pt>
                <c:pt idx="4241">
                  <c:v>4330.2</c:v>
                </c:pt>
                <c:pt idx="4242">
                  <c:v>4296.6000000000004</c:v>
                </c:pt>
                <c:pt idx="4243">
                  <c:v>3931.2000000000003</c:v>
                </c:pt>
                <c:pt idx="4244">
                  <c:v>3721.2000000000003</c:v>
                </c:pt>
                <c:pt idx="4245">
                  <c:v>3519.6000000000004</c:v>
                </c:pt>
                <c:pt idx="4246">
                  <c:v>3385.2000000000003</c:v>
                </c:pt>
                <c:pt idx="4247">
                  <c:v>3280.2000000000003</c:v>
                </c:pt>
                <c:pt idx="4248">
                  <c:v>3364.2000000000003</c:v>
                </c:pt>
                <c:pt idx="4249">
                  <c:v>3389.4</c:v>
                </c:pt>
                <c:pt idx="4250">
                  <c:v>3775.8</c:v>
                </c:pt>
                <c:pt idx="4251">
                  <c:v>4170.6000000000004</c:v>
                </c:pt>
                <c:pt idx="4252">
                  <c:v>4132.8</c:v>
                </c:pt>
                <c:pt idx="4253">
                  <c:v>3889.2000000000003</c:v>
                </c:pt>
                <c:pt idx="4254">
                  <c:v>3645.6000000000004</c:v>
                </c:pt>
                <c:pt idx="4255">
                  <c:v>3477.6000000000004</c:v>
                </c:pt>
                <c:pt idx="4256">
                  <c:v>3192</c:v>
                </c:pt>
                <c:pt idx="4257">
                  <c:v>2679.6</c:v>
                </c:pt>
                <c:pt idx="4258">
                  <c:v>2251.2000000000003</c:v>
                </c:pt>
                <c:pt idx="4259">
                  <c:v>1927.8000000000002</c:v>
                </c:pt>
                <c:pt idx="4260">
                  <c:v>1793.4</c:v>
                </c:pt>
                <c:pt idx="4261">
                  <c:v>1751.4</c:v>
                </c:pt>
                <c:pt idx="4262">
                  <c:v>1696.8000000000002</c:v>
                </c:pt>
                <c:pt idx="4263">
                  <c:v>1680</c:v>
                </c:pt>
                <c:pt idx="4264">
                  <c:v>1629.6000000000001</c:v>
                </c:pt>
                <c:pt idx="4265">
                  <c:v>1537.2</c:v>
                </c:pt>
                <c:pt idx="4266">
                  <c:v>1491</c:v>
                </c:pt>
                <c:pt idx="4267">
                  <c:v>1428</c:v>
                </c:pt>
                <c:pt idx="4268">
                  <c:v>1373.4</c:v>
                </c:pt>
                <c:pt idx="4269">
                  <c:v>1289.4000000000001</c:v>
                </c:pt>
                <c:pt idx="4270">
                  <c:v>1255.8</c:v>
                </c:pt>
                <c:pt idx="4271">
                  <c:v>1239</c:v>
                </c:pt>
                <c:pt idx="4272">
                  <c:v>1335.6000000000001</c:v>
                </c:pt>
                <c:pt idx="4273">
                  <c:v>1491</c:v>
                </c:pt>
                <c:pt idx="4274">
                  <c:v>1667.4</c:v>
                </c:pt>
                <c:pt idx="4275">
                  <c:v>1843.8000000000002</c:v>
                </c:pt>
                <c:pt idx="4276">
                  <c:v>1797.6000000000001</c:v>
                </c:pt>
                <c:pt idx="4277">
                  <c:v>1764</c:v>
                </c:pt>
                <c:pt idx="4278">
                  <c:v>1974</c:v>
                </c:pt>
                <c:pt idx="4279">
                  <c:v>2142</c:v>
                </c:pt>
                <c:pt idx="4280">
                  <c:v>1999.2</c:v>
                </c:pt>
                <c:pt idx="4281">
                  <c:v>1608.6000000000001</c:v>
                </c:pt>
                <c:pt idx="4282">
                  <c:v>1285.2</c:v>
                </c:pt>
                <c:pt idx="4283">
                  <c:v>1129.8</c:v>
                </c:pt>
                <c:pt idx="4284">
                  <c:v>1155</c:v>
                </c:pt>
                <c:pt idx="4285">
                  <c:v>1365</c:v>
                </c:pt>
                <c:pt idx="4286">
                  <c:v>1713.6000000000001</c:v>
                </c:pt>
                <c:pt idx="4287">
                  <c:v>1969.8000000000002</c:v>
                </c:pt>
                <c:pt idx="4288">
                  <c:v>2259.6</c:v>
                </c:pt>
                <c:pt idx="4289">
                  <c:v>2436</c:v>
                </c:pt>
                <c:pt idx="4290">
                  <c:v>2650.2000000000003</c:v>
                </c:pt>
                <c:pt idx="4291">
                  <c:v>2793</c:v>
                </c:pt>
                <c:pt idx="4292">
                  <c:v>2801.4</c:v>
                </c:pt>
                <c:pt idx="4293">
                  <c:v>2851.8</c:v>
                </c:pt>
                <c:pt idx="4294">
                  <c:v>2826.6</c:v>
                </c:pt>
                <c:pt idx="4295">
                  <c:v>2914.8</c:v>
                </c:pt>
                <c:pt idx="4296">
                  <c:v>3108</c:v>
                </c:pt>
                <c:pt idx="4297">
                  <c:v>3145.8</c:v>
                </c:pt>
                <c:pt idx="4298">
                  <c:v>3889.2000000000003</c:v>
                </c:pt>
                <c:pt idx="4299">
                  <c:v>3830.4</c:v>
                </c:pt>
                <c:pt idx="4300">
                  <c:v>3712.8</c:v>
                </c:pt>
                <c:pt idx="4301">
                  <c:v>3633</c:v>
                </c:pt>
                <c:pt idx="4302">
                  <c:v>3549</c:v>
                </c:pt>
                <c:pt idx="4303">
                  <c:v>3280.2000000000003</c:v>
                </c:pt>
                <c:pt idx="4304">
                  <c:v>3187.8</c:v>
                </c:pt>
                <c:pt idx="4305">
                  <c:v>3078.6</c:v>
                </c:pt>
                <c:pt idx="4306">
                  <c:v>3036.6</c:v>
                </c:pt>
                <c:pt idx="4307">
                  <c:v>3108</c:v>
                </c:pt>
                <c:pt idx="4308">
                  <c:v>3204.6</c:v>
                </c:pt>
                <c:pt idx="4309">
                  <c:v>3229.8</c:v>
                </c:pt>
                <c:pt idx="4310">
                  <c:v>3481.8</c:v>
                </c:pt>
                <c:pt idx="4311">
                  <c:v>3620.4</c:v>
                </c:pt>
                <c:pt idx="4312">
                  <c:v>3872.4</c:v>
                </c:pt>
                <c:pt idx="4313">
                  <c:v>3864</c:v>
                </c:pt>
                <c:pt idx="4314">
                  <c:v>3830.4</c:v>
                </c:pt>
                <c:pt idx="4315">
                  <c:v>4002.6000000000004</c:v>
                </c:pt>
                <c:pt idx="4316">
                  <c:v>4216.8</c:v>
                </c:pt>
                <c:pt idx="4317">
                  <c:v>4384.8</c:v>
                </c:pt>
                <c:pt idx="4318">
                  <c:v>4506.6000000000004</c:v>
                </c:pt>
                <c:pt idx="4319">
                  <c:v>4683</c:v>
                </c:pt>
                <c:pt idx="4320">
                  <c:v>4813.2</c:v>
                </c:pt>
                <c:pt idx="4321">
                  <c:v>5086.2</c:v>
                </c:pt>
                <c:pt idx="4322">
                  <c:v>5027.4000000000005</c:v>
                </c:pt>
                <c:pt idx="4323">
                  <c:v>4960.2</c:v>
                </c:pt>
                <c:pt idx="4324">
                  <c:v>5056.8</c:v>
                </c:pt>
                <c:pt idx="4325">
                  <c:v>5140.8</c:v>
                </c:pt>
                <c:pt idx="4326">
                  <c:v>5182.8</c:v>
                </c:pt>
                <c:pt idx="4327">
                  <c:v>4914</c:v>
                </c:pt>
                <c:pt idx="4328">
                  <c:v>4271.4000000000005</c:v>
                </c:pt>
                <c:pt idx="4329">
                  <c:v>3796.8</c:v>
                </c:pt>
                <c:pt idx="4330">
                  <c:v>3553.2000000000003</c:v>
                </c:pt>
                <c:pt idx="4331">
                  <c:v>3271.8</c:v>
                </c:pt>
                <c:pt idx="4332">
                  <c:v>3334.8</c:v>
                </c:pt>
                <c:pt idx="4333">
                  <c:v>3276</c:v>
                </c:pt>
                <c:pt idx="4334">
                  <c:v>3246.6000000000004</c:v>
                </c:pt>
                <c:pt idx="4335">
                  <c:v>3166.8</c:v>
                </c:pt>
                <c:pt idx="4336">
                  <c:v>3011.4</c:v>
                </c:pt>
                <c:pt idx="4337">
                  <c:v>3003</c:v>
                </c:pt>
                <c:pt idx="4338">
                  <c:v>3007.2000000000003</c:v>
                </c:pt>
                <c:pt idx="4339">
                  <c:v>3007.2000000000003</c:v>
                </c:pt>
                <c:pt idx="4340">
                  <c:v>2730</c:v>
                </c:pt>
                <c:pt idx="4341">
                  <c:v>2499</c:v>
                </c:pt>
                <c:pt idx="4342">
                  <c:v>2192.4</c:v>
                </c:pt>
                <c:pt idx="4343">
                  <c:v>2133.6</c:v>
                </c:pt>
                <c:pt idx="4344">
                  <c:v>1974</c:v>
                </c:pt>
                <c:pt idx="4345">
                  <c:v>2011.8000000000002</c:v>
                </c:pt>
                <c:pt idx="4346">
                  <c:v>1705.2</c:v>
                </c:pt>
                <c:pt idx="4347">
                  <c:v>1806</c:v>
                </c:pt>
                <c:pt idx="4348">
                  <c:v>1793.4</c:v>
                </c:pt>
                <c:pt idx="4349">
                  <c:v>1642.2</c:v>
                </c:pt>
                <c:pt idx="4350">
                  <c:v>1453.2</c:v>
                </c:pt>
                <c:pt idx="4351">
                  <c:v>1377.6000000000001</c:v>
                </c:pt>
                <c:pt idx="4352">
                  <c:v>1079.4000000000001</c:v>
                </c:pt>
                <c:pt idx="4353">
                  <c:v>789.6</c:v>
                </c:pt>
                <c:pt idx="4354">
                  <c:v>634.20000000000005</c:v>
                </c:pt>
                <c:pt idx="4355">
                  <c:v>600.6</c:v>
                </c:pt>
                <c:pt idx="4356">
                  <c:v>777</c:v>
                </c:pt>
                <c:pt idx="4357">
                  <c:v>932.40000000000009</c:v>
                </c:pt>
                <c:pt idx="4358">
                  <c:v>1041.6000000000001</c:v>
                </c:pt>
                <c:pt idx="4359">
                  <c:v>1159.2</c:v>
                </c:pt>
                <c:pt idx="4360">
                  <c:v>1251.6000000000001</c:v>
                </c:pt>
                <c:pt idx="4361">
                  <c:v>1323</c:v>
                </c:pt>
                <c:pt idx="4362">
                  <c:v>1297.8</c:v>
                </c:pt>
                <c:pt idx="4363">
                  <c:v>1234.8</c:v>
                </c:pt>
                <c:pt idx="4364">
                  <c:v>1155</c:v>
                </c:pt>
                <c:pt idx="4365">
                  <c:v>1146.6000000000001</c:v>
                </c:pt>
                <c:pt idx="4366">
                  <c:v>1260</c:v>
                </c:pt>
                <c:pt idx="4367">
                  <c:v>1449</c:v>
                </c:pt>
                <c:pt idx="4368">
                  <c:v>1734.6000000000001</c:v>
                </c:pt>
                <c:pt idx="4369">
                  <c:v>2016</c:v>
                </c:pt>
                <c:pt idx="4370">
                  <c:v>2238.6</c:v>
                </c:pt>
                <c:pt idx="4371">
                  <c:v>2423.4</c:v>
                </c:pt>
                <c:pt idx="4372">
                  <c:v>2675.4</c:v>
                </c:pt>
                <c:pt idx="4373">
                  <c:v>2772</c:v>
                </c:pt>
                <c:pt idx="4374">
                  <c:v>2835</c:v>
                </c:pt>
                <c:pt idx="4375">
                  <c:v>2805.6</c:v>
                </c:pt>
                <c:pt idx="4376">
                  <c:v>2583</c:v>
                </c:pt>
                <c:pt idx="4377">
                  <c:v>2058</c:v>
                </c:pt>
                <c:pt idx="4378">
                  <c:v>1604.4</c:v>
                </c:pt>
                <c:pt idx="4379">
                  <c:v>1423.8</c:v>
                </c:pt>
                <c:pt idx="4380">
                  <c:v>1692.6000000000001</c:v>
                </c:pt>
                <c:pt idx="4381">
                  <c:v>2142</c:v>
                </c:pt>
                <c:pt idx="4382">
                  <c:v>2650.2000000000003</c:v>
                </c:pt>
                <c:pt idx="4383">
                  <c:v>3154.2000000000003</c:v>
                </c:pt>
                <c:pt idx="4384">
                  <c:v>3574.2000000000003</c:v>
                </c:pt>
                <c:pt idx="4385">
                  <c:v>3985.8</c:v>
                </c:pt>
                <c:pt idx="4386">
                  <c:v>4267.2</c:v>
                </c:pt>
                <c:pt idx="4387">
                  <c:v>4347</c:v>
                </c:pt>
                <c:pt idx="4388">
                  <c:v>4221</c:v>
                </c:pt>
                <c:pt idx="4389">
                  <c:v>4195.8</c:v>
                </c:pt>
                <c:pt idx="4390">
                  <c:v>4296.6000000000004</c:v>
                </c:pt>
                <c:pt idx="4391">
                  <c:v>4704</c:v>
                </c:pt>
                <c:pt idx="4392">
                  <c:v>5023.2</c:v>
                </c:pt>
                <c:pt idx="4393">
                  <c:v>5346.6</c:v>
                </c:pt>
                <c:pt idx="4394">
                  <c:v>6224.4000000000005</c:v>
                </c:pt>
                <c:pt idx="4395">
                  <c:v>6799.8</c:v>
                </c:pt>
                <c:pt idx="4396">
                  <c:v>7295.4000000000005</c:v>
                </c:pt>
                <c:pt idx="4397">
                  <c:v>7585.2000000000007</c:v>
                </c:pt>
                <c:pt idx="4398">
                  <c:v>7686</c:v>
                </c:pt>
                <c:pt idx="4399">
                  <c:v>7152.6</c:v>
                </c:pt>
                <c:pt idx="4400">
                  <c:v>6245.4000000000005</c:v>
                </c:pt>
                <c:pt idx="4401">
                  <c:v>4918.2</c:v>
                </c:pt>
                <c:pt idx="4402">
                  <c:v>4569.6000000000004</c:v>
                </c:pt>
                <c:pt idx="4403">
                  <c:v>4216.8</c:v>
                </c:pt>
                <c:pt idx="4404">
                  <c:v>4069.8</c:v>
                </c:pt>
                <c:pt idx="4405">
                  <c:v>4460.4000000000005</c:v>
                </c:pt>
                <c:pt idx="4406">
                  <c:v>4716.6000000000004</c:v>
                </c:pt>
                <c:pt idx="4407">
                  <c:v>5170.2</c:v>
                </c:pt>
                <c:pt idx="4408">
                  <c:v>5716.2</c:v>
                </c:pt>
                <c:pt idx="4409">
                  <c:v>5922</c:v>
                </c:pt>
                <c:pt idx="4410">
                  <c:v>6405</c:v>
                </c:pt>
                <c:pt idx="4411">
                  <c:v>6623.4000000000005</c:v>
                </c:pt>
                <c:pt idx="4412">
                  <c:v>6531</c:v>
                </c:pt>
                <c:pt idx="4413">
                  <c:v>6186.6</c:v>
                </c:pt>
                <c:pt idx="4414">
                  <c:v>6077.4000000000005</c:v>
                </c:pt>
                <c:pt idx="4415">
                  <c:v>6052.2</c:v>
                </c:pt>
                <c:pt idx="4416">
                  <c:v>6085.8</c:v>
                </c:pt>
                <c:pt idx="4417">
                  <c:v>6526.8</c:v>
                </c:pt>
                <c:pt idx="4418">
                  <c:v>7152.6</c:v>
                </c:pt>
                <c:pt idx="4419">
                  <c:v>6682.2000000000007</c:v>
                </c:pt>
                <c:pt idx="4420">
                  <c:v>6518.4000000000005</c:v>
                </c:pt>
                <c:pt idx="4421">
                  <c:v>6228.6</c:v>
                </c:pt>
                <c:pt idx="4422">
                  <c:v>5863.2</c:v>
                </c:pt>
                <c:pt idx="4423">
                  <c:v>5443.2</c:v>
                </c:pt>
                <c:pt idx="4424">
                  <c:v>5321.4000000000005</c:v>
                </c:pt>
                <c:pt idx="4425">
                  <c:v>4960.2</c:v>
                </c:pt>
                <c:pt idx="4426">
                  <c:v>4498.2</c:v>
                </c:pt>
                <c:pt idx="4427">
                  <c:v>4149.6000000000004</c:v>
                </c:pt>
                <c:pt idx="4428">
                  <c:v>3973.2000000000003</c:v>
                </c:pt>
                <c:pt idx="4429">
                  <c:v>3784.2000000000003</c:v>
                </c:pt>
                <c:pt idx="4430">
                  <c:v>3603.6000000000004</c:v>
                </c:pt>
                <c:pt idx="4431">
                  <c:v>3318</c:v>
                </c:pt>
                <c:pt idx="4432">
                  <c:v>3204.6</c:v>
                </c:pt>
                <c:pt idx="4433">
                  <c:v>3250.8</c:v>
                </c:pt>
                <c:pt idx="4434">
                  <c:v>3204.6</c:v>
                </c:pt>
                <c:pt idx="4435">
                  <c:v>3133.2000000000003</c:v>
                </c:pt>
                <c:pt idx="4436">
                  <c:v>3019.8</c:v>
                </c:pt>
                <c:pt idx="4437">
                  <c:v>2797.2000000000003</c:v>
                </c:pt>
                <c:pt idx="4438">
                  <c:v>2835</c:v>
                </c:pt>
                <c:pt idx="4439">
                  <c:v>2755.2000000000003</c:v>
                </c:pt>
                <c:pt idx="4440">
                  <c:v>2704.8</c:v>
                </c:pt>
                <c:pt idx="4441">
                  <c:v>2637.6</c:v>
                </c:pt>
                <c:pt idx="4442">
                  <c:v>2608.2000000000003</c:v>
                </c:pt>
                <c:pt idx="4443">
                  <c:v>2578.8000000000002</c:v>
                </c:pt>
                <c:pt idx="4444">
                  <c:v>2549.4</c:v>
                </c:pt>
                <c:pt idx="4445">
                  <c:v>2511.6</c:v>
                </c:pt>
                <c:pt idx="4446">
                  <c:v>2293.2000000000003</c:v>
                </c:pt>
                <c:pt idx="4447">
                  <c:v>1995</c:v>
                </c:pt>
                <c:pt idx="4448">
                  <c:v>1474.2</c:v>
                </c:pt>
                <c:pt idx="4449">
                  <c:v>1075.2</c:v>
                </c:pt>
                <c:pt idx="4450">
                  <c:v>873.6</c:v>
                </c:pt>
                <c:pt idx="4451">
                  <c:v>743.4</c:v>
                </c:pt>
                <c:pt idx="4452">
                  <c:v>688.80000000000007</c:v>
                </c:pt>
                <c:pt idx="4453">
                  <c:v>693</c:v>
                </c:pt>
                <c:pt idx="4454">
                  <c:v>819</c:v>
                </c:pt>
                <c:pt idx="4455">
                  <c:v>882</c:v>
                </c:pt>
                <c:pt idx="4456">
                  <c:v>894.6</c:v>
                </c:pt>
                <c:pt idx="4457">
                  <c:v>1033.2</c:v>
                </c:pt>
                <c:pt idx="4458">
                  <c:v>1297.8</c:v>
                </c:pt>
                <c:pt idx="4459">
                  <c:v>1558.2</c:v>
                </c:pt>
                <c:pt idx="4460">
                  <c:v>1932</c:v>
                </c:pt>
                <c:pt idx="4461">
                  <c:v>2499</c:v>
                </c:pt>
                <c:pt idx="4462">
                  <c:v>3011.4</c:v>
                </c:pt>
                <c:pt idx="4463">
                  <c:v>3574.2000000000003</c:v>
                </c:pt>
                <c:pt idx="4464">
                  <c:v>4145.4000000000005</c:v>
                </c:pt>
                <c:pt idx="4465">
                  <c:v>4775.4000000000005</c:v>
                </c:pt>
                <c:pt idx="4466">
                  <c:v>5569.2</c:v>
                </c:pt>
                <c:pt idx="4467">
                  <c:v>5905.2</c:v>
                </c:pt>
                <c:pt idx="4468">
                  <c:v>6031.2</c:v>
                </c:pt>
                <c:pt idx="4469">
                  <c:v>6228.6</c:v>
                </c:pt>
                <c:pt idx="4470">
                  <c:v>6552</c:v>
                </c:pt>
                <c:pt idx="4471">
                  <c:v>6623.4000000000005</c:v>
                </c:pt>
                <c:pt idx="4472">
                  <c:v>6766.2000000000007</c:v>
                </c:pt>
                <c:pt idx="4473">
                  <c:v>7274.4000000000005</c:v>
                </c:pt>
                <c:pt idx="4474">
                  <c:v>8009.4000000000005</c:v>
                </c:pt>
                <c:pt idx="4475">
                  <c:v>8492.4</c:v>
                </c:pt>
                <c:pt idx="4476">
                  <c:v>9504.6</c:v>
                </c:pt>
                <c:pt idx="4477">
                  <c:v>10407.6</c:v>
                </c:pt>
                <c:pt idx="4478">
                  <c:v>11550</c:v>
                </c:pt>
                <c:pt idx="4479">
                  <c:v>12423.6</c:v>
                </c:pt>
                <c:pt idx="4480">
                  <c:v>13284.6</c:v>
                </c:pt>
                <c:pt idx="4481">
                  <c:v>13776</c:v>
                </c:pt>
                <c:pt idx="4482">
                  <c:v>13960.800000000001</c:v>
                </c:pt>
                <c:pt idx="4483">
                  <c:v>13885.2</c:v>
                </c:pt>
                <c:pt idx="4484">
                  <c:v>13704.6</c:v>
                </c:pt>
                <c:pt idx="4485">
                  <c:v>13393.800000000001</c:v>
                </c:pt>
                <c:pt idx="4486">
                  <c:v>13036.800000000001</c:v>
                </c:pt>
                <c:pt idx="4487">
                  <c:v>12852</c:v>
                </c:pt>
                <c:pt idx="4488">
                  <c:v>12625.2</c:v>
                </c:pt>
                <c:pt idx="4489">
                  <c:v>12541.2</c:v>
                </c:pt>
                <c:pt idx="4490">
                  <c:v>12667.2</c:v>
                </c:pt>
                <c:pt idx="4491">
                  <c:v>12629.4</c:v>
                </c:pt>
                <c:pt idx="4492">
                  <c:v>12474</c:v>
                </c:pt>
                <c:pt idx="4493">
                  <c:v>12436.2</c:v>
                </c:pt>
                <c:pt idx="4494">
                  <c:v>12339.6</c:v>
                </c:pt>
                <c:pt idx="4495">
                  <c:v>12096</c:v>
                </c:pt>
                <c:pt idx="4496">
                  <c:v>12163.2</c:v>
                </c:pt>
                <c:pt idx="4497">
                  <c:v>12037.2</c:v>
                </c:pt>
                <c:pt idx="4498">
                  <c:v>11894.4</c:v>
                </c:pt>
                <c:pt idx="4499">
                  <c:v>11541.6</c:v>
                </c:pt>
                <c:pt idx="4500">
                  <c:v>11251.800000000001</c:v>
                </c:pt>
                <c:pt idx="4501">
                  <c:v>11159.4</c:v>
                </c:pt>
                <c:pt idx="4502">
                  <c:v>10882.2</c:v>
                </c:pt>
                <c:pt idx="4503">
                  <c:v>10689</c:v>
                </c:pt>
                <c:pt idx="4504">
                  <c:v>10462.200000000001</c:v>
                </c:pt>
                <c:pt idx="4505">
                  <c:v>10134.6</c:v>
                </c:pt>
                <c:pt idx="4506">
                  <c:v>9500.4</c:v>
                </c:pt>
                <c:pt idx="4507">
                  <c:v>8773.8000000000011</c:v>
                </c:pt>
                <c:pt idx="4508">
                  <c:v>7765.8</c:v>
                </c:pt>
                <c:pt idx="4509">
                  <c:v>7018.2000000000007</c:v>
                </c:pt>
                <c:pt idx="4510">
                  <c:v>5938.8</c:v>
                </c:pt>
                <c:pt idx="4511">
                  <c:v>5086.2</c:v>
                </c:pt>
                <c:pt idx="4512">
                  <c:v>4527.6000000000004</c:v>
                </c:pt>
                <c:pt idx="4513">
                  <c:v>4242</c:v>
                </c:pt>
                <c:pt idx="4514">
                  <c:v>4485.6000000000004</c:v>
                </c:pt>
                <c:pt idx="4515">
                  <c:v>4443.6000000000004</c:v>
                </c:pt>
                <c:pt idx="4516">
                  <c:v>4258.8</c:v>
                </c:pt>
                <c:pt idx="4517">
                  <c:v>4221</c:v>
                </c:pt>
                <c:pt idx="4518">
                  <c:v>4342.8</c:v>
                </c:pt>
                <c:pt idx="4519">
                  <c:v>4510.8</c:v>
                </c:pt>
                <c:pt idx="4520">
                  <c:v>4783.8</c:v>
                </c:pt>
                <c:pt idx="4521">
                  <c:v>4951.8</c:v>
                </c:pt>
                <c:pt idx="4522">
                  <c:v>5241.6000000000004</c:v>
                </c:pt>
                <c:pt idx="4523">
                  <c:v>5577.6</c:v>
                </c:pt>
                <c:pt idx="4524">
                  <c:v>6064.8</c:v>
                </c:pt>
                <c:pt idx="4525">
                  <c:v>6678</c:v>
                </c:pt>
                <c:pt idx="4526">
                  <c:v>7282.8</c:v>
                </c:pt>
                <c:pt idx="4527">
                  <c:v>7849.8</c:v>
                </c:pt>
                <c:pt idx="4528">
                  <c:v>8358</c:v>
                </c:pt>
                <c:pt idx="4529">
                  <c:v>8551.2000000000007</c:v>
                </c:pt>
                <c:pt idx="4530">
                  <c:v>8647.8000000000011</c:v>
                </c:pt>
                <c:pt idx="4531">
                  <c:v>8500.8000000000011</c:v>
                </c:pt>
                <c:pt idx="4532">
                  <c:v>8232</c:v>
                </c:pt>
                <c:pt idx="4533">
                  <c:v>8135.4000000000005</c:v>
                </c:pt>
                <c:pt idx="4534">
                  <c:v>7917</c:v>
                </c:pt>
                <c:pt idx="4535">
                  <c:v>7845.6</c:v>
                </c:pt>
                <c:pt idx="4536">
                  <c:v>7681.8</c:v>
                </c:pt>
                <c:pt idx="4537">
                  <c:v>7736.4000000000005</c:v>
                </c:pt>
                <c:pt idx="4538">
                  <c:v>7564.2000000000007</c:v>
                </c:pt>
                <c:pt idx="4539">
                  <c:v>7690.2000000000007</c:v>
                </c:pt>
                <c:pt idx="4540">
                  <c:v>7824.6</c:v>
                </c:pt>
                <c:pt idx="4541">
                  <c:v>7921.2000000000007</c:v>
                </c:pt>
                <c:pt idx="4542">
                  <c:v>8114.4000000000005</c:v>
                </c:pt>
                <c:pt idx="4543">
                  <c:v>8479.8000000000011</c:v>
                </c:pt>
                <c:pt idx="4544">
                  <c:v>8748.6</c:v>
                </c:pt>
                <c:pt idx="4545">
                  <c:v>9227.4</c:v>
                </c:pt>
                <c:pt idx="4546">
                  <c:v>9555</c:v>
                </c:pt>
                <c:pt idx="4547">
                  <c:v>9996</c:v>
                </c:pt>
                <c:pt idx="4548">
                  <c:v>10579.800000000001</c:v>
                </c:pt>
                <c:pt idx="4549">
                  <c:v>10823.4</c:v>
                </c:pt>
                <c:pt idx="4550">
                  <c:v>11193</c:v>
                </c:pt>
                <c:pt idx="4551">
                  <c:v>11344.2</c:v>
                </c:pt>
                <c:pt idx="4552">
                  <c:v>11600.4</c:v>
                </c:pt>
                <c:pt idx="4553">
                  <c:v>11692.800000000001</c:v>
                </c:pt>
                <c:pt idx="4554">
                  <c:v>11953.2</c:v>
                </c:pt>
                <c:pt idx="4555">
                  <c:v>11785.2</c:v>
                </c:pt>
                <c:pt idx="4556">
                  <c:v>11772.6</c:v>
                </c:pt>
                <c:pt idx="4557">
                  <c:v>11680.2</c:v>
                </c:pt>
                <c:pt idx="4558">
                  <c:v>11524.800000000001</c:v>
                </c:pt>
                <c:pt idx="4559">
                  <c:v>11726.4</c:v>
                </c:pt>
                <c:pt idx="4560">
                  <c:v>11932.2</c:v>
                </c:pt>
                <c:pt idx="4561">
                  <c:v>12159</c:v>
                </c:pt>
                <c:pt idx="4562">
                  <c:v>12621</c:v>
                </c:pt>
                <c:pt idx="4563">
                  <c:v>12671.4</c:v>
                </c:pt>
                <c:pt idx="4564">
                  <c:v>12831</c:v>
                </c:pt>
                <c:pt idx="4565">
                  <c:v>12843.6</c:v>
                </c:pt>
                <c:pt idx="4566">
                  <c:v>13053.6</c:v>
                </c:pt>
                <c:pt idx="4567">
                  <c:v>12931.800000000001</c:v>
                </c:pt>
                <c:pt idx="4568">
                  <c:v>12881.4</c:v>
                </c:pt>
                <c:pt idx="4569">
                  <c:v>13032.6</c:v>
                </c:pt>
                <c:pt idx="4570">
                  <c:v>13171.2</c:v>
                </c:pt>
                <c:pt idx="4571">
                  <c:v>13330.800000000001</c:v>
                </c:pt>
                <c:pt idx="4572">
                  <c:v>13423.2</c:v>
                </c:pt>
                <c:pt idx="4573">
                  <c:v>13410.6</c:v>
                </c:pt>
                <c:pt idx="4574">
                  <c:v>13662.6</c:v>
                </c:pt>
                <c:pt idx="4575">
                  <c:v>13330.800000000001</c:v>
                </c:pt>
                <c:pt idx="4576">
                  <c:v>12936</c:v>
                </c:pt>
                <c:pt idx="4577">
                  <c:v>12377.4</c:v>
                </c:pt>
                <c:pt idx="4578">
                  <c:v>11957.4</c:v>
                </c:pt>
                <c:pt idx="4579">
                  <c:v>11306.4</c:v>
                </c:pt>
                <c:pt idx="4580">
                  <c:v>10319.4</c:v>
                </c:pt>
                <c:pt idx="4581">
                  <c:v>9706.2000000000007</c:v>
                </c:pt>
                <c:pt idx="4582">
                  <c:v>9231.6</c:v>
                </c:pt>
                <c:pt idx="4583">
                  <c:v>8715</c:v>
                </c:pt>
                <c:pt idx="4584">
                  <c:v>8484</c:v>
                </c:pt>
                <c:pt idx="4585">
                  <c:v>8190</c:v>
                </c:pt>
                <c:pt idx="4586">
                  <c:v>8085</c:v>
                </c:pt>
                <c:pt idx="4587">
                  <c:v>7954.8</c:v>
                </c:pt>
                <c:pt idx="4588">
                  <c:v>7711.2000000000007</c:v>
                </c:pt>
                <c:pt idx="4589">
                  <c:v>7278.6</c:v>
                </c:pt>
                <c:pt idx="4590">
                  <c:v>7051.8</c:v>
                </c:pt>
                <c:pt idx="4591">
                  <c:v>6510</c:v>
                </c:pt>
                <c:pt idx="4592">
                  <c:v>5762.4000000000005</c:v>
                </c:pt>
                <c:pt idx="4593">
                  <c:v>4683</c:v>
                </c:pt>
                <c:pt idx="4594">
                  <c:v>3809.4</c:v>
                </c:pt>
                <c:pt idx="4595">
                  <c:v>3108</c:v>
                </c:pt>
                <c:pt idx="4596">
                  <c:v>2616.6</c:v>
                </c:pt>
                <c:pt idx="4597">
                  <c:v>2314.2000000000003</c:v>
                </c:pt>
                <c:pt idx="4598">
                  <c:v>2083.2000000000003</c:v>
                </c:pt>
                <c:pt idx="4599">
                  <c:v>1793.4</c:v>
                </c:pt>
                <c:pt idx="4600">
                  <c:v>1701</c:v>
                </c:pt>
                <c:pt idx="4601">
                  <c:v>1583.4</c:v>
                </c:pt>
                <c:pt idx="4602">
                  <c:v>1537.2</c:v>
                </c:pt>
                <c:pt idx="4603">
                  <c:v>1512</c:v>
                </c:pt>
                <c:pt idx="4604">
                  <c:v>1587.6000000000001</c:v>
                </c:pt>
                <c:pt idx="4605">
                  <c:v>1516.2</c:v>
                </c:pt>
                <c:pt idx="4606">
                  <c:v>1591.8</c:v>
                </c:pt>
                <c:pt idx="4607">
                  <c:v>1537.2</c:v>
                </c:pt>
                <c:pt idx="4608">
                  <c:v>1612.8000000000002</c:v>
                </c:pt>
                <c:pt idx="4609">
                  <c:v>1839.6000000000001</c:v>
                </c:pt>
                <c:pt idx="4610">
                  <c:v>1785</c:v>
                </c:pt>
                <c:pt idx="4611">
                  <c:v>1822.8000000000002</c:v>
                </c:pt>
                <c:pt idx="4612">
                  <c:v>1835.4</c:v>
                </c:pt>
                <c:pt idx="4613">
                  <c:v>1793.4</c:v>
                </c:pt>
                <c:pt idx="4614">
                  <c:v>1705.2</c:v>
                </c:pt>
                <c:pt idx="4615">
                  <c:v>1600.2</c:v>
                </c:pt>
                <c:pt idx="4616">
                  <c:v>1373.4</c:v>
                </c:pt>
                <c:pt idx="4617">
                  <c:v>1218</c:v>
                </c:pt>
                <c:pt idx="4618">
                  <c:v>1029</c:v>
                </c:pt>
                <c:pt idx="4619">
                  <c:v>991.2</c:v>
                </c:pt>
                <c:pt idx="4620">
                  <c:v>919.80000000000007</c:v>
                </c:pt>
                <c:pt idx="4621">
                  <c:v>911.40000000000009</c:v>
                </c:pt>
                <c:pt idx="4622">
                  <c:v>1016.4000000000001</c:v>
                </c:pt>
                <c:pt idx="4623">
                  <c:v>1142.4000000000001</c:v>
                </c:pt>
                <c:pt idx="4624">
                  <c:v>1071</c:v>
                </c:pt>
                <c:pt idx="4625">
                  <c:v>1066.8</c:v>
                </c:pt>
                <c:pt idx="4626">
                  <c:v>1079.4000000000001</c:v>
                </c:pt>
                <c:pt idx="4627">
                  <c:v>1146.6000000000001</c:v>
                </c:pt>
                <c:pt idx="4628">
                  <c:v>1096.2</c:v>
                </c:pt>
                <c:pt idx="4629">
                  <c:v>1096.2</c:v>
                </c:pt>
                <c:pt idx="4630">
                  <c:v>1083.6000000000001</c:v>
                </c:pt>
                <c:pt idx="4631">
                  <c:v>1075.2</c:v>
                </c:pt>
                <c:pt idx="4632">
                  <c:v>1066.8</c:v>
                </c:pt>
                <c:pt idx="4633">
                  <c:v>1079.4000000000001</c:v>
                </c:pt>
                <c:pt idx="4634">
                  <c:v>1243.2</c:v>
                </c:pt>
                <c:pt idx="4635">
                  <c:v>1297.8</c:v>
                </c:pt>
                <c:pt idx="4636">
                  <c:v>1360.8</c:v>
                </c:pt>
                <c:pt idx="4637">
                  <c:v>1339.8</c:v>
                </c:pt>
                <c:pt idx="4638">
                  <c:v>1323</c:v>
                </c:pt>
                <c:pt idx="4639">
                  <c:v>1176</c:v>
                </c:pt>
                <c:pt idx="4640">
                  <c:v>982.80000000000007</c:v>
                </c:pt>
                <c:pt idx="4641">
                  <c:v>831.6</c:v>
                </c:pt>
                <c:pt idx="4642">
                  <c:v>751.80000000000007</c:v>
                </c:pt>
                <c:pt idx="4643">
                  <c:v>768.6</c:v>
                </c:pt>
                <c:pt idx="4644">
                  <c:v>802.2</c:v>
                </c:pt>
                <c:pt idx="4645">
                  <c:v>936.6</c:v>
                </c:pt>
                <c:pt idx="4646">
                  <c:v>1071</c:v>
                </c:pt>
                <c:pt idx="4647">
                  <c:v>1121.4000000000001</c:v>
                </c:pt>
                <c:pt idx="4648">
                  <c:v>1243.2</c:v>
                </c:pt>
                <c:pt idx="4649">
                  <c:v>1339.8</c:v>
                </c:pt>
                <c:pt idx="4650">
                  <c:v>1377.6000000000001</c:v>
                </c:pt>
                <c:pt idx="4651">
                  <c:v>1377.6000000000001</c:v>
                </c:pt>
                <c:pt idx="4652">
                  <c:v>1419.6000000000001</c:v>
                </c:pt>
                <c:pt idx="4653">
                  <c:v>1470</c:v>
                </c:pt>
                <c:pt idx="4654">
                  <c:v>1402.8</c:v>
                </c:pt>
                <c:pt idx="4655">
                  <c:v>1432.2</c:v>
                </c:pt>
                <c:pt idx="4656">
                  <c:v>1654.8000000000002</c:v>
                </c:pt>
                <c:pt idx="4657">
                  <c:v>1810.2</c:v>
                </c:pt>
                <c:pt idx="4658">
                  <c:v>1776.6000000000001</c:v>
                </c:pt>
                <c:pt idx="4659">
                  <c:v>1932</c:v>
                </c:pt>
                <c:pt idx="4660">
                  <c:v>1902.6000000000001</c:v>
                </c:pt>
                <c:pt idx="4661">
                  <c:v>1793.4</c:v>
                </c:pt>
                <c:pt idx="4662">
                  <c:v>1663.2</c:v>
                </c:pt>
                <c:pt idx="4663">
                  <c:v>1449</c:v>
                </c:pt>
                <c:pt idx="4664">
                  <c:v>1213.8</c:v>
                </c:pt>
                <c:pt idx="4665">
                  <c:v>974.40000000000009</c:v>
                </c:pt>
                <c:pt idx="4666">
                  <c:v>840</c:v>
                </c:pt>
                <c:pt idx="4667">
                  <c:v>814.80000000000007</c:v>
                </c:pt>
                <c:pt idx="4668">
                  <c:v>882</c:v>
                </c:pt>
                <c:pt idx="4669">
                  <c:v>949.2</c:v>
                </c:pt>
                <c:pt idx="4670">
                  <c:v>1096.2</c:v>
                </c:pt>
                <c:pt idx="4671">
                  <c:v>1264.2</c:v>
                </c:pt>
                <c:pt idx="4672">
                  <c:v>1428</c:v>
                </c:pt>
                <c:pt idx="4673">
                  <c:v>1587.6000000000001</c:v>
                </c:pt>
                <c:pt idx="4674">
                  <c:v>1629.6000000000001</c:v>
                </c:pt>
                <c:pt idx="4675">
                  <c:v>1671.6000000000001</c:v>
                </c:pt>
                <c:pt idx="4676">
                  <c:v>1852.2</c:v>
                </c:pt>
                <c:pt idx="4677">
                  <c:v>1894.2</c:v>
                </c:pt>
                <c:pt idx="4678">
                  <c:v>1852.2</c:v>
                </c:pt>
                <c:pt idx="4679">
                  <c:v>1944.6000000000001</c:v>
                </c:pt>
                <c:pt idx="4680">
                  <c:v>2301.6</c:v>
                </c:pt>
                <c:pt idx="4681">
                  <c:v>2788.8</c:v>
                </c:pt>
                <c:pt idx="4682">
                  <c:v>3242.4</c:v>
                </c:pt>
                <c:pt idx="4683">
                  <c:v>3586.8</c:v>
                </c:pt>
                <c:pt idx="4684">
                  <c:v>3838.8</c:v>
                </c:pt>
                <c:pt idx="4685">
                  <c:v>3918.6000000000004</c:v>
                </c:pt>
                <c:pt idx="4686">
                  <c:v>3796.8</c:v>
                </c:pt>
                <c:pt idx="4687">
                  <c:v>3620.4</c:v>
                </c:pt>
                <c:pt idx="4688">
                  <c:v>3406.2000000000003</c:v>
                </c:pt>
                <c:pt idx="4689">
                  <c:v>3116.4</c:v>
                </c:pt>
                <c:pt idx="4690">
                  <c:v>2851.8</c:v>
                </c:pt>
                <c:pt idx="4691">
                  <c:v>2545.2000000000003</c:v>
                </c:pt>
                <c:pt idx="4692">
                  <c:v>2452.8000000000002</c:v>
                </c:pt>
                <c:pt idx="4693">
                  <c:v>2452.8000000000002</c:v>
                </c:pt>
                <c:pt idx="4694">
                  <c:v>2469.6</c:v>
                </c:pt>
                <c:pt idx="4695">
                  <c:v>2662.8</c:v>
                </c:pt>
                <c:pt idx="4696">
                  <c:v>2851.8</c:v>
                </c:pt>
                <c:pt idx="4697">
                  <c:v>3166.8</c:v>
                </c:pt>
                <c:pt idx="4698">
                  <c:v>3439.8</c:v>
                </c:pt>
                <c:pt idx="4699">
                  <c:v>3595.2000000000003</c:v>
                </c:pt>
                <c:pt idx="4700">
                  <c:v>3775.8</c:v>
                </c:pt>
                <c:pt idx="4701">
                  <c:v>3885</c:v>
                </c:pt>
                <c:pt idx="4702">
                  <c:v>3859.8</c:v>
                </c:pt>
                <c:pt idx="4703">
                  <c:v>3985.8</c:v>
                </c:pt>
                <c:pt idx="4704">
                  <c:v>4275.6000000000004</c:v>
                </c:pt>
                <c:pt idx="4705">
                  <c:v>4494</c:v>
                </c:pt>
                <c:pt idx="4706">
                  <c:v>4691.4000000000005</c:v>
                </c:pt>
                <c:pt idx="4707">
                  <c:v>4817.4000000000005</c:v>
                </c:pt>
                <c:pt idx="4708">
                  <c:v>5010.6000000000004</c:v>
                </c:pt>
                <c:pt idx="4709">
                  <c:v>5027.4000000000005</c:v>
                </c:pt>
                <c:pt idx="4710">
                  <c:v>4939.2</c:v>
                </c:pt>
                <c:pt idx="4711">
                  <c:v>4779.6000000000004</c:v>
                </c:pt>
                <c:pt idx="4712">
                  <c:v>4347</c:v>
                </c:pt>
                <c:pt idx="4713">
                  <c:v>3855.6000000000004</c:v>
                </c:pt>
                <c:pt idx="4714">
                  <c:v>3670.8</c:v>
                </c:pt>
                <c:pt idx="4715">
                  <c:v>3775.8</c:v>
                </c:pt>
                <c:pt idx="4716">
                  <c:v>4027.8</c:v>
                </c:pt>
                <c:pt idx="4717">
                  <c:v>4300.8</c:v>
                </c:pt>
                <c:pt idx="4718">
                  <c:v>4699.8</c:v>
                </c:pt>
                <c:pt idx="4719">
                  <c:v>5027.4000000000005</c:v>
                </c:pt>
                <c:pt idx="4720">
                  <c:v>5376</c:v>
                </c:pt>
                <c:pt idx="4721">
                  <c:v>5657.4000000000005</c:v>
                </c:pt>
                <c:pt idx="4722">
                  <c:v>6010.2</c:v>
                </c:pt>
                <c:pt idx="4723">
                  <c:v>6274.8</c:v>
                </c:pt>
                <c:pt idx="4724">
                  <c:v>6245.4000000000005</c:v>
                </c:pt>
                <c:pt idx="4725">
                  <c:v>6258</c:v>
                </c:pt>
                <c:pt idx="4726">
                  <c:v>6224.4000000000005</c:v>
                </c:pt>
                <c:pt idx="4727">
                  <c:v>6497.4000000000005</c:v>
                </c:pt>
                <c:pt idx="4728">
                  <c:v>6795.6</c:v>
                </c:pt>
                <c:pt idx="4729">
                  <c:v>7106.4000000000005</c:v>
                </c:pt>
                <c:pt idx="4730">
                  <c:v>7261.8</c:v>
                </c:pt>
                <c:pt idx="4731">
                  <c:v>7421.4000000000005</c:v>
                </c:pt>
                <c:pt idx="4732">
                  <c:v>7471.8</c:v>
                </c:pt>
                <c:pt idx="4733">
                  <c:v>7371</c:v>
                </c:pt>
                <c:pt idx="4734">
                  <c:v>7345.8</c:v>
                </c:pt>
                <c:pt idx="4735">
                  <c:v>6951</c:v>
                </c:pt>
                <c:pt idx="4736">
                  <c:v>6371.4000000000005</c:v>
                </c:pt>
                <c:pt idx="4737">
                  <c:v>5728.8</c:v>
                </c:pt>
                <c:pt idx="4738">
                  <c:v>4972.8</c:v>
                </c:pt>
                <c:pt idx="4739">
                  <c:v>4204.2</c:v>
                </c:pt>
                <c:pt idx="4740">
                  <c:v>3633</c:v>
                </c:pt>
                <c:pt idx="4741">
                  <c:v>3066</c:v>
                </c:pt>
                <c:pt idx="4742">
                  <c:v>2545.2000000000003</c:v>
                </c:pt>
                <c:pt idx="4743">
                  <c:v>2028.6000000000001</c:v>
                </c:pt>
                <c:pt idx="4744">
                  <c:v>1663.2</c:v>
                </c:pt>
                <c:pt idx="4745">
                  <c:v>1449</c:v>
                </c:pt>
                <c:pt idx="4746">
                  <c:v>1323</c:v>
                </c:pt>
                <c:pt idx="4747">
                  <c:v>1234.8</c:v>
                </c:pt>
                <c:pt idx="4748">
                  <c:v>1331.4</c:v>
                </c:pt>
                <c:pt idx="4749">
                  <c:v>1545.6000000000001</c:v>
                </c:pt>
                <c:pt idx="4750">
                  <c:v>1717.8000000000002</c:v>
                </c:pt>
                <c:pt idx="4751">
                  <c:v>2150.4</c:v>
                </c:pt>
                <c:pt idx="4752">
                  <c:v>2780.4</c:v>
                </c:pt>
                <c:pt idx="4753">
                  <c:v>3347.4</c:v>
                </c:pt>
                <c:pt idx="4754">
                  <c:v>4657.8</c:v>
                </c:pt>
                <c:pt idx="4755">
                  <c:v>5178.6000000000004</c:v>
                </c:pt>
                <c:pt idx="4756">
                  <c:v>5556.6</c:v>
                </c:pt>
                <c:pt idx="4757">
                  <c:v>6123.6</c:v>
                </c:pt>
                <c:pt idx="4758">
                  <c:v>6749.4000000000005</c:v>
                </c:pt>
                <c:pt idx="4759">
                  <c:v>7156.8</c:v>
                </c:pt>
                <c:pt idx="4760">
                  <c:v>7282.8</c:v>
                </c:pt>
                <c:pt idx="4761">
                  <c:v>7299.6</c:v>
                </c:pt>
                <c:pt idx="4762">
                  <c:v>7425.6</c:v>
                </c:pt>
                <c:pt idx="4763">
                  <c:v>7963.2000000000007</c:v>
                </c:pt>
                <c:pt idx="4764">
                  <c:v>8584.8000000000011</c:v>
                </c:pt>
                <c:pt idx="4765">
                  <c:v>9340.8000000000011</c:v>
                </c:pt>
                <c:pt idx="4766">
                  <c:v>10063.200000000001</c:v>
                </c:pt>
                <c:pt idx="4767">
                  <c:v>11083.800000000001</c:v>
                </c:pt>
                <c:pt idx="4768">
                  <c:v>11793.6</c:v>
                </c:pt>
                <c:pt idx="4769">
                  <c:v>12549.6</c:v>
                </c:pt>
                <c:pt idx="4770">
                  <c:v>12763.800000000001</c:v>
                </c:pt>
                <c:pt idx="4771">
                  <c:v>12570.6</c:v>
                </c:pt>
                <c:pt idx="4772">
                  <c:v>12343.800000000001</c:v>
                </c:pt>
                <c:pt idx="4773">
                  <c:v>11751.6</c:v>
                </c:pt>
                <c:pt idx="4774">
                  <c:v>11239.2</c:v>
                </c:pt>
                <c:pt idx="4775">
                  <c:v>10600.800000000001</c:v>
                </c:pt>
                <c:pt idx="4776">
                  <c:v>10638.6</c:v>
                </c:pt>
                <c:pt idx="4777">
                  <c:v>10437</c:v>
                </c:pt>
                <c:pt idx="4778">
                  <c:v>10537.800000000001</c:v>
                </c:pt>
                <c:pt idx="4779">
                  <c:v>10021.200000000001</c:v>
                </c:pt>
                <c:pt idx="4780">
                  <c:v>9529.8000000000011</c:v>
                </c:pt>
                <c:pt idx="4781">
                  <c:v>9051</c:v>
                </c:pt>
                <c:pt idx="4782">
                  <c:v>8668.8000000000011</c:v>
                </c:pt>
                <c:pt idx="4783">
                  <c:v>8463</c:v>
                </c:pt>
                <c:pt idx="4784">
                  <c:v>8227.8000000000011</c:v>
                </c:pt>
                <c:pt idx="4785">
                  <c:v>8160.6</c:v>
                </c:pt>
                <c:pt idx="4786">
                  <c:v>7980</c:v>
                </c:pt>
                <c:pt idx="4787">
                  <c:v>7614.6</c:v>
                </c:pt>
                <c:pt idx="4788">
                  <c:v>7383.6</c:v>
                </c:pt>
                <c:pt idx="4789">
                  <c:v>7131.6</c:v>
                </c:pt>
                <c:pt idx="4790">
                  <c:v>6778.8</c:v>
                </c:pt>
                <c:pt idx="4791">
                  <c:v>6405</c:v>
                </c:pt>
                <c:pt idx="4792">
                  <c:v>6064.8</c:v>
                </c:pt>
                <c:pt idx="4793">
                  <c:v>5670</c:v>
                </c:pt>
                <c:pt idx="4794">
                  <c:v>5157.6000000000004</c:v>
                </c:pt>
                <c:pt idx="4795">
                  <c:v>4594.8</c:v>
                </c:pt>
                <c:pt idx="4796">
                  <c:v>4032</c:v>
                </c:pt>
                <c:pt idx="4797">
                  <c:v>3586.8</c:v>
                </c:pt>
                <c:pt idx="4798">
                  <c:v>3229.8</c:v>
                </c:pt>
                <c:pt idx="4799">
                  <c:v>3070.2000000000003</c:v>
                </c:pt>
                <c:pt idx="4800">
                  <c:v>3108</c:v>
                </c:pt>
                <c:pt idx="4801">
                  <c:v>3066</c:v>
                </c:pt>
                <c:pt idx="4802">
                  <c:v>2982</c:v>
                </c:pt>
                <c:pt idx="4803">
                  <c:v>3154.2000000000003</c:v>
                </c:pt>
                <c:pt idx="4804">
                  <c:v>3351.6000000000004</c:v>
                </c:pt>
                <c:pt idx="4805">
                  <c:v>3423</c:v>
                </c:pt>
                <c:pt idx="4806">
                  <c:v>3460.8</c:v>
                </c:pt>
                <c:pt idx="4807">
                  <c:v>3528</c:v>
                </c:pt>
                <c:pt idx="4808">
                  <c:v>3347.4</c:v>
                </c:pt>
                <c:pt idx="4809">
                  <c:v>3179.4</c:v>
                </c:pt>
                <c:pt idx="4810">
                  <c:v>3162.6</c:v>
                </c:pt>
                <c:pt idx="4811">
                  <c:v>3255</c:v>
                </c:pt>
                <c:pt idx="4812">
                  <c:v>3561.6000000000004</c:v>
                </c:pt>
                <c:pt idx="4813">
                  <c:v>3784.2000000000003</c:v>
                </c:pt>
                <c:pt idx="4814">
                  <c:v>3885</c:v>
                </c:pt>
                <c:pt idx="4815">
                  <c:v>4187.4000000000005</c:v>
                </c:pt>
                <c:pt idx="4816">
                  <c:v>4750.2</c:v>
                </c:pt>
                <c:pt idx="4817">
                  <c:v>4981.2</c:v>
                </c:pt>
                <c:pt idx="4818">
                  <c:v>5056.8</c:v>
                </c:pt>
                <c:pt idx="4819">
                  <c:v>4880.4000000000005</c:v>
                </c:pt>
                <c:pt idx="4820">
                  <c:v>4641</c:v>
                </c:pt>
                <c:pt idx="4821">
                  <c:v>4473</c:v>
                </c:pt>
                <c:pt idx="4822">
                  <c:v>3977.4</c:v>
                </c:pt>
                <c:pt idx="4823">
                  <c:v>3838.8</c:v>
                </c:pt>
                <c:pt idx="4824">
                  <c:v>3889.2000000000003</c:v>
                </c:pt>
                <c:pt idx="4825">
                  <c:v>3864</c:v>
                </c:pt>
                <c:pt idx="4826">
                  <c:v>4246.2</c:v>
                </c:pt>
                <c:pt idx="4827">
                  <c:v>4187.4000000000005</c:v>
                </c:pt>
                <c:pt idx="4828">
                  <c:v>4044.6000000000004</c:v>
                </c:pt>
                <c:pt idx="4829">
                  <c:v>3847.2000000000003</c:v>
                </c:pt>
                <c:pt idx="4830">
                  <c:v>3591</c:v>
                </c:pt>
                <c:pt idx="4831">
                  <c:v>3292.8</c:v>
                </c:pt>
                <c:pt idx="4832">
                  <c:v>3003</c:v>
                </c:pt>
                <c:pt idx="4833">
                  <c:v>2692.2000000000003</c:v>
                </c:pt>
                <c:pt idx="4834">
                  <c:v>2620.8000000000002</c:v>
                </c:pt>
                <c:pt idx="4835">
                  <c:v>2780.4</c:v>
                </c:pt>
                <c:pt idx="4836">
                  <c:v>3179.4</c:v>
                </c:pt>
                <c:pt idx="4837">
                  <c:v>3725.4</c:v>
                </c:pt>
                <c:pt idx="4838">
                  <c:v>4355.4000000000005</c:v>
                </c:pt>
                <c:pt idx="4839">
                  <c:v>5254.2</c:v>
                </c:pt>
                <c:pt idx="4840">
                  <c:v>5968.2</c:v>
                </c:pt>
                <c:pt idx="4841">
                  <c:v>6552</c:v>
                </c:pt>
                <c:pt idx="4842">
                  <c:v>6787.2000000000007</c:v>
                </c:pt>
                <c:pt idx="4843">
                  <c:v>6846</c:v>
                </c:pt>
                <c:pt idx="4844">
                  <c:v>6694.8</c:v>
                </c:pt>
                <c:pt idx="4845">
                  <c:v>6434.4000000000005</c:v>
                </c:pt>
                <c:pt idx="4846">
                  <c:v>6174</c:v>
                </c:pt>
                <c:pt idx="4847">
                  <c:v>6048</c:v>
                </c:pt>
                <c:pt idx="4848">
                  <c:v>6069</c:v>
                </c:pt>
                <c:pt idx="4849">
                  <c:v>5980.8</c:v>
                </c:pt>
                <c:pt idx="4850">
                  <c:v>5821.2</c:v>
                </c:pt>
                <c:pt idx="4851">
                  <c:v>5670</c:v>
                </c:pt>
                <c:pt idx="4852">
                  <c:v>5510.4000000000005</c:v>
                </c:pt>
                <c:pt idx="4853">
                  <c:v>5439</c:v>
                </c:pt>
                <c:pt idx="4854">
                  <c:v>5254.2</c:v>
                </c:pt>
                <c:pt idx="4855">
                  <c:v>4993.8</c:v>
                </c:pt>
                <c:pt idx="4856">
                  <c:v>4527.6000000000004</c:v>
                </c:pt>
                <c:pt idx="4857">
                  <c:v>4225.2</c:v>
                </c:pt>
                <c:pt idx="4858">
                  <c:v>4044.6000000000004</c:v>
                </c:pt>
                <c:pt idx="4859">
                  <c:v>4086.6000000000004</c:v>
                </c:pt>
                <c:pt idx="4860">
                  <c:v>4145.4000000000005</c:v>
                </c:pt>
                <c:pt idx="4861">
                  <c:v>4284</c:v>
                </c:pt>
                <c:pt idx="4862">
                  <c:v>4552.8</c:v>
                </c:pt>
                <c:pt idx="4863">
                  <c:v>4750.2</c:v>
                </c:pt>
                <c:pt idx="4864">
                  <c:v>4783.8</c:v>
                </c:pt>
                <c:pt idx="4865">
                  <c:v>4775.4000000000005</c:v>
                </c:pt>
                <c:pt idx="4866">
                  <c:v>4733.4000000000005</c:v>
                </c:pt>
                <c:pt idx="4867">
                  <c:v>4607.4000000000005</c:v>
                </c:pt>
                <c:pt idx="4868">
                  <c:v>4086.6000000000004</c:v>
                </c:pt>
                <c:pt idx="4869">
                  <c:v>3633</c:v>
                </c:pt>
                <c:pt idx="4870">
                  <c:v>3309.6000000000004</c:v>
                </c:pt>
                <c:pt idx="4871">
                  <c:v>3145.8</c:v>
                </c:pt>
                <c:pt idx="4872">
                  <c:v>3103.8</c:v>
                </c:pt>
                <c:pt idx="4873">
                  <c:v>3141.6</c:v>
                </c:pt>
                <c:pt idx="4874">
                  <c:v>3393.6000000000004</c:v>
                </c:pt>
                <c:pt idx="4875">
                  <c:v>3662.4</c:v>
                </c:pt>
                <c:pt idx="4876">
                  <c:v>3801</c:v>
                </c:pt>
                <c:pt idx="4877">
                  <c:v>4019.4</c:v>
                </c:pt>
                <c:pt idx="4878">
                  <c:v>4095</c:v>
                </c:pt>
                <c:pt idx="4879">
                  <c:v>4162.2</c:v>
                </c:pt>
                <c:pt idx="4880">
                  <c:v>4355.4000000000005</c:v>
                </c:pt>
                <c:pt idx="4881">
                  <c:v>4561.2</c:v>
                </c:pt>
                <c:pt idx="4882">
                  <c:v>4918.2</c:v>
                </c:pt>
                <c:pt idx="4883">
                  <c:v>5376</c:v>
                </c:pt>
                <c:pt idx="4884">
                  <c:v>5791.8</c:v>
                </c:pt>
                <c:pt idx="4885">
                  <c:v>6434.4000000000005</c:v>
                </c:pt>
                <c:pt idx="4886">
                  <c:v>6938.4000000000005</c:v>
                </c:pt>
                <c:pt idx="4887">
                  <c:v>7245</c:v>
                </c:pt>
                <c:pt idx="4888">
                  <c:v>7614.6</c:v>
                </c:pt>
                <c:pt idx="4889">
                  <c:v>7786.8</c:v>
                </c:pt>
                <c:pt idx="4890">
                  <c:v>7929.6</c:v>
                </c:pt>
                <c:pt idx="4891">
                  <c:v>8064</c:v>
                </c:pt>
                <c:pt idx="4892">
                  <c:v>7908.6</c:v>
                </c:pt>
                <c:pt idx="4893">
                  <c:v>7698.6</c:v>
                </c:pt>
                <c:pt idx="4894">
                  <c:v>7362.6</c:v>
                </c:pt>
                <c:pt idx="4895">
                  <c:v>7253.4000000000005</c:v>
                </c:pt>
                <c:pt idx="4896">
                  <c:v>7177.8</c:v>
                </c:pt>
                <c:pt idx="4897">
                  <c:v>7081.2000000000007</c:v>
                </c:pt>
                <c:pt idx="4898">
                  <c:v>7467.6</c:v>
                </c:pt>
                <c:pt idx="4899">
                  <c:v>7404.6</c:v>
                </c:pt>
                <c:pt idx="4900">
                  <c:v>7186.2000000000007</c:v>
                </c:pt>
                <c:pt idx="4901">
                  <c:v>7001.4000000000005</c:v>
                </c:pt>
                <c:pt idx="4902">
                  <c:v>6841.8</c:v>
                </c:pt>
                <c:pt idx="4903">
                  <c:v>6531</c:v>
                </c:pt>
                <c:pt idx="4904">
                  <c:v>5976.6</c:v>
                </c:pt>
                <c:pt idx="4905">
                  <c:v>5468.4000000000005</c:v>
                </c:pt>
                <c:pt idx="4906">
                  <c:v>5124</c:v>
                </c:pt>
                <c:pt idx="4907">
                  <c:v>5019</c:v>
                </c:pt>
                <c:pt idx="4908">
                  <c:v>4867.8</c:v>
                </c:pt>
                <c:pt idx="4909">
                  <c:v>4838.4000000000005</c:v>
                </c:pt>
                <c:pt idx="4910">
                  <c:v>4905.6000000000004</c:v>
                </c:pt>
                <c:pt idx="4911">
                  <c:v>5145</c:v>
                </c:pt>
                <c:pt idx="4912">
                  <c:v>5271</c:v>
                </c:pt>
                <c:pt idx="4913">
                  <c:v>5325.6</c:v>
                </c:pt>
                <c:pt idx="4914">
                  <c:v>5208</c:v>
                </c:pt>
                <c:pt idx="4915">
                  <c:v>5056.8</c:v>
                </c:pt>
                <c:pt idx="4916">
                  <c:v>4670.4000000000005</c:v>
                </c:pt>
                <c:pt idx="4917">
                  <c:v>4250.4000000000005</c:v>
                </c:pt>
                <c:pt idx="4918">
                  <c:v>3813.6000000000004</c:v>
                </c:pt>
                <c:pt idx="4919">
                  <c:v>3637.2000000000003</c:v>
                </c:pt>
                <c:pt idx="4920">
                  <c:v>3679.2000000000003</c:v>
                </c:pt>
                <c:pt idx="4921">
                  <c:v>3616.2000000000003</c:v>
                </c:pt>
                <c:pt idx="4922">
                  <c:v>3578.4</c:v>
                </c:pt>
                <c:pt idx="4923">
                  <c:v>3431.4</c:v>
                </c:pt>
                <c:pt idx="4924">
                  <c:v>3360</c:v>
                </c:pt>
                <c:pt idx="4925">
                  <c:v>3435.6000000000004</c:v>
                </c:pt>
                <c:pt idx="4926">
                  <c:v>3540.6000000000004</c:v>
                </c:pt>
                <c:pt idx="4927">
                  <c:v>3591</c:v>
                </c:pt>
                <c:pt idx="4928">
                  <c:v>3725.4</c:v>
                </c:pt>
                <c:pt idx="4929">
                  <c:v>3654</c:v>
                </c:pt>
                <c:pt idx="4930">
                  <c:v>3838.8</c:v>
                </c:pt>
                <c:pt idx="4931">
                  <c:v>4342.8</c:v>
                </c:pt>
                <c:pt idx="4932">
                  <c:v>4872</c:v>
                </c:pt>
                <c:pt idx="4933">
                  <c:v>5430.6</c:v>
                </c:pt>
                <c:pt idx="4934">
                  <c:v>6022.8</c:v>
                </c:pt>
                <c:pt idx="4935">
                  <c:v>6493.2000000000007</c:v>
                </c:pt>
                <c:pt idx="4936">
                  <c:v>7068.6</c:v>
                </c:pt>
                <c:pt idx="4937">
                  <c:v>7127.4000000000005</c:v>
                </c:pt>
                <c:pt idx="4938">
                  <c:v>6913.2000000000007</c:v>
                </c:pt>
                <c:pt idx="4939">
                  <c:v>6652.8</c:v>
                </c:pt>
                <c:pt idx="4940">
                  <c:v>6623.4000000000005</c:v>
                </c:pt>
                <c:pt idx="4941">
                  <c:v>6413.4000000000005</c:v>
                </c:pt>
                <c:pt idx="4942">
                  <c:v>6060.6</c:v>
                </c:pt>
                <c:pt idx="4943">
                  <c:v>5825.4000000000005</c:v>
                </c:pt>
                <c:pt idx="4944">
                  <c:v>5905.2</c:v>
                </c:pt>
                <c:pt idx="4945">
                  <c:v>5888.4000000000005</c:v>
                </c:pt>
                <c:pt idx="4946">
                  <c:v>5930.4000000000005</c:v>
                </c:pt>
                <c:pt idx="4947">
                  <c:v>6132</c:v>
                </c:pt>
                <c:pt idx="4948">
                  <c:v>6270.6</c:v>
                </c:pt>
                <c:pt idx="4949">
                  <c:v>6573</c:v>
                </c:pt>
                <c:pt idx="4950">
                  <c:v>7077</c:v>
                </c:pt>
                <c:pt idx="4951">
                  <c:v>7345.8</c:v>
                </c:pt>
                <c:pt idx="4952">
                  <c:v>7803.6</c:v>
                </c:pt>
                <c:pt idx="4953">
                  <c:v>8278.2000000000007</c:v>
                </c:pt>
                <c:pt idx="4954">
                  <c:v>8925</c:v>
                </c:pt>
                <c:pt idx="4955">
                  <c:v>9483.6</c:v>
                </c:pt>
                <c:pt idx="4956">
                  <c:v>10000.200000000001</c:v>
                </c:pt>
                <c:pt idx="4957">
                  <c:v>11256</c:v>
                </c:pt>
                <c:pt idx="4958">
                  <c:v>12213.6</c:v>
                </c:pt>
                <c:pt idx="4959">
                  <c:v>13419</c:v>
                </c:pt>
                <c:pt idx="4960">
                  <c:v>14149.800000000001</c:v>
                </c:pt>
                <c:pt idx="4961">
                  <c:v>14779.800000000001</c:v>
                </c:pt>
                <c:pt idx="4962">
                  <c:v>14989.800000000001</c:v>
                </c:pt>
                <c:pt idx="4963">
                  <c:v>14901.6</c:v>
                </c:pt>
                <c:pt idx="4964">
                  <c:v>14372.400000000001</c:v>
                </c:pt>
                <c:pt idx="4965">
                  <c:v>13427.400000000001</c:v>
                </c:pt>
                <c:pt idx="4966">
                  <c:v>12898.2</c:v>
                </c:pt>
                <c:pt idx="4967">
                  <c:v>12490.800000000001</c:v>
                </c:pt>
                <c:pt idx="4968">
                  <c:v>12075</c:v>
                </c:pt>
                <c:pt idx="4969">
                  <c:v>11382</c:v>
                </c:pt>
                <c:pt idx="4970">
                  <c:v>9907.8000000000011</c:v>
                </c:pt>
                <c:pt idx="4971">
                  <c:v>9525.6</c:v>
                </c:pt>
                <c:pt idx="4972">
                  <c:v>9059.4</c:v>
                </c:pt>
                <c:pt idx="4973">
                  <c:v>8517.6</c:v>
                </c:pt>
                <c:pt idx="4974">
                  <c:v>8022</c:v>
                </c:pt>
                <c:pt idx="4975">
                  <c:v>7518</c:v>
                </c:pt>
                <c:pt idx="4976">
                  <c:v>7018.2000000000007</c:v>
                </c:pt>
                <c:pt idx="4977">
                  <c:v>6489</c:v>
                </c:pt>
                <c:pt idx="4978">
                  <c:v>6094.2</c:v>
                </c:pt>
                <c:pt idx="4979">
                  <c:v>5737.2</c:v>
                </c:pt>
                <c:pt idx="4980">
                  <c:v>5598.6</c:v>
                </c:pt>
                <c:pt idx="4981">
                  <c:v>5581.8</c:v>
                </c:pt>
                <c:pt idx="4982">
                  <c:v>5447.4000000000005</c:v>
                </c:pt>
                <c:pt idx="4983">
                  <c:v>5531.4000000000005</c:v>
                </c:pt>
                <c:pt idx="4984">
                  <c:v>5539.8</c:v>
                </c:pt>
                <c:pt idx="4985">
                  <c:v>5178.6000000000004</c:v>
                </c:pt>
                <c:pt idx="4986">
                  <c:v>4754.4000000000005</c:v>
                </c:pt>
                <c:pt idx="4987">
                  <c:v>4363.8</c:v>
                </c:pt>
                <c:pt idx="4988">
                  <c:v>3931.2000000000003</c:v>
                </c:pt>
                <c:pt idx="4989">
                  <c:v>3759</c:v>
                </c:pt>
                <c:pt idx="4990">
                  <c:v>3570</c:v>
                </c:pt>
                <c:pt idx="4991">
                  <c:v>3675</c:v>
                </c:pt>
                <c:pt idx="4992">
                  <c:v>3775.8</c:v>
                </c:pt>
                <c:pt idx="4993">
                  <c:v>3897.6000000000004</c:v>
                </c:pt>
                <c:pt idx="4994">
                  <c:v>4263</c:v>
                </c:pt>
                <c:pt idx="4995">
                  <c:v>4447.8</c:v>
                </c:pt>
                <c:pt idx="4996">
                  <c:v>4506.6000000000004</c:v>
                </c:pt>
                <c:pt idx="4997">
                  <c:v>4317.6000000000004</c:v>
                </c:pt>
                <c:pt idx="4998">
                  <c:v>3859.8</c:v>
                </c:pt>
                <c:pt idx="4999">
                  <c:v>3423</c:v>
                </c:pt>
                <c:pt idx="5000">
                  <c:v>3045</c:v>
                </c:pt>
                <c:pt idx="5001">
                  <c:v>2843.4</c:v>
                </c:pt>
                <c:pt idx="5002">
                  <c:v>2793</c:v>
                </c:pt>
                <c:pt idx="5003">
                  <c:v>2851.8</c:v>
                </c:pt>
                <c:pt idx="5004">
                  <c:v>2902.2000000000003</c:v>
                </c:pt>
                <c:pt idx="5005">
                  <c:v>2919</c:v>
                </c:pt>
                <c:pt idx="5006">
                  <c:v>3091.2000000000003</c:v>
                </c:pt>
                <c:pt idx="5007">
                  <c:v>3255</c:v>
                </c:pt>
                <c:pt idx="5008">
                  <c:v>3326.4</c:v>
                </c:pt>
                <c:pt idx="5009">
                  <c:v>3624.6000000000004</c:v>
                </c:pt>
                <c:pt idx="5010">
                  <c:v>3633</c:v>
                </c:pt>
                <c:pt idx="5011">
                  <c:v>3473.4</c:v>
                </c:pt>
                <c:pt idx="5012">
                  <c:v>3288.6000000000004</c:v>
                </c:pt>
                <c:pt idx="5013">
                  <c:v>3406.2000000000003</c:v>
                </c:pt>
                <c:pt idx="5014">
                  <c:v>3385.2000000000003</c:v>
                </c:pt>
                <c:pt idx="5015">
                  <c:v>3389.4</c:v>
                </c:pt>
                <c:pt idx="5016">
                  <c:v>3402</c:v>
                </c:pt>
                <c:pt idx="5017">
                  <c:v>3452.4</c:v>
                </c:pt>
                <c:pt idx="5018">
                  <c:v>3624.6000000000004</c:v>
                </c:pt>
                <c:pt idx="5019">
                  <c:v>3637.2000000000003</c:v>
                </c:pt>
                <c:pt idx="5020">
                  <c:v>3595.2000000000003</c:v>
                </c:pt>
                <c:pt idx="5021">
                  <c:v>3553.2000000000003</c:v>
                </c:pt>
                <c:pt idx="5022">
                  <c:v>3515.4</c:v>
                </c:pt>
                <c:pt idx="5023">
                  <c:v>3544.8</c:v>
                </c:pt>
                <c:pt idx="5024">
                  <c:v>3553.2000000000003</c:v>
                </c:pt>
                <c:pt idx="5025">
                  <c:v>3574.2000000000003</c:v>
                </c:pt>
                <c:pt idx="5026">
                  <c:v>3599.4</c:v>
                </c:pt>
                <c:pt idx="5027">
                  <c:v>3616.2000000000003</c:v>
                </c:pt>
                <c:pt idx="5028">
                  <c:v>3637.2000000000003</c:v>
                </c:pt>
                <c:pt idx="5029">
                  <c:v>3834.6000000000004</c:v>
                </c:pt>
                <c:pt idx="5030">
                  <c:v>3939.6000000000004</c:v>
                </c:pt>
                <c:pt idx="5031">
                  <c:v>4258.8</c:v>
                </c:pt>
                <c:pt idx="5032">
                  <c:v>4351.2</c:v>
                </c:pt>
                <c:pt idx="5033">
                  <c:v>4481.4000000000005</c:v>
                </c:pt>
                <c:pt idx="5034">
                  <c:v>4452</c:v>
                </c:pt>
                <c:pt idx="5035">
                  <c:v>4573.8</c:v>
                </c:pt>
                <c:pt idx="5036">
                  <c:v>4275.6000000000004</c:v>
                </c:pt>
                <c:pt idx="5037">
                  <c:v>4065.6000000000004</c:v>
                </c:pt>
                <c:pt idx="5038">
                  <c:v>3843</c:v>
                </c:pt>
                <c:pt idx="5039">
                  <c:v>3729.6000000000004</c:v>
                </c:pt>
                <c:pt idx="5040">
                  <c:v>3624.6000000000004</c:v>
                </c:pt>
                <c:pt idx="5041">
                  <c:v>3498.6000000000004</c:v>
                </c:pt>
                <c:pt idx="5042">
                  <c:v>3154.2000000000003</c:v>
                </c:pt>
                <c:pt idx="5043">
                  <c:v>3061.8</c:v>
                </c:pt>
                <c:pt idx="5044">
                  <c:v>3028.2000000000003</c:v>
                </c:pt>
                <c:pt idx="5045">
                  <c:v>2965.2000000000003</c:v>
                </c:pt>
                <c:pt idx="5046">
                  <c:v>2961</c:v>
                </c:pt>
                <c:pt idx="5047">
                  <c:v>3028.2000000000003</c:v>
                </c:pt>
                <c:pt idx="5048">
                  <c:v>2952.6</c:v>
                </c:pt>
                <c:pt idx="5049">
                  <c:v>2746.8</c:v>
                </c:pt>
                <c:pt idx="5050">
                  <c:v>2641.8</c:v>
                </c:pt>
                <c:pt idx="5051">
                  <c:v>2696.4</c:v>
                </c:pt>
                <c:pt idx="5052">
                  <c:v>2671.2000000000003</c:v>
                </c:pt>
                <c:pt idx="5053">
                  <c:v>2814</c:v>
                </c:pt>
                <c:pt idx="5054">
                  <c:v>3095.4</c:v>
                </c:pt>
                <c:pt idx="5055">
                  <c:v>3473.4</c:v>
                </c:pt>
                <c:pt idx="5056">
                  <c:v>3750.6000000000004</c:v>
                </c:pt>
                <c:pt idx="5057">
                  <c:v>3931.2000000000003</c:v>
                </c:pt>
                <c:pt idx="5058">
                  <c:v>4372.2</c:v>
                </c:pt>
                <c:pt idx="5059">
                  <c:v>4657.8</c:v>
                </c:pt>
                <c:pt idx="5060">
                  <c:v>4876.2</c:v>
                </c:pt>
                <c:pt idx="5061">
                  <c:v>5174.4000000000005</c:v>
                </c:pt>
                <c:pt idx="5062">
                  <c:v>5313</c:v>
                </c:pt>
                <c:pt idx="5063">
                  <c:v>5287.8</c:v>
                </c:pt>
                <c:pt idx="5064">
                  <c:v>5350.8</c:v>
                </c:pt>
                <c:pt idx="5065">
                  <c:v>5573.4000000000005</c:v>
                </c:pt>
                <c:pt idx="5066">
                  <c:v>5481</c:v>
                </c:pt>
                <c:pt idx="5067">
                  <c:v>5598.6</c:v>
                </c:pt>
                <c:pt idx="5068">
                  <c:v>5749.8</c:v>
                </c:pt>
                <c:pt idx="5069">
                  <c:v>5783.4000000000005</c:v>
                </c:pt>
                <c:pt idx="5070">
                  <c:v>5821.2</c:v>
                </c:pt>
                <c:pt idx="5071">
                  <c:v>5821.2</c:v>
                </c:pt>
                <c:pt idx="5072">
                  <c:v>5817</c:v>
                </c:pt>
                <c:pt idx="5073">
                  <c:v>5762.4000000000005</c:v>
                </c:pt>
                <c:pt idx="5074">
                  <c:v>5728.8</c:v>
                </c:pt>
                <c:pt idx="5075">
                  <c:v>5552.4000000000005</c:v>
                </c:pt>
                <c:pt idx="5076">
                  <c:v>5518.8</c:v>
                </c:pt>
                <c:pt idx="5077">
                  <c:v>5502</c:v>
                </c:pt>
                <c:pt idx="5078">
                  <c:v>5581.8</c:v>
                </c:pt>
                <c:pt idx="5079">
                  <c:v>5695.2</c:v>
                </c:pt>
                <c:pt idx="5080">
                  <c:v>5829.6</c:v>
                </c:pt>
                <c:pt idx="5081">
                  <c:v>5884.2</c:v>
                </c:pt>
                <c:pt idx="5082">
                  <c:v>5871.6</c:v>
                </c:pt>
                <c:pt idx="5083">
                  <c:v>5737.2</c:v>
                </c:pt>
                <c:pt idx="5084">
                  <c:v>5590.2</c:v>
                </c:pt>
                <c:pt idx="5085">
                  <c:v>5686.8</c:v>
                </c:pt>
                <c:pt idx="5086">
                  <c:v>5640.6</c:v>
                </c:pt>
                <c:pt idx="5087">
                  <c:v>5922</c:v>
                </c:pt>
                <c:pt idx="5088">
                  <c:v>6279</c:v>
                </c:pt>
                <c:pt idx="5089">
                  <c:v>6308.4000000000005</c:v>
                </c:pt>
                <c:pt idx="5090">
                  <c:v>6690.6</c:v>
                </c:pt>
                <c:pt idx="5091">
                  <c:v>6783</c:v>
                </c:pt>
                <c:pt idx="5092">
                  <c:v>6875.4000000000005</c:v>
                </c:pt>
                <c:pt idx="5093">
                  <c:v>6736.8</c:v>
                </c:pt>
                <c:pt idx="5094">
                  <c:v>6610.8</c:v>
                </c:pt>
                <c:pt idx="5095">
                  <c:v>6405</c:v>
                </c:pt>
                <c:pt idx="5096">
                  <c:v>5980.8</c:v>
                </c:pt>
                <c:pt idx="5097">
                  <c:v>5497.8</c:v>
                </c:pt>
                <c:pt idx="5098">
                  <c:v>5157.6000000000004</c:v>
                </c:pt>
                <c:pt idx="5099">
                  <c:v>4800.6000000000004</c:v>
                </c:pt>
                <c:pt idx="5100">
                  <c:v>4292.4000000000005</c:v>
                </c:pt>
                <c:pt idx="5101">
                  <c:v>4233.6000000000004</c:v>
                </c:pt>
                <c:pt idx="5102">
                  <c:v>4141.2</c:v>
                </c:pt>
                <c:pt idx="5103">
                  <c:v>3964.8</c:v>
                </c:pt>
                <c:pt idx="5104">
                  <c:v>3885</c:v>
                </c:pt>
                <c:pt idx="5105">
                  <c:v>3931.2000000000003</c:v>
                </c:pt>
                <c:pt idx="5106">
                  <c:v>3679.2000000000003</c:v>
                </c:pt>
                <c:pt idx="5107">
                  <c:v>3528</c:v>
                </c:pt>
                <c:pt idx="5108">
                  <c:v>3406.2000000000003</c:v>
                </c:pt>
                <c:pt idx="5109">
                  <c:v>3234</c:v>
                </c:pt>
                <c:pt idx="5110">
                  <c:v>3082.8</c:v>
                </c:pt>
                <c:pt idx="5111">
                  <c:v>3061.8</c:v>
                </c:pt>
                <c:pt idx="5112">
                  <c:v>3108</c:v>
                </c:pt>
                <c:pt idx="5113">
                  <c:v>3099.6</c:v>
                </c:pt>
                <c:pt idx="5114">
                  <c:v>3637.2000000000003</c:v>
                </c:pt>
                <c:pt idx="5115">
                  <c:v>3616.2000000000003</c:v>
                </c:pt>
                <c:pt idx="5116">
                  <c:v>3502.8</c:v>
                </c:pt>
                <c:pt idx="5117">
                  <c:v>3418.8</c:v>
                </c:pt>
                <c:pt idx="5118">
                  <c:v>3368.4</c:v>
                </c:pt>
                <c:pt idx="5119">
                  <c:v>3225.6000000000004</c:v>
                </c:pt>
                <c:pt idx="5120">
                  <c:v>3024</c:v>
                </c:pt>
                <c:pt idx="5121">
                  <c:v>2646</c:v>
                </c:pt>
                <c:pt idx="5122">
                  <c:v>2532.6</c:v>
                </c:pt>
                <c:pt idx="5123">
                  <c:v>2688</c:v>
                </c:pt>
                <c:pt idx="5124">
                  <c:v>3066</c:v>
                </c:pt>
                <c:pt idx="5125">
                  <c:v>3465</c:v>
                </c:pt>
                <c:pt idx="5126">
                  <c:v>3948</c:v>
                </c:pt>
                <c:pt idx="5127">
                  <c:v>4468.8</c:v>
                </c:pt>
                <c:pt idx="5128">
                  <c:v>4893</c:v>
                </c:pt>
                <c:pt idx="5129">
                  <c:v>5124</c:v>
                </c:pt>
                <c:pt idx="5130">
                  <c:v>5313</c:v>
                </c:pt>
                <c:pt idx="5131">
                  <c:v>5308.8</c:v>
                </c:pt>
                <c:pt idx="5132">
                  <c:v>5224.8</c:v>
                </c:pt>
                <c:pt idx="5133">
                  <c:v>5090.4000000000005</c:v>
                </c:pt>
                <c:pt idx="5134">
                  <c:v>4846.8</c:v>
                </c:pt>
                <c:pt idx="5135">
                  <c:v>4746</c:v>
                </c:pt>
                <c:pt idx="5136">
                  <c:v>4867.8</c:v>
                </c:pt>
                <c:pt idx="5137">
                  <c:v>5128.2</c:v>
                </c:pt>
                <c:pt idx="5138">
                  <c:v>5279.4000000000005</c:v>
                </c:pt>
                <c:pt idx="5139">
                  <c:v>5275.2</c:v>
                </c:pt>
                <c:pt idx="5140">
                  <c:v>5300.4000000000005</c:v>
                </c:pt>
                <c:pt idx="5141">
                  <c:v>5237.4000000000005</c:v>
                </c:pt>
                <c:pt idx="5142">
                  <c:v>4935</c:v>
                </c:pt>
                <c:pt idx="5143">
                  <c:v>4590.6000000000004</c:v>
                </c:pt>
                <c:pt idx="5144">
                  <c:v>4233.6000000000004</c:v>
                </c:pt>
                <c:pt idx="5145">
                  <c:v>3532.2000000000003</c:v>
                </c:pt>
                <c:pt idx="5146">
                  <c:v>2977.8</c:v>
                </c:pt>
                <c:pt idx="5147">
                  <c:v>2410.8000000000002</c:v>
                </c:pt>
                <c:pt idx="5148">
                  <c:v>2024.4</c:v>
                </c:pt>
                <c:pt idx="5149">
                  <c:v>1642.2</c:v>
                </c:pt>
                <c:pt idx="5150">
                  <c:v>1440.6000000000001</c:v>
                </c:pt>
                <c:pt idx="5151">
                  <c:v>1239</c:v>
                </c:pt>
                <c:pt idx="5152">
                  <c:v>1108.8</c:v>
                </c:pt>
                <c:pt idx="5153">
                  <c:v>1058.4000000000001</c:v>
                </c:pt>
                <c:pt idx="5154">
                  <c:v>1121.4000000000001</c:v>
                </c:pt>
                <c:pt idx="5155">
                  <c:v>1163.4000000000001</c:v>
                </c:pt>
                <c:pt idx="5156">
                  <c:v>1205.4000000000001</c:v>
                </c:pt>
                <c:pt idx="5157">
                  <c:v>1318.8</c:v>
                </c:pt>
                <c:pt idx="5158">
                  <c:v>1398.6000000000001</c:v>
                </c:pt>
                <c:pt idx="5159">
                  <c:v>1726.2</c:v>
                </c:pt>
                <c:pt idx="5160">
                  <c:v>2129.4</c:v>
                </c:pt>
                <c:pt idx="5161">
                  <c:v>2629.2000000000003</c:v>
                </c:pt>
                <c:pt idx="5162">
                  <c:v>3196.2000000000003</c:v>
                </c:pt>
                <c:pt idx="5163">
                  <c:v>3427.2000000000003</c:v>
                </c:pt>
                <c:pt idx="5164">
                  <c:v>3612</c:v>
                </c:pt>
                <c:pt idx="5165">
                  <c:v>3721.2000000000003</c:v>
                </c:pt>
                <c:pt idx="5166">
                  <c:v>3876.6000000000004</c:v>
                </c:pt>
                <c:pt idx="5167">
                  <c:v>3969</c:v>
                </c:pt>
                <c:pt idx="5168">
                  <c:v>3969</c:v>
                </c:pt>
                <c:pt idx="5169">
                  <c:v>3784.2000000000003</c:v>
                </c:pt>
                <c:pt idx="5170">
                  <c:v>3637.2000000000003</c:v>
                </c:pt>
                <c:pt idx="5171">
                  <c:v>3612</c:v>
                </c:pt>
                <c:pt idx="5172">
                  <c:v>3780</c:v>
                </c:pt>
                <c:pt idx="5173">
                  <c:v>3998.4</c:v>
                </c:pt>
                <c:pt idx="5174">
                  <c:v>4359.6000000000004</c:v>
                </c:pt>
                <c:pt idx="5175">
                  <c:v>4762.8</c:v>
                </c:pt>
                <c:pt idx="5176">
                  <c:v>5107.2</c:v>
                </c:pt>
                <c:pt idx="5177">
                  <c:v>5527.2</c:v>
                </c:pt>
                <c:pt idx="5178">
                  <c:v>5833.8</c:v>
                </c:pt>
                <c:pt idx="5179">
                  <c:v>6115.2</c:v>
                </c:pt>
                <c:pt idx="5180">
                  <c:v>6161.4000000000005</c:v>
                </c:pt>
                <c:pt idx="5181">
                  <c:v>6526.8</c:v>
                </c:pt>
                <c:pt idx="5182">
                  <c:v>7068.6</c:v>
                </c:pt>
                <c:pt idx="5183">
                  <c:v>7467.6</c:v>
                </c:pt>
                <c:pt idx="5184">
                  <c:v>7505.4000000000005</c:v>
                </c:pt>
                <c:pt idx="5185">
                  <c:v>7383.6</c:v>
                </c:pt>
                <c:pt idx="5186">
                  <c:v>7341.6</c:v>
                </c:pt>
                <c:pt idx="5187">
                  <c:v>6997.2000000000007</c:v>
                </c:pt>
                <c:pt idx="5188">
                  <c:v>6673.8</c:v>
                </c:pt>
                <c:pt idx="5189">
                  <c:v>6237</c:v>
                </c:pt>
                <c:pt idx="5190">
                  <c:v>5846.4000000000005</c:v>
                </c:pt>
                <c:pt idx="5191">
                  <c:v>5611.2</c:v>
                </c:pt>
                <c:pt idx="5192">
                  <c:v>5380.2</c:v>
                </c:pt>
                <c:pt idx="5193">
                  <c:v>4859.4000000000005</c:v>
                </c:pt>
                <c:pt idx="5194">
                  <c:v>4603.2</c:v>
                </c:pt>
                <c:pt idx="5195">
                  <c:v>4258.8</c:v>
                </c:pt>
                <c:pt idx="5196">
                  <c:v>4065.6000000000004</c:v>
                </c:pt>
                <c:pt idx="5197">
                  <c:v>4132.8</c:v>
                </c:pt>
                <c:pt idx="5198">
                  <c:v>4128.6000000000004</c:v>
                </c:pt>
                <c:pt idx="5199">
                  <c:v>4032</c:v>
                </c:pt>
                <c:pt idx="5200">
                  <c:v>4011</c:v>
                </c:pt>
                <c:pt idx="5201">
                  <c:v>3948</c:v>
                </c:pt>
                <c:pt idx="5202">
                  <c:v>3801</c:v>
                </c:pt>
                <c:pt idx="5203">
                  <c:v>3742.2000000000003</c:v>
                </c:pt>
                <c:pt idx="5204">
                  <c:v>3183.6</c:v>
                </c:pt>
                <c:pt idx="5205">
                  <c:v>2843.4</c:v>
                </c:pt>
                <c:pt idx="5206">
                  <c:v>2751</c:v>
                </c:pt>
                <c:pt idx="5207">
                  <c:v>2776.2000000000003</c:v>
                </c:pt>
                <c:pt idx="5208">
                  <c:v>2776.2000000000003</c:v>
                </c:pt>
                <c:pt idx="5209">
                  <c:v>2620.8000000000002</c:v>
                </c:pt>
                <c:pt idx="5210">
                  <c:v>2574.6</c:v>
                </c:pt>
                <c:pt idx="5211">
                  <c:v>2499</c:v>
                </c:pt>
                <c:pt idx="5212">
                  <c:v>2377.2000000000003</c:v>
                </c:pt>
                <c:pt idx="5213">
                  <c:v>2184</c:v>
                </c:pt>
                <c:pt idx="5214">
                  <c:v>1982.4</c:v>
                </c:pt>
                <c:pt idx="5215">
                  <c:v>1827</c:v>
                </c:pt>
                <c:pt idx="5216">
                  <c:v>1642.2</c:v>
                </c:pt>
                <c:pt idx="5217">
                  <c:v>1344</c:v>
                </c:pt>
                <c:pt idx="5218">
                  <c:v>1134</c:v>
                </c:pt>
                <c:pt idx="5219">
                  <c:v>1033.2</c:v>
                </c:pt>
                <c:pt idx="5220">
                  <c:v>1003.8000000000001</c:v>
                </c:pt>
                <c:pt idx="5221">
                  <c:v>1171.8</c:v>
                </c:pt>
                <c:pt idx="5222">
                  <c:v>1335.6000000000001</c:v>
                </c:pt>
                <c:pt idx="5223">
                  <c:v>1449</c:v>
                </c:pt>
                <c:pt idx="5224">
                  <c:v>1562.4</c:v>
                </c:pt>
                <c:pt idx="5225">
                  <c:v>1629.6000000000001</c:v>
                </c:pt>
                <c:pt idx="5226">
                  <c:v>1625.4</c:v>
                </c:pt>
                <c:pt idx="5227">
                  <c:v>1591.8</c:v>
                </c:pt>
                <c:pt idx="5228">
                  <c:v>1545.6000000000001</c:v>
                </c:pt>
                <c:pt idx="5229">
                  <c:v>1558.2</c:v>
                </c:pt>
                <c:pt idx="5230">
                  <c:v>1680</c:v>
                </c:pt>
                <c:pt idx="5231">
                  <c:v>1852.2</c:v>
                </c:pt>
                <c:pt idx="5232">
                  <c:v>2163</c:v>
                </c:pt>
                <c:pt idx="5233">
                  <c:v>2511.6</c:v>
                </c:pt>
                <c:pt idx="5234">
                  <c:v>2784.6</c:v>
                </c:pt>
                <c:pt idx="5235">
                  <c:v>3053.4</c:v>
                </c:pt>
                <c:pt idx="5236">
                  <c:v>3393.6000000000004</c:v>
                </c:pt>
                <c:pt idx="5237">
                  <c:v>3603.6000000000004</c:v>
                </c:pt>
                <c:pt idx="5238">
                  <c:v>3603.6000000000004</c:v>
                </c:pt>
                <c:pt idx="5239">
                  <c:v>3490.2000000000003</c:v>
                </c:pt>
                <c:pt idx="5240">
                  <c:v>3330.6000000000004</c:v>
                </c:pt>
                <c:pt idx="5241">
                  <c:v>2956.8</c:v>
                </c:pt>
                <c:pt idx="5242">
                  <c:v>2641.8</c:v>
                </c:pt>
                <c:pt idx="5243">
                  <c:v>2410.8000000000002</c:v>
                </c:pt>
                <c:pt idx="5244">
                  <c:v>2524.2000000000003</c:v>
                </c:pt>
                <c:pt idx="5245">
                  <c:v>3036.6</c:v>
                </c:pt>
                <c:pt idx="5246">
                  <c:v>3288.6000000000004</c:v>
                </c:pt>
                <c:pt idx="5247">
                  <c:v>3721.2000000000003</c:v>
                </c:pt>
                <c:pt idx="5248">
                  <c:v>4128.6000000000004</c:v>
                </c:pt>
                <c:pt idx="5249">
                  <c:v>4557</c:v>
                </c:pt>
                <c:pt idx="5250">
                  <c:v>4972.8</c:v>
                </c:pt>
                <c:pt idx="5251">
                  <c:v>5061</c:v>
                </c:pt>
                <c:pt idx="5252">
                  <c:v>4922.4000000000005</c:v>
                </c:pt>
                <c:pt idx="5253">
                  <c:v>4531.8</c:v>
                </c:pt>
                <c:pt idx="5254">
                  <c:v>4527.6000000000004</c:v>
                </c:pt>
                <c:pt idx="5255">
                  <c:v>4645.2</c:v>
                </c:pt>
                <c:pt idx="5256">
                  <c:v>4825.8</c:v>
                </c:pt>
                <c:pt idx="5257">
                  <c:v>4704</c:v>
                </c:pt>
                <c:pt idx="5258">
                  <c:v>3784.2000000000003</c:v>
                </c:pt>
                <c:pt idx="5259">
                  <c:v>3649.8</c:v>
                </c:pt>
                <c:pt idx="5260">
                  <c:v>3670.8</c:v>
                </c:pt>
                <c:pt idx="5261">
                  <c:v>3700.2000000000003</c:v>
                </c:pt>
                <c:pt idx="5262">
                  <c:v>3616.2000000000003</c:v>
                </c:pt>
                <c:pt idx="5263">
                  <c:v>3393.6000000000004</c:v>
                </c:pt>
                <c:pt idx="5264">
                  <c:v>3074.4</c:v>
                </c:pt>
                <c:pt idx="5265">
                  <c:v>2646</c:v>
                </c:pt>
                <c:pt idx="5266">
                  <c:v>2419.2000000000003</c:v>
                </c:pt>
                <c:pt idx="5267">
                  <c:v>2221.8000000000002</c:v>
                </c:pt>
                <c:pt idx="5268">
                  <c:v>2116.8000000000002</c:v>
                </c:pt>
                <c:pt idx="5269">
                  <c:v>2284.8000000000002</c:v>
                </c:pt>
                <c:pt idx="5270">
                  <c:v>2545.2000000000003</c:v>
                </c:pt>
                <c:pt idx="5271">
                  <c:v>2826.6</c:v>
                </c:pt>
                <c:pt idx="5272">
                  <c:v>3150</c:v>
                </c:pt>
                <c:pt idx="5273">
                  <c:v>3553.2000000000003</c:v>
                </c:pt>
                <c:pt idx="5274">
                  <c:v>3805.2000000000003</c:v>
                </c:pt>
                <c:pt idx="5275">
                  <c:v>4153.8</c:v>
                </c:pt>
                <c:pt idx="5276">
                  <c:v>4363.8</c:v>
                </c:pt>
                <c:pt idx="5277">
                  <c:v>4473</c:v>
                </c:pt>
                <c:pt idx="5278">
                  <c:v>4851</c:v>
                </c:pt>
                <c:pt idx="5279">
                  <c:v>5035.8</c:v>
                </c:pt>
                <c:pt idx="5280">
                  <c:v>5216.4000000000005</c:v>
                </c:pt>
                <c:pt idx="5281">
                  <c:v>5409.6</c:v>
                </c:pt>
                <c:pt idx="5282">
                  <c:v>5573.4000000000005</c:v>
                </c:pt>
                <c:pt idx="5283">
                  <c:v>5266.8</c:v>
                </c:pt>
                <c:pt idx="5284">
                  <c:v>4800.6000000000004</c:v>
                </c:pt>
                <c:pt idx="5285">
                  <c:v>4674.6000000000004</c:v>
                </c:pt>
                <c:pt idx="5286">
                  <c:v>4132.8</c:v>
                </c:pt>
                <c:pt idx="5287">
                  <c:v>3691.8</c:v>
                </c:pt>
                <c:pt idx="5288">
                  <c:v>3045</c:v>
                </c:pt>
                <c:pt idx="5289">
                  <c:v>2247</c:v>
                </c:pt>
                <c:pt idx="5290">
                  <c:v>1545.6000000000001</c:v>
                </c:pt>
                <c:pt idx="5291">
                  <c:v>1360.8</c:v>
                </c:pt>
                <c:pt idx="5292">
                  <c:v>1297.8</c:v>
                </c:pt>
                <c:pt idx="5293">
                  <c:v>1386</c:v>
                </c:pt>
                <c:pt idx="5294">
                  <c:v>1558.2</c:v>
                </c:pt>
                <c:pt idx="5295">
                  <c:v>1780.8000000000002</c:v>
                </c:pt>
                <c:pt idx="5296">
                  <c:v>1965.6000000000001</c:v>
                </c:pt>
                <c:pt idx="5297">
                  <c:v>2217.6</c:v>
                </c:pt>
                <c:pt idx="5298">
                  <c:v>2322.6</c:v>
                </c:pt>
                <c:pt idx="5299">
                  <c:v>2347.8000000000002</c:v>
                </c:pt>
                <c:pt idx="5300">
                  <c:v>2226</c:v>
                </c:pt>
                <c:pt idx="5301">
                  <c:v>2171.4</c:v>
                </c:pt>
                <c:pt idx="5302">
                  <c:v>2020.2</c:v>
                </c:pt>
                <c:pt idx="5303">
                  <c:v>1990.8000000000002</c:v>
                </c:pt>
                <c:pt idx="5304">
                  <c:v>2192.4</c:v>
                </c:pt>
                <c:pt idx="5305">
                  <c:v>2276.4</c:v>
                </c:pt>
                <c:pt idx="5306">
                  <c:v>2415</c:v>
                </c:pt>
                <c:pt idx="5307">
                  <c:v>2499</c:v>
                </c:pt>
                <c:pt idx="5308">
                  <c:v>2549.4</c:v>
                </c:pt>
                <c:pt idx="5309">
                  <c:v>2394</c:v>
                </c:pt>
                <c:pt idx="5310">
                  <c:v>2142</c:v>
                </c:pt>
                <c:pt idx="5311">
                  <c:v>1936.2</c:v>
                </c:pt>
                <c:pt idx="5312">
                  <c:v>1785</c:v>
                </c:pt>
                <c:pt idx="5313">
                  <c:v>1646.4</c:v>
                </c:pt>
                <c:pt idx="5314">
                  <c:v>1398.6000000000001</c:v>
                </c:pt>
                <c:pt idx="5315">
                  <c:v>1272.6000000000001</c:v>
                </c:pt>
                <c:pt idx="5316">
                  <c:v>1323</c:v>
                </c:pt>
                <c:pt idx="5317">
                  <c:v>1507.8</c:v>
                </c:pt>
                <c:pt idx="5318">
                  <c:v>1751.4</c:v>
                </c:pt>
                <c:pt idx="5319">
                  <c:v>1898.4</c:v>
                </c:pt>
                <c:pt idx="5320">
                  <c:v>1990.8000000000002</c:v>
                </c:pt>
                <c:pt idx="5321">
                  <c:v>2016</c:v>
                </c:pt>
                <c:pt idx="5322">
                  <c:v>1965.6000000000001</c:v>
                </c:pt>
                <c:pt idx="5323">
                  <c:v>1923.6000000000001</c:v>
                </c:pt>
                <c:pt idx="5324">
                  <c:v>1873.2</c:v>
                </c:pt>
                <c:pt idx="5325">
                  <c:v>1785</c:v>
                </c:pt>
                <c:pt idx="5326">
                  <c:v>1869</c:v>
                </c:pt>
                <c:pt idx="5327">
                  <c:v>2100</c:v>
                </c:pt>
                <c:pt idx="5328">
                  <c:v>2301.6</c:v>
                </c:pt>
                <c:pt idx="5329">
                  <c:v>2410.8000000000002</c:v>
                </c:pt>
                <c:pt idx="5330">
                  <c:v>2541</c:v>
                </c:pt>
                <c:pt idx="5331">
                  <c:v>2671.2000000000003</c:v>
                </c:pt>
                <c:pt idx="5332">
                  <c:v>2704.8</c:v>
                </c:pt>
                <c:pt idx="5333">
                  <c:v>2658.6</c:v>
                </c:pt>
                <c:pt idx="5334">
                  <c:v>2583</c:v>
                </c:pt>
                <c:pt idx="5335">
                  <c:v>2524.2000000000003</c:v>
                </c:pt>
                <c:pt idx="5336">
                  <c:v>2541</c:v>
                </c:pt>
                <c:pt idx="5337">
                  <c:v>2549.4</c:v>
                </c:pt>
                <c:pt idx="5338">
                  <c:v>2457</c:v>
                </c:pt>
                <c:pt idx="5339">
                  <c:v>2570.4</c:v>
                </c:pt>
                <c:pt idx="5340">
                  <c:v>2604</c:v>
                </c:pt>
                <c:pt idx="5341">
                  <c:v>2797.2000000000003</c:v>
                </c:pt>
                <c:pt idx="5342">
                  <c:v>3192</c:v>
                </c:pt>
                <c:pt idx="5343">
                  <c:v>3696</c:v>
                </c:pt>
                <c:pt idx="5344">
                  <c:v>3960.6000000000004</c:v>
                </c:pt>
                <c:pt idx="5345">
                  <c:v>4229.4000000000005</c:v>
                </c:pt>
                <c:pt idx="5346">
                  <c:v>4498.2</c:v>
                </c:pt>
                <c:pt idx="5347">
                  <c:v>4788</c:v>
                </c:pt>
                <c:pt idx="5348">
                  <c:v>4935</c:v>
                </c:pt>
                <c:pt idx="5349">
                  <c:v>5006.4000000000005</c:v>
                </c:pt>
                <c:pt idx="5350">
                  <c:v>5077.8</c:v>
                </c:pt>
                <c:pt idx="5351">
                  <c:v>5124</c:v>
                </c:pt>
                <c:pt idx="5352">
                  <c:v>5145</c:v>
                </c:pt>
                <c:pt idx="5353">
                  <c:v>5145</c:v>
                </c:pt>
                <c:pt idx="5354">
                  <c:v>5514.6</c:v>
                </c:pt>
                <c:pt idx="5355">
                  <c:v>5031.6000000000004</c:v>
                </c:pt>
                <c:pt idx="5356">
                  <c:v>4368</c:v>
                </c:pt>
                <c:pt idx="5357">
                  <c:v>4011</c:v>
                </c:pt>
                <c:pt idx="5358">
                  <c:v>3712.8</c:v>
                </c:pt>
                <c:pt idx="5359">
                  <c:v>3645.6000000000004</c:v>
                </c:pt>
                <c:pt idx="5360">
                  <c:v>3641.4</c:v>
                </c:pt>
                <c:pt idx="5361">
                  <c:v>3364.2000000000003</c:v>
                </c:pt>
                <c:pt idx="5362">
                  <c:v>3066</c:v>
                </c:pt>
                <c:pt idx="5363">
                  <c:v>2868.6</c:v>
                </c:pt>
                <c:pt idx="5364">
                  <c:v>2574.6</c:v>
                </c:pt>
                <c:pt idx="5365">
                  <c:v>2574.6</c:v>
                </c:pt>
                <c:pt idx="5366">
                  <c:v>2612.4</c:v>
                </c:pt>
                <c:pt idx="5367">
                  <c:v>2734.2000000000003</c:v>
                </c:pt>
                <c:pt idx="5368">
                  <c:v>2826.6</c:v>
                </c:pt>
                <c:pt idx="5369">
                  <c:v>3049.2000000000003</c:v>
                </c:pt>
                <c:pt idx="5370">
                  <c:v>3187.8</c:v>
                </c:pt>
                <c:pt idx="5371">
                  <c:v>3297</c:v>
                </c:pt>
                <c:pt idx="5372">
                  <c:v>3616.2000000000003</c:v>
                </c:pt>
                <c:pt idx="5373">
                  <c:v>3679.2000000000003</c:v>
                </c:pt>
                <c:pt idx="5374">
                  <c:v>3914.4</c:v>
                </c:pt>
                <c:pt idx="5375">
                  <c:v>4477.2</c:v>
                </c:pt>
                <c:pt idx="5376">
                  <c:v>4578</c:v>
                </c:pt>
                <c:pt idx="5377">
                  <c:v>4809</c:v>
                </c:pt>
                <c:pt idx="5378">
                  <c:v>5371.8</c:v>
                </c:pt>
                <c:pt idx="5379">
                  <c:v>5586</c:v>
                </c:pt>
                <c:pt idx="5380">
                  <c:v>5451.6</c:v>
                </c:pt>
                <c:pt idx="5381">
                  <c:v>5220.6000000000004</c:v>
                </c:pt>
                <c:pt idx="5382">
                  <c:v>4674.6000000000004</c:v>
                </c:pt>
                <c:pt idx="5383">
                  <c:v>4267.2</c:v>
                </c:pt>
                <c:pt idx="5384">
                  <c:v>4099.2</c:v>
                </c:pt>
                <c:pt idx="5385">
                  <c:v>3612</c:v>
                </c:pt>
                <c:pt idx="5386">
                  <c:v>3150</c:v>
                </c:pt>
                <c:pt idx="5387">
                  <c:v>2814</c:v>
                </c:pt>
                <c:pt idx="5388">
                  <c:v>2406.6</c:v>
                </c:pt>
                <c:pt idx="5389">
                  <c:v>2473.8000000000002</c:v>
                </c:pt>
                <c:pt idx="5390">
                  <c:v>2549.4</c:v>
                </c:pt>
                <c:pt idx="5391">
                  <c:v>2751</c:v>
                </c:pt>
                <c:pt idx="5392">
                  <c:v>2692.2000000000003</c:v>
                </c:pt>
                <c:pt idx="5393">
                  <c:v>2801.4</c:v>
                </c:pt>
                <c:pt idx="5394">
                  <c:v>2851.8</c:v>
                </c:pt>
                <c:pt idx="5395">
                  <c:v>2856</c:v>
                </c:pt>
                <c:pt idx="5396">
                  <c:v>2835</c:v>
                </c:pt>
                <c:pt idx="5397">
                  <c:v>2877</c:v>
                </c:pt>
                <c:pt idx="5398">
                  <c:v>3091.2000000000003</c:v>
                </c:pt>
                <c:pt idx="5399">
                  <c:v>3389.4</c:v>
                </c:pt>
                <c:pt idx="5400">
                  <c:v>3721.2000000000003</c:v>
                </c:pt>
                <c:pt idx="5401">
                  <c:v>4103.4000000000005</c:v>
                </c:pt>
                <c:pt idx="5402">
                  <c:v>4834.2</c:v>
                </c:pt>
                <c:pt idx="5403">
                  <c:v>4993.8</c:v>
                </c:pt>
                <c:pt idx="5404">
                  <c:v>4972.8</c:v>
                </c:pt>
                <c:pt idx="5405">
                  <c:v>5094.6000000000004</c:v>
                </c:pt>
                <c:pt idx="5406">
                  <c:v>5010.6000000000004</c:v>
                </c:pt>
                <c:pt idx="5407">
                  <c:v>4909.8</c:v>
                </c:pt>
                <c:pt idx="5408">
                  <c:v>4716.6000000000004</c:v>
                </c:pt>
                <c:pt idx="5409">
                  <c:v>4330.2</c:v>
                </c:pt>
                <c:pt idx="5410">
                  <c:v>3969</c:v>
                </c:pt>
                <c:pt idx="5411">
                  <c:v>3889.2000000000003</c:v>
                </c:pt>
                <c:pt idx="5412">
                  <c:v>4040.4</c:v>
                </c:pt>
                <c:pt idx="5413">
                  <c:v>4208.4000000000005</c:v>
                </c:pt>
                <c:pt idx="5414">
                  <c:v>4473</c:v>
                </c:pt>
                <c:pt idx="5415">
                  <c:v>4653.6000000000004</c:v>
                </c:pt>
                <c:pt idx="5416">
                  <c:v>4842.6000000000004</c:v>
                </c:pt>
                <c:pt idx="5417">
                  <c:v>4943.4000000000005</c:v>
                </c:pt>
                <c:pt idx="5418">
                  <c:v>4947.6000000000004</c:v>
                </c:pt>
                <c:pt idx="5419">
                  <c:v>5027.4000000000005</c:v>
                </c:pt>
                <c:pt idx="5420">
                  <c:v>5044.2</c:v>
                </c:pt>
                <c:pt idx="5421">
                  <c:v>5161.8</c:v>
                </c:pt>
                <c:pt idx="5422">
                  <c:v>5434.8</c:v>
                </c:pt>
                <c:pt idx="5423">
                  <c:v>5884.2</c:v>
                </c:pt>
                <c:pt idx="5424">
                  <c:v>6182.4000000000005</c:v>
                </c:pt>
                <c:pt idx="5425">
                  <c:v>6573</c:v>
                </c:pt>
                <c:pt idx="5426">
                  <c:v>7253.4000000000005</c:v>
                </c:pt>
                <c:pt idx="5427">
                  <c:v>7518</c:v>
                </c:pt>
                <c:pt idx="5428">
                  <c:v>7711.2000000000007</c:v>
                </c:pt>
                <c:pt idx="5429">
                  <c:v>7585.2000000000007</c:v>
                </c:pt>
                <c:pt idx="5430">
                  <c:v>7488.6</c:v>
                </c:pt>
                <c:pt idx="5431">
                  <c:v>7358.4000000000005</c:v>
                </c:pt>
                <c:pt idx="5432">
                  <c:v>7329</c:v>
                </c:pt>
                <c:pt idx="5433">
                  <c:v>7056</c:v>
                </c:pt>
                <c:pt idx="5434">
                  <c:v>6900.6</c:v>
                </c:pt>
                <c:pt idx="5435">
                  <c:v>6888</c:v>
                </c:pt>
                <c:pt idx="5436">
                  <c:v>7232.4000000000005</c:v>
                </c:pt>
                <c:pt idx="5437">
                  <c:v>7623</c:v>
                </c:pt>
                <c:pt idx="5438">
                  <c:v>8038.8</c:v>
                </c:pt>
                <c:pt idx="5439">
                  <c:v>8467.2000000000007</c:v>
                </c:pt>
                <c:pt idx="5440">
                  <c:v>8815.8000000000011</c:v>
                </c:pt>
                <c:pt idx="5441">
                  <c:v>8933.4</c:v>
                </c:pt>
                <c:pt idx="5442">
                  <c:v>9004.8000000000011</c:v>
                </c:pt>
                <c:pt idx="5443">
                  <c:v>9168.6</c:v>
                </c:pt>
                <c:pt idx="5444">
                  <c:v>9009</c:v>
                </c:pt>
                <c:pt idx="5445">
                  <c:v>8996.4</c:v>
                </c:pt>
                <c:pt idx="5446">
                  <c:v>8941.8000000000011</c:v>
                </c:pt>
                <c:pt idx="5447">
                  <c:v>8958.6</c:v>
                </c:pt>
                <c:pt idx="5448">
                  <c:v>8870.4</c:v>
                </c:pt>
                <c:pt idx="5449">
                  <c:v>8832.6</c:v>
                </c:pt>
                <c:pt idx="5450">
                  <c:v>9118.2000000000007</c:v>
                </c:pt>
                <c:pt idx="5451">
                  <c:v>8647.8000000000011</c:v>
                </c:pt>
                <c:pt idx="5452">
                  <c:v>8143.8</c:v>
                </c:pt>
                <c:pt idx="5453">
                  <c:v>7749</c:v>
                </c:pt>
                <c:pt idx="5454">
                  <c:v>7240.8</c:v>
                </c:pt>
                <c:pt idx="5455">
                  <c:v>6909</c:v>
                </c:pt>
                <c:pt idx="5456">
                  <c:v>6547.8</c:v>
                </c:pt>
                <c:pt idx="5457">
                  <c:v>6132</c:v>
                </c:pt>
                <c:pt idx="5458">
                  <c:v>5716.2</c:v>
                </c:pt>
                <c:pt idx="5459">
                  <c:v>5691</c:v>
                </c:pt>
                <c:pt idx="5460">
                  <c:v>5829.6</c:v>
                </c:pt>
                <c:pt idx="5461">
                  <c:v>6220.2</c:v>
                </c:pt>
                <c:pt idx="5462">
                  <c:v>6657</c:v>
                </c:pt>
                <c:pt idx="5463">
                  <c:v>7093.8</c:v>
                </c:pt>
                <c:pt idx="5464">
                  <c:v>7379.4000000000005</c:v>
                </c:pt>
                <c:pt idx="5465">
                  <c:v>7551.6</c:v>
                </c:pt>
                <c:pt idx="5466">
                  <c:v>7568.4000000000005</c:v>
                </c:pt>
                <c:pt idx="5467">
                  <c:v>7618.8</c:v>
                </c:pt>
                <c:pt idx="5468">
                  <c:v>7765.8</c:v>
                </c:pt>
                <c:pt idx="5469">
                  <c:v>7992.6</c:v>
                </c:pt>
                <c:pt idx="5470">
                  <c:v>8320.2000000000007</c:v>
                </c:pt>
                <c:pt idx="5471">
                  <c:v>8547</c:v>
                </c:pt>
                <c:pt idx="5472">
                  <c:v>8744.4</c:v>
                </c:pt>
                <c:pt idx="5473">
                  <c:v>8824.2000000000007</c:v>
                </c:pt>
                <c:pt idx="5474">
                  <c:v>9277.8000000000011</c:v>
                </c:pt>
                <c:pt idx="5475">
                  <c:v>9139.2000000000007</c:v>
                </c:pt>
                <c:pt idx="5476">
                  <c:v>9093</c:v>
                </c:pt>
                <c:pt idx="5477">
                  <c:v>8920.8000000000011</c:v>
                </c:pt>
                <c:pt idx="5478">
                  <c:v>8920.8000000000011</c:v>
                </c:pt>
                <c:pt idx="5479">
                  <c:v>8748.6</c:v>
                </c:pt>
                <c:pt idx="5480">
                  <c:v>8416.8000000000011</c:v>
                </c:pt>
                <c:pt idx="5481">
                  <c:v>7950.6</c:v>
                </c:pt>
                <c:pt idx="5482">
                  <c:v>7719.6</c:v>
                </c:pt>
                <c:pt idx="5483">
                  <c:v>7581</c:v>
                </c:pt>
                <c:pt idx="5484">
                  <c:v>7644</c:v>
                </c:pt>
                <c:pt idx="5485">
                  <c:v>7891.8</c:v>
                </c:pt>
                <c:pt idx="5486">
                  <c:v>8143.8</c:v>
                </c:pt>
                <c:pt idx="5487">
                  <c:v>8479.8000000000011</c:v>
                </c:pt>
                <c:pt idx="5488">
                  <c:v>8698.2000000000007</c:v>
                </c:pt>
                <c:pt idx="5489">
                  <c:v>8803.2000000000007</c:v>
                </c:pt>
                <c:pt idx="5490">
                  <c:v>8786.4</c:v>
                </c:pt>
                <c:pt idx="5491">
                  <c:v>8706.6</c:v>
                </c:pt>
                <c:pt idx="5492">
                  <c:v>8521.8000000000011</c:v>
                </c:pt>
                <c:pt idx="5493">
                  <c:v>8488.2000000000007</c:v>
                </c:pt>
                <c:pt idx="5494">
                  <c:v>8454.6</c:v>
                </c:pt>
                <c:pt idx="5495">
                  <c:v>8572.2000000000007</c:v>
                </c:pt>
                <c:pt idx="5496">
                  <c:v>8547</c:v>
                </c:pt>
                <c:pt idx="5497">
                  <c:v>8509.2000000000007</c:v>
                </c:pt>
                <c:pt idx="5498">
                  <c:v>8656.2000000000007</c:v>
                </c:pt>
                <c:pt idx="5499">
                  <c:v>8286.6</c:v>
                </c:pt>
                <c:pt idx="5500">
                  <c:v>7954.8</c:v>
                </c:pt>
                <c:pt idx="5501">
                  <c:v>7555.8</c:v>
                </c:pt>
                <c:pt idx="5502">
                  <c:v>7295.4000000000005</c:v>
                </c:pt>
                <c:pt idx="5503">
                  <c:v>7316.4000000000005</c:v>
                </c:pt>
                <c:pt idx="5504">
                  <c:v>7123.2000000000007</c:v>
                </c:pt>
                <c:pt idx="5505">
                  <c:v>6686.4000000000005</c:v>
                </c:pt>
                <c:pt idx="5506">
                  <c:v>6505.8</c:v>
                </c:pt>
                <c:pt idx="5507">
                  <c:v>6539.4000000000005</c:v>
                </c:pt>
                <c:pt idx="5508">
                  <c:v>6749.4000000000005</c:v>
                </c:pt>
                <c:pt idx="5509">
                  <c:v>7089.6</c:v>
                </c:pt>
                <c:pt idx="5510">
                  <c:v>7354.2000000000007</c:v>
                </c:pt>
                <c:pt idx="5511">
                  <c:v>7589.4000000000005</c:v>
                </c:pt>
                <c:pt idx="5512">
                  <c:v>7807.8</c:v>
                </c:pt>
                <c:pt idx="5513">
                  <c:v>7673.4000000000005</c:v>
                </c:pt>
                <c:pt idx="5514">
                  <c:v>7681.8</c:v>
                </c:pt>
                <c:pt idx="5515">
                  <c:v>7551.6</c:v>
                </c:pt>
                <c:pt idx="5516">
                  <c:v>7497</c:v>
                </c:pt>
                <c:pt idx="5517">
                  <c:v>7329</c:v>
                </c:pt>
                <c:pt idx="5518">
                  <c:v>7526.4000000000005</c:v>
                </c:pt>
                <c:pt idx="5519">
                  <c:v>7749</c:v>
                </c:pt>
                <c:pt idx="5520">
                  <c:v>8139.6</c:v>
                </c:pt>
                <c:pt idx="5521">
                  <c:v>8143.8</c:v>
                </c:pt>
                <c:pt idx="5522">
                  <c:v>8215.2000000000007</c:v>
                </c:pt>
                <c:pt idx="5523">
                  <c:v>8043</c:v>
                </c:pt>
                <c:pt idx="5524">
                  <c:v>7597.8</c:v>
                </c:pt>
                <c:pt idx="5525">
                  <c:v>7240.8</c:v>
                </c:pt>
                <c:pt idx="5526">
                  <c:v>6904.8</c:v>
                </c:pt>
                <c:pt idx="5527">
                  <c:v>6619.2000000000007</c:v>
                </c:pt>
                <c:pt idx="5528">
                  <c:v>6262.2</c:v>
                </c:pt>
                <c:pt idx="5529">
                  <c:v>5334</c:v>
                </c:pt>
                <c:pt idx="5530">
                  <c:v>4607.4000000000005</c:v>
                </c:pt>
                <c:pt idx="5531">
                  <c:v>4111.8</c:v>
                </c:pt>
                <c:pt idx="5532">
                  <c:v>4183.2</c:v>
                </c:pt>
                <c:pt idx="5533">
                  <c:v>4359.6000000000004</c:v>
                </c:pt>
                <c:pt idx="5534">
                  <c:v>4590.6000000000004</c:v>
                </c:pt>
                <c:pt idx="5535">
                  <c:v>4771.2</c:v>
                </c:pt>
                <c:pt idx="5536">
                  <c:v>4821.6000000000004</c:v>
                </c:pt>
                <c:pt idx="5537">
                  <c:v>4775.4000000000005</c:v>
                </c:pt>
                <c:pt idx="5538">
                  <c:v>4670.4000000000005</c:v>
                </c:pt>
                <c:pt idx="5539">
                  <c:v>4628.4000000000005</c:v>
                </c:pt>
                <c:pt idx="5540">
                  <c:v>4578</c:v>
                </c:pt>
                <c:pt idx="5541">
                  <c:v>4603.2</c:v>
                </c:pt>
                <c:pt idx="5542">
                  <c:v>4804.8</c:v>
                </c:pt>
                <c:pt idx="5543">
                  <c:v>5350.8</c:v>
                </c:pt>
                <c:pt idx="5544">
                  <c:v>5800.2</c:v>
                </c:pt>
                <c:pt idx="5545">
                  <c:v>5943</c:v>
                </c:pt>
                <c:pt idx="5546">
                  <c:v>6321</c:v>
                </c:pt>
                <c:pt idx="5547">
                  <c:v>5951.4000000000005</c:v>
                </c:pt>
                <c:pt idx="5548">
                  <c:v>5892.6</c:v>
                </c:pt>
                <c:pt idx="5549">
                  <c:v>5434.8</c:v>
                </c:pt>
                <c:pt idx="5550">
                  <c:v>4977</c:v>
                </c:pt>
                <c:pt idx="5551">
                  <c:v>4695.6000000000004</c:v>
                </c:pt>
                <c:pt idx="5552">
                  <c:v>4242</c:v>
                </c:pt>
                <c:pt idx="5553">
                  <c:v>3355.8</c:v>
                </c:pt>
                <c:pt idx="5554">
                  <c:v>2835</c:v>
                </c:pt>
                <c:pt idx="5555">
                  <c:v>2465.4</c:v>
                </c:pt>
                <c:pt idx="5556">
                  <c:v>2158.8000000000002</c:v>
                </c:pt>
                <c:pt idx="5557">
                  <c:v>2074.8000000000002</c:v>
                </c:pt>
                <c:pt idx="5558">
                  <c:v>2070.6</c:v>
                </c:pt>
                <c:pt idx="5559">
                  <c:v>2133.6</c:v>
                </c:pt>
                <c:pt idx="5560">
                  <c:v>2158.8000000000002</c:v>
                </c:pt>
                <c:pt idx="5561">
                  <c:v>2184</c:v>
                </c:pt>
                <c:pt idx="5562">
                  <c:v>2209.2000000000003</c:v>
                </c:pt>
                <c:pt idx="5563">
                  <c:v>2268</c:v>
                </c:pt>
                <c:pt idx="5564">
                  <c:v>2410.8000000000002</c:v>
                </c:pt>
                <c:pt idx="5565">
                  <c:v>2759.4</c:v>
                </c:pt>
                <c:pt idx="5566">
                  <c:v>3213</c:v>
                </c:pt>
                <c:pt idx="5567">
                  <c:v>3733.8</c:v>
                </c:pt>
                <c:pt idx="5568">
                  <c:v>4250.4000000000005</c:v>
                </c:pt>
                <c:pt idx="5569">
                  <c:v>4838.4000000000005</c:v>
                </c:pt>
                <c:pt idx="5570">
                  <c:v>5342.4000000000005</c:v>
                </c:pt>
                <c:pt idx="5571">
                  <c:v>5388.6</c:v>
                </c:pt>
                <c:pt idx="5572">
                  <c:v>4964.4000000000005</c:v>
                </c:pt>
                <c:pt idx="5573">
                  <c:v>4615.8</c:v>
                </c:pt>
                <c:pt idx="5574">
                  <c:v>4170.6000000000004</c:v>
                </c:pt>
                <c:pt idx="5575">
                  <c:v>3939.6000000000004</c:v>
                </c:pt>
                <c:pt idx="5576">
                  <c:v>3544.8</c:v>
                </c:pt>
                <c:pt idx="5577">
                  <c:v>2885.4</c:v>
                </c:pt>
                <c:pt idx="5578">
                  <c:v>2549.4</c:v>
                </c:pt>
                <c:pt idx="5579">
                  <c:v>2171.4</c:v>
                </c:pt>
                <c:pt idx="5580">
                  <c:v>2041.2</c:v>
                </c:pt>
                <c:pt idx="5581">
                  <c:v>2058</c:v>
                </c:pt>
                <c:pt idx="5582">
                  <c:v>2062.2000000000003</c:v>
                </c:pt>
                <c:pt idx="5583">
                  <c:v>2205</c:v>
                </c:pt>
                <c:pt idx="5584">
                  <c:v>2356.2000000000003</c:v>
                </c:pt>
                <c:pt idx="5585">
                  <c:v>2419.2000000000003</c:v>
                </c:pt>
                <c:pt idx="5586">
                  <c:v>2486.4</c:v>
                </c:pt>
                <c:pt idx="5587">
                  <c:v>2448.6</c:v>
                </c:pt>
                <c:pt idx="5588">
                  <c:v>2326.8000000000002</c:v>
                </c:pt>
                <c:pt idx="5589">
                  <c:v>2419.2000000000003</c:v>
                </c:pt>
                <c:pt idx="5590">
                  <c:v>2662.8</c:v>
                </c:pt>
                <c:pt idx="5591">
                  <c:v>2952.6</c:v>
                </c:pt>
                <c:pt idx="5592">
                  <c:v>3196.2000000000003</c:v>
                </c:pt>
                <c:pt idx="5593">
                  <c:v>3381</c:v>
                </c:pt>
                <c:pt idx="5594">
                  <c:v>3708.6000000000004</c:v>
                </c:pt>
                <c:pt idx="5595">
                  <c:v>3645.6000000000004</c:v>
                </c:pt>
                <c:pt idx="5596">
                  <c:v>3448.2000000000003</c:v>
                </c:pt>
                <c:pt idx="5597">
                  <c:v>3271.8</c:v>
                </c:pt>
                <c:pt idx="5598">
                  <c:v>2986.2000000000003</c:v>
                </c:pt>
                <c:pt idx="5599">
                  <c:v>2809.8</c:v>
                </c:pt>
                <c:pt idx="5600">
                  <c:v>2620.8000000000002</c:v>
                </c:pt>
                <c:pt idx="5601">
                  <c:v>2284.8000000000002</c:v>
                </c:pt>
                <c:pt idx="5602">
                  <c:v>1982.4</c:v>
                </c:pt>
                <c:pt idx="5603">
                  <c:v>1726.2</c:v>
                </c:pt>
                <c:pt idx="5604">
                  <c:v>1659</c:v>
                </c:pt>
                <c:pt idx="5605">
                  <c:v>1453.2</c:v>
                </c:pt>
                <c:pt idx="5606">
                  <c:v>1486.8</c:v>
                </c:pt>
                <c:pt idx="5607">
                  <c:v>1562.4</c:v>
                </c:pt>
                <c:pt idx="5608">
                  <c:v>1541.4</c:v>
                </c:pt>
                <c:pt idx="5609">
                  <c:v>1583.4</c:v>
                </c:pt>
                <c:pt idx="5610">
                  <c:v>1575</c:v>
                </c:pt>
                <c:pt idx="5611">
                  <c:v>1520.4</c:v>
                </c:pt>
                <c:pt idx="5612">
                  <c:v>1478.4</c:v>
                </c:pt>
                <c:pt idx="5613">
                  <c:v>1549.8</c:v>
                </c:pt>
                <c:pt idx="5614">
                  <c:v>1600.2</c:v>
                </c:pt>
                <c:pt idx="5615">
                  <c:v>1772.4</c:v>
                </c:pt>
                <c:pt idx="5616">
                  <c:v>2200.8000000000002</c:v>
                </c:pt>
                <c:pt idx="5617">
                  <c:v>2381.4</c:v>
                </c:pt>
                <c:pt idx="5618">
                  <c:v>2541</c:v>
                </c:pt>
                <c:pt idx="5619">
                  <c:v>2415</c:v>
                </c:pt>
                <c:pt idx="5620">
                  <c:v>2226</c:v>
                </c:pt>
                <c:pt idx="5621">
                  <c:v>2079</c:v>
                </c:pt>
                <c:pt idx="5622">
                  <c:v>2192.4</c:v>
                </c:pt>
                <c:pt idx="5623">
                  <c:v>2049.6</c:v>
                </c:pt>
                <c:pt idx="5624">
                  <c:v>2016</c:v>
                </c:pt>
                <c:pt idx="5625">
                  <c:v>1974</c:v>
                </c:pt>
                <c:pt idx="5626">
                  <c:v>1822.8000000000002</c:v>
                </c:pt>
                <c:pt idx="5627">
                  <c:v>1696.8000000000002</c:v>
                </c:pt>
                <c:pt idx="5628">
                  <c:v>1772.4</c:v>
                </c:pt>
                <c:pt idx="5629">
                  <c:v>2032.8000000000002</c:v>
                </c:pt>
                <c:pt idx="5630">
                  <c:v>2410.8000000000002</c:v>
                </c:pt>
                <c:pt idx="5631">
                  <c:v>2847.6</c:v>
                </c:pt>
                <c:pt idx="5632">
                  <c:v>3213</c:v>
                </c:pt>
                <c:pt idx="5633">
                  <c:v>3452.4</c:v>
                </c:pt>
                <c:pt idx="5634">
                  <c:v>3641.4</c:v>
                </c:pt>
                <c:pt idx="5635">
                  <c:v>3746.4</c:v>
                </c:pt>
                <c:pt idx="5636">
                  <c:v>3817.8</c:v>
                </c:pt>
                <c:pt idx="5637">
                  <c:v>4006.8</c:v>
                </c:pt>
                <c:pt idx="5638">
                  <c:v>4414.2</c:v>
                </c:pt>
                <c:pt idx="5639">
                  <c:v>4720.8</c:v>
                </c:pt>
                <c:pt idx="5640">
                  <c:v>5048.4000000000005</c:v>
                </c:pt>
                <c:pt idx="5641">
                  <c:v>5300.4000000000005</c:v>
                </c:pt>
                <c:pt idx="5642">
                  <c:v>5506.2</c:v>
                </c:pt>
                <c:pt idx="5643">
                  <c:v>5363.4000000000005</c:v>
                </c:pt>
                <c:pt idx="5644">
                  <c:v>5212.2</c:v>
                </c:pt>
                <c:pt idx="5645">
                  <c:v>5052.6000000000004</c:v>
                </c:pt>
                <c:pt idx="5646">
                  <c:v>4989.6000000000004</c:v>
                </c:pt>
                <c:pt idx="5647">
                  <c:v>4956</c:v>
                </c:pt>
                <c:pt idx="5648">
                  <c:v>4872</c:v>
                </c:pt>
                <c:pt idx="5649">
                  <c:v>4767</c:v>
                </c:pt>
                <c:pt idx="5650">
                  <c:v>4578</c:v>
                </c:pt>
                <c:pt idx="5651">
                  <c:v>4573.8</c:v>
                </c:pt>
                <c:pt idx="5652">
                  <c:v>4888.8</c:v>
                </c:pt>
                <c:pt idx="5653">
                  <c:v>5258.4000000000005</c:v>
                </c:pt>
                <c:pt idx="5654">
                  <c:v>5754</c:v>
                </c:pt>
                <c:pt idx="5655">
                  <c:v>6396.6</c:v>
                </c:pt>
                <c:pt idx="5656">
                  <c:v>6988.8</c:v>
                </c:pt>
                <c:pt idx="5657">
                  <c:v>7316.4000000000005</c:v>
                </c:pt>
                <c:pt idx="5658">
                  <c:v>7350</c:v>
                </c:pt>
                <c:pt idx="5659">
                  <c:v>7358.4000000000005</c:v>
                </c:pt>
                <c:pt idx="5660">
                  <c:v>7320.6</c:v>
                </c:pt>
                <c:pt idx="5661">
                  <c:v>7408.8</c:v>
                </c:pt>
                <c:pt idx="5662">
                  <c:v>7413</c:v>
                </c:pt>
                <c:pt idx="5663">
                  <c:v>7400.4000000000005</c:v>
                </c:pt>
                <c:pt idx="5664">
                  <c:v>7400.4000000000005</c:v>
                </c:pt>
                <c:pt idx="5665">
                  <c:v>7707</c:v>
                </c:pt>
                <c:pt idx="5666">
                  <c:v>7312.2000000000007</c:v>
                </c:pt>
                <c:pt idx="5667">
                  <c:v>6925.8</c:v>
                </c:pt>
                <c:pt idx="5668">
                  <c:v>6522.6</c:v>
                </c:pt>
                <c:pt idx="5669">
                  <c:v>6342</c:v>
                </c:pt>
                <c:pt idx="5670">
                  <c:v>6308.4000000000005</c:v>
                </c:pt>
                <c:pt idx="5671">
                  <c:v>6211.8</c:v>
                </c:pt>
                <c:pt idx="5672">
                  <c:v>6056.4000000000005</c:v>
                </c:pt>
                <c:pt idx="5673">
                  <c:v>5712</c:v>
                </c:pt>
                <c:pt idx="5674">
                  <c:v>5296.2</c:v>
                </c:pt>
                <c:pt idx="5675">
                  <c:v>4981.2</c:v>
                </c:pt>
                <c:pt idx="5676">
                  <c:v>4746</c:v>
                </c:pt>
                <c:pt idx="5677">
                  <c:v>4754.4000000000005</c:v>
                </c:pt>
                <c:pt idx="5678">
                  <c:v>4981.2</c:v>
                </c:pt>
                <c:pt idx="5679">
                  <c:v>5392.8</c:v>
                </c:pt>
                <c:pt idx="5680">
                  <c:v>5770.8</c:v>
                </c:pt>
                <c:pt idx="5681">
                  <c:v>5905.2</c:v>
                </c:pt>
                <c:pt idx="5682">
                  <c:v>6379.8</c:v>
                </c:pt>
                <c:pt idx="5683">
                  <c:v>6665.4000000000005</c:v>
                </c:pt>
                <c:pt idx="5684">
                  <c:v>6699</c:v>
                </c:pt>
                <c:pt idx="5685">
                  <c:v>6930</c:v>
                </c:pt>
                <c:pt idx="5686">
                  <c:v>7240.8</c:v>
                </c:pt>
                <c:pt idx="5687">
                  <c:v>7623</c:v>
                </c:pt>
                <c:pt idx="5688">
                  <c:v>7963.2000000000007</c:v>
                </c:pt>
                <c:pt idx="5689">
                  <c:v>8290.8000000000011</c:v>
                </c:pt>
                <c:pt idx="5690">
                  <c:v>8794.8000000000011</c:v>
                </c:pt>
                <c:pt idx="5691">
                  <c:v>8614.2000000000007</c:v>
                </c:pt>
                <c:pt idx="5692">
                  <c:v>8589</c:v>
                </c:pt>
                <c:pt idx="5693">
                  <c:v>8471.4</c:v>
                </c:pt>
                <c:pt idx="5694">
                  <c:v>7963.2000000000007</c:v>
                </c:pt>
                <c:pt idx="5695">
                  <c:v>7648.2000000000007</c:v>
                </c:pt>
                <c:pt idx="5696">
                  <c:v>7257.6</c:v>
                </c:pt>
                <c:pt idx="5697">
                  <c:v>6850.2000000000007</c:v>
                </c:pt>
                <c:pt idx="5698">
                  <c:v>6636</c:v>
                </c:pt>
                <c:pt idx="5699">
                  <c:v>6795.6</c:v>
                </c:pt>
                <c:pt idx="5700">
                  <c:v>6841.8</c:v>
                </c:pt>
                <c:pt idx="5701">
                  <c:v>6841.8</c:v>
                </c:pt>
                <c:pt idx="5702">
                  <c:v>6673.8</c:v>
                </c:pt>
                <c:pt idx="5703">
                  <c:v>6396.6</c:v>
                </c:pt>
                <c:pt idx="5704">
                  <c:v>6199.2</c:v>
                </c:pt>
                <c:pt idx="5705">
                  <c:v>5964</c:v>
                </c:pt>
                <c:pt idx="5706">
                  <c:v>5867.4000000000005</c:v>
                </c:pt>
                <c:pt idx="5707">
                  <c:v>5560.8</c:v>
                </c:pt>
                <c:pt idx="5708">
                  <c:v>5254.2</c:v>
                </c:pt>
                <c:pt idx="5709">
                  <c:v>5321.4000000000005</c:v>
                </c:pt>
                <c:pt idx="5710">
                  <c:v>5434.8</c:v>
                </c:pt>
                <c:pt idx="5711">
                  <c:v>5598.6</c:v>
                </c:pt>
                <c:pt idx="5712">
                  <c:v>5938.8</c:v>
                </c:pt>
                <c:pt idx="5713">
                  <c:v>6232.8</c:v>
                </c:pt>
                <c:pt idx="5714">
                  <c:v>6762</c:v>
                </c:pt>
                <c:pt idx="5715">
                  <c:v>6778.8</c:v>
                </c:pt>
                <c:pt idx="5716">
                  <c:v>7102.2000000000007</c:v>
                </c:pt>
                <c:pt idx="5717">
                  <c:v>7375.2000000000007</c:v>
                </c:pt>
                <c:pt idx="5718">
                  <c:v>7429.8</c:v>
                </c:pt>
                <c:pt idx="5719">
                  <c:v>7677.6</c:v>
                </c:pt>
                <c:pt idx="5720">
                  <c:v>7875</c:v>
                </c:pt>
                <c:pt idx="5721">
                  <c:v>7387.8</c:v>
                </c:pt>
                <c:pt idx="5722">
                  <c:v>7484.4000000000005</c:v>
                </c:pt>
                <c:pt idx="5723">
                  <c:v>7350</c:v>
                </c:pt>
                <c:pt idx="5724">
                  <c:v>7354.2000000000007</c:v>
                </c:pt>
                <c:pt idx="5725">
                  <c:v>7648.2000000000007</c:v>
                </c:pt>
                <c:pt idx="5726">
                  <c:v>8009.4000000000005</c:v>
                </c:pt>
                <c:pt idx="5727">
                  <c:v>8542.8000000000011</c:v>
                </c:pt>
                <c:pt idx="5728">
                  <c:v>8988</c:v>
                </c:pt>
                <c:pt idx="5729">
                  <c:v>9559.2000000000007</c:v>
                </c:pt>
                <c:pt idx="5730">
                  <c:v>10084.200000000001</c:v>
                </c:pt>
                <c:pt idx="5731">
                  <c:v>10470.6</c:v>
                </c:pt>
                <c:pt idx="5732">
                  <c:v>10655.4</c:v>
                </c:pt>
                <c:pt idx="5733">
                  <c:v>10962</c:v>
                </c:pt>
                <c:pt idx="5734">
                  <c:v>10945.2</c:v>
                </c:pt>
                <c:pt idx="5735">
                  <c:v>11121.6</c:v>
                </c:pt>
                <c:pt idx="5736">
                  <c:v>11155.2</c:v>
                </c:pt>
                <c:pt idx="5737">
                  <c:v>10857</c:v>
                </c:pt>
                <c:pt idx="5738">
                  <c:v>10575.6</c:v>
                </c:pt>
                <c:pt idx="5739">
                  <c:v>9954</c:v>
                </c:pt>
                <c:pt idx="5740">
                  <c:v>9521.4</c:v>
                </c:pt>
                <c:pt idx="5741">
                  <c:v>9290.4</c:v>
                </c:pt>
                <c:pt idx="5742">
                  <c:v>9307.2000000000007</c:v>
                </c:pt>
                <c:pt idx="5743">
                  <c:v>9437.4</c:v>
                </c:pt>
                <c:pt idx="5744">
                  <c:v>9332.4</c:v>
                </c:pt>
                <c:pt idx="5745">
                  <c:v>8971.2000000000007</c:v>
                </c:pt>
                <c:pt idx="5746">
                  <c:v>8404.2000000000007</c:v>
                </c:pt>
                <c:pt idx="5747">
                  <c:v>8517.6</c:v>
                </c:pt>
                <c:pt idx="5748">
                  <c:v>8664.6</c:v>
                </c:pt>
                <c:pt idx="5749">
                  <c:v>8853.6</c:v>
                </c:pt>
                <c:pt idx="5750">
                  <c:v>9219</c:v>
                </c:pt>
                <c:pt idx="5751">
                  <c:v>9618</c:v>
                </c:pt>
                <c:pt idx="5752">
                  <c:v>9895.2000000000007</c:v>
                </c:pt>
                <c:pt idx="5753">
                  <c:v>10206</c:v>
                </c:pt>
                <c:pt idx="5754">
                  <c:v>10235.4</c:v>
                </c:pt>
                <c:pt idx="5755">
                  <c:v>9727.2000000000007</c:v>
                </c:pt>
                <c:pt idx="5756">
                  <c:v>9492</c:v>
                </c:pt>
                <c:pt idx="5757">
                  <c:v>9408</c:v>
                </c:pt>
                <c:pt idx="5758">
                  <c:v>9399.6</c:v>
                </c:pt>
                <c:pt idx="5759">
                  <c:v>9450</c:v>
                </c:pt>
                <c:pt idx="5760">
                  <c:v>9559.2000000000007</c:v>
                </c:pt>
                <c:pt idx="5761">
                  <c:v>9693.6</c:v>
                </c:pt>
                <c:pt idx="5762">
                  <c:v>10096.800000000001</c:v>
                </c:pt>
                <c:pt idx="5763">
                  <c:v>10126.200000000001</c:v>
                </c:pt>
                <c:pt idx="5764">
                  <c:v>9870</c:v>
                </c:pt>
                <c:pt idx="5765">
                  <c:v>9912</c:v>
                </c:pt>
                <c:pt idx="5766">
                  <c:v>9748.2000000000007</c:v>
                </c:pt>
                <c:pt idx="5767">
                  <c:v>9748.2000000000007</c:v>
                </c:pt>
                <c:pt idx="5768">
                  <c:v>9714.6</c:v>
                </c:pt>
                <c:pt idx="5769">
                  <c:v>9382.8000000000011</c:v>
                </c:pt>
                <c:pt idx="5770">
                  <c:v>9122.4</c:v>
                </c:pt>
                <c:pt idx="5771">
                  <c:v>8866.2000000000007</c:v>
                </c:pt>
                <c:pt idx="5772">
                  <c:v>8463</c:v>
                </c:pt>
                <c:pt idx="5773">
                  <c:v>8383.2000000000007</c:v>
                </c:pt>
                <c:pt idx="5774">
                  <c:v>8563.8000000000011</c:v>
                </c:pt>
                <c:pt idx="5775">
                  <c:v>8446.2000000000007</c:v>
                </c:pt>
                <c:pt idx="5776">
                  <c:v>8299.2000000000007</c:v>
                </c:pt>
                <c:pt idx="5777">
                  <c:v>8362.2000000000007</c:v>
                </c:pt>
                <c:pt idx="5778">
                  <c:v>7950.6</c:v>
                </c:pt>
                <c:pt idx="5779">
                  <c:v>7303.8</c:v>
                </c:pt>
                <c:pt idx="5780">
                  <c:v>6728.4000000000005</c:v>
                </c:pt>
                <c:pt idx="5781">
                  <c:v>6232.8</c:v>
                </c:pt>
                <c:pt idx="5782">
                  <c:v>5787.6</c:v>
                </c:pt>
                <c:pt idx="5783">
                  <c:v>5976.6</c:v>
                </c:pt>
                <c:pt idx="5784">
                  <c:v>5850.6</c:v>
                </c:pt>
                <c:pt idx="5785">
                  <c:v>5649</c:v>
                </c:pt>
                <c:pt idx="5786">
                  <c:v>5817</c:v>
                </c:pt>
                <c:pt idx="5787">
                  <c:v>5552.4000000000005</c:v>
                </c:pt>
                <c:pt idx="5788">
                  <c:v>5371.8</c:v>
                </c:pt>
                <c:pt idx="5789">
                  <c:v>5124</c:v>
                </c:pt>
                <c:pt idx="5790">
                  <c:v>4855.2</c:v>
                </c:pt>
                <c:pt idx="5791">
                  <c:v>4552.8</c:v>
                </c:pt>
                <c:pt idx="5792">
                  <c:v>4187.4000000000005</c:v>
                </c:pt>
                <c:pt idx="5793">
                  <c:v>3830.4</c:v>
                </c:pt>
                <c:pt idx="5794">
                  <c:v>3381</c:v>
                </c:pt>
                <c:pt idx="5795">
                  <c:v>2982</c:v>
                </c:pt>
                <c:pt idx="5796">
                  <c:v>2549.4</c:v>
                </c:pt>
                <c:pt idx="5797">
                  <c:v>2469.6</c:v>
                </c:pt>
                <c:pt idx="5798">
                  <c:v>2268</c:v>
                </c:pt>
                <c:pt idx="5799">
                  <c:v>2415</c:v>
                </c:pt>
                <c:pt idx="5800">
                  <c:v>2293.2000000000003</c:v>
                </c:pt>
                <c:pt idx="5801">
                  <c:v>2116.8000000000002</c:v>
                </c:pt>
                <c:pt idx="5802">
                  <c:v>2016</c:v>
                </c:pt>
                <c:pt idx="5803">
                  <c:v>2175.6</c:v>
                </c:pt>
                <c:pt idx="5804">
                  <c:v>1860.6000000000001</c:v>
                </c:pt>
                <c:pt idx="5805">
                  <c:v>2003.4</c:v>
                </c:pt>
                <c:pt idx="5806">
                  <c:v>2062.2000000000003</c:v>
                </c:pt>
                <c:pt idx="5807">
                  <c:v>2108.4</c:v>
                </c:pt>
                <c:pt idx="5808">
                  <c:v>2297.4</c:v>
                </c:pt>
                <c:pt idx="5809">
                  <c:v>2339.4</c:v>
                </c:pt>
                <c:pt idx="5810">
                  <c:v>2612.4</c:v>
                </c:pt>
                <c:pt idx="5811">
                  <c:v>2461.2000000000003</c:v>
                </c:pt>
                <c:pt idx="5812">
                  <c:v>2385.6</c:v>
                </c:pt>
                <c:pt idx="5813">
                  <c:v>2347.8000000000002</c:v>
                </c:pt>
                <c:pt idx="5814">
                  <c:v>2255.4</c:v>
                </c:pt>
                <c:pt idx="5815">
                  <c:v>2121</c:v>
                </c:pt>
                <c:pt idx="5816">
                  <c:v>1944.6000000000001</c:v>
                </c:pt>
                <c:pt idx="5817">
                  <c:v>1793.4</c:v>
                </c:pt>
                <c:pt idx="5818">
                  <c:v>1612.8000000000002</c:v>
                </c:pt>
                <c:pt idx="5819">
                  <c:v>1449</c:v>
                </c:pt>
                <c:pt idx="5820">
                  <c:v>1218</c:v>
                </c:pt>
                <c:pt idx="5821">
                  <c:v>1213.8</c:v>
                </c:pt>
                <c:pt idx="5822">
                  <c:v>1302</c:v>
                </c:pt>
                <c:pt idx="5823">
                  <c:v>1360.8</c:v>
                </c:pt>
                <c:pt idx="5824">
                  <c:v>1503.6000000000001</c:v>
                </c:pt>
                <c:pt idx="5825">
                  <c:v>1663.2</c:v>
                </c:pt>
                <c:pt idx="5826">
                  <c:v>1927.8000000000002</c:v>
                </c:pt>
                <c:pt idx="5827">
                  <c:v>2175.6</c:v>
                </c:pt>
                <c:pt idx="5828">
                  <c:v>2469.6</c:v>
                </c:pt>
                <c:pt idx="5829">
                  <c:v>2973.6</c:v>
                </c:pt>
                <c:pt idx="5830">
                  <c:v>3326.4</c:v>
                </c:pt>
                <c:pt idx="5831">
                  <c:v>3687.6000000000004</c:v>
                </c:pt>
                <c:pt idx="5832">
                  <c:v>4305</c:v>
                </c:pt>
                <c:pt idx="5833">
                  <c:v>4951.8</c:v>
                </c:pt>
                <c:pt idx="5834">
                  <c:v>5993.4000000000005</c:v>
                </c:pt>
                <c:pt idx="5835">
                  <c:v>6711.6</c:v>
                </c:pt>
                <c:pt idx="5836">
                  <c:v>7442.4000000000005</c:v>
                </c:pt>
                <c:pt idx="5837">
                  <c:v>7921.2000000000007</c:v>
                </c:pt>
                <c:pt idx="5838">
                  <c:v>8093.4000000000005</c:v>
                </c:pt>
                <c:pt idx="5839">
                  <c:v>8383.2000000000007</c:v>
                </c:pt>
                <c:pt idx="5840">
                  <c:v>8450.4</c:v>
                </c:pt>
                <c:pt idx="5841">
                  <c:v>8064</c:v>
                </c:pt>
                <c:pt idx="5842">
                  <c:v>7572.6</c:v>
                </c:pt>
                <c:pt idx="5843">
                  <c:v>6959.4000000000005</c:v>
                </c:pt>
                <c:pt idx="5844">
                  <c:v>6539.4000000000005</c:v>
                </c:pt>
                <c:pt idx="5845">
                  <c:v>6388.2</c:v>
                </c:pt>
                <c:pt idx="5846">
                  <c:v>6144.6</c:v>
                </c:pt>
                <c:pt idx="5847">
                  <c:v>6270.6</c:v>
                </c:pt>
                <c:pt idx="5848">
                  <c:v>6417.6</c:v>
                </c:pt>
                <c:pt idx="5849">
                  <c:v>6531</c:v>
                </c:pt>
                <c:pt idx="5850">
                  <c:v>6329.4000000000005</c:v>
                </c:pt>
                <c:pt idx="5851">
                  <c:v>6589.8</c:v>
                </c:pt>
                <c:pt idx="5852">
                  <c:v>6686.4000000000005</c:v>
                </c:pt>
                <c:pt idx="5853">
                  <c:v>6753.6</c:v>
                </c:pt>
                <c:pt idx="5854">
                  <c:v>6946.8</c:v>
                </c:pt>
                <c:pt idx="5855">
                  <c:v>7039.2000000000007</c:v>
                </c:pt>
                <c:pt idx="5856">
                  <c:v>7169.4000000000005</c:v>
                </c:pt>
                <c:pt idx="5857">
                  <c:v>7182</c:v>
                </c:pt>
                <c:pt idx="5858">
                  <c:v>7757.4000000000005</c:v>
                </c:pt>
                <c:pt idx="5859">
                  <c:v>7975.8</c:v>
                </c:pt>
                <c:pt idx="5860">
                  <c:v>8122.8</c:v>
                </c:pt>
                <c:pt idx="5861">
                  <c:v>8185.8</c:v>
                </c:pt>
                <c:pt idx="5862">
                  <c:v>8248.8000000000011</c:v>
                </c:pt>
                <c:pt idx="5863">
                  <c:v>8219.4</c:v>
                </c:pt>
                <c:pt idx="5864">
                  <c:v>8370.6</c:v>
                </c:pt>
                <c:pt idx="5865">
                  <c:v>8219.4</c:v>
                </c:pt>
                <c:pt idx="5866">
                  <c:v>8059.8</c:v>
                </c:pt>
                <c:pt idx="5867">
                  <c:v>8139.6</c:v>
                </c:pt>
                <c:pt idx="5868">
                  <c:v>7702.8</c:v>
                </c:pt>
                <c:pt idx="5869">
                  <c:v>7765.8</c:v>
                </c:pt>
                <c:pt idx="5870">
                  <c:v>7774.2000000000007</c:v>
                </c:pt>
                <c:pt idx="5871">
                  <c:v>8001</c:v>
                </c:pt>
                <c:pt idx="5872">
                  <c:v>7774.2000000000007</c:v>
                </c:pt>
                <c:pt idx="5873">
                  <c:v>7652.4000000000005</c:v>
                </c:pt>
                <c:pt idx="5874">
                  <c:v>7245</c:v>
                </c:pt>
                <c:pt idx="5875">
                  <c:v>6963.6</c:v>
                </c:pt>
                <c:pt idx="5876">
                  <c:v>6497.4000000000005</c:v>
                </c:pt>
                <c:pt idx="5877">
                  <c:v>6413.4000000000005</c:v>
                </c:pt>
                <c:pt idx="5878">
                  <c:v>6367.2</c:v>
                </c:pt>
                <c:pt idx="5879">
                  <c:v>6027</c:v>
                </c:pt>
                <c:pt idx="5880">
                  <c:v>5917.8</c:v>
                </c:pt>
                <c:pt idx="5881">
                  <c:v>5548.2</c:v>
                </c:pt>
                <c:pt idx="5882">
                  <c:v>5544</c:v>
                </c:pt>
                <c:pt idx="5883">
                  <c:v>5014.8</c:v>
                </c:pt>
                <c:pt idx="5884">
                  <c:v>4653.6000000000004</c:v>
                </c:pt>
                <c:pt idx="5885">
                  <c:v>4300.8</c:v>
                </c:pt>
                <c:pt idx="5886">
                  <c:v>3977.4</c:v>
                </c:pt>
                <c:pt idx="5887">
                  <c:v>3645.6000000000004</c:v>
                </c:pt>
                <c:pt idx="5888">
                  <c:v>3305.4</c:v>
                </c:pt>
                <c:pt idx="5889">
                  <c:v>3015.6</c:v>
                </c:pt>
                <c:pt idx="5890">
                  <c:v>2717.4</c:v>
                </c:pt>
                <c:pt idx="5891">
                  <c:v>2410.8000000000002</c:v>
                </c:pt>
                <c:pt idx="5892">
                  <c:v>2326.8000000000002</c:v>
                </c:pt>
                <c:pt idx="5893">
                  <c:v>2301.6</c:v>
                </c:pt>
                <c:pt idx="5894">
                  <c:v>2263.8000000000002</c:v>
                </c:pt>
                <c:pt idx="5895">
                  <c:v>2184</c:v>
                </c:pt>
                <c:pt idx="5896">
                  <c:v>1995</c:v>
                </c:pt>
                <c:pt idx="5897">
                  <c:v>1860.6000000000001</c:v>
                </c:pt>
                <c:pt idx="5898">
                  <c:v>1717.8000000000002</c:v>
                </c:pt>
                <c:pt idx="5899">
                  <c:v>1604.4</c:v>
                </c:pt>
                <c:pt idx="5900">
                  <c:v>1339.8</c:v>
                </c:pt>
                <c:pt idx="5901">
                  <c:v>1264.2</c:v>
                </c:pt>
                <c:pt idx="5902">
                  <c:v>1255.8</c:v>
                </c:pt>
                <c:pt idx="5903">
                  <c:v>1381.8</c:v>
                </c:pt>
                <c:pt idx="5904">
                  <c:v>1768.2</c:v>
                </c:pt>
                <c:pt idx="5905">
                  <c:v>1768.2</c:v>
                </c:pt>
                <c:pt idx="5906">
                  <c:v>2381.4</c:v>
                </c:pt>
                <c:pt idx="5907">
                  <c:v>2263.8000000000002</c:v>
                </c:pt>
                <c:pt idx="5908">
                  <c:v>2259.6</c:v>
                </c:pt>
                <c:pt idx="5909">
                  <c:v>2007.6000000000001</c:v>
                </c:pt>
                <c:pt idx="5910">
                  <c:v>2007.6000000000001</c:v>
                </c:pt>
                <c:pt idx="5911">
                  <c:v>1944.6000000000001</c:v>
                </c:pt>
                <c:pt idx="5912">
                  <c:v>1948.8000000000002</c:v>
                </c:pt>
                <c:pt idx="5913">
                  <c:v>1717.8000000000002</c:v>
                </c:pt>
                <c:pt idx="5914">
                  <c:v>1423.8</c:v>
                </c:pt>
                <c:pt idx="5915">
                  <c:v>1327.2</c:v>
                </c:pt>
                <c:pt idx="5916">
                  <c:v>1302</c:v>
                </c:pt>
                <c:pt idx="5917">
                  <c:v>1335.6000000000001</c:v>
                </c:pt>
                <c:pt idx="5918">
                  <c:v>1428</c:v>
                </c:pt>
                <c:pt idx="5919">
                  <c:v>1608.6000000000001</c:v>
                </c:pt>
                <c:pt idx="5920">
                  <c:v>1780.8000000000002</c:v>
                </c:pt>
                <c:pt idx="5921">
                  <c:v>1927.8000000000002</c:v>
                </c:pt>
                <c:pt idx="5922">
                  <c:v>1978.2</c:v>
                </c:pt>
                <c:pt idx="5923">
                  <c:v>2125.2000000000003</c:v>
                </c:pt>
                <c:pt idx="5924">
                  <c:v>2171.4</c:v>
                </c:pt>
                <c:pt idx="5925">
                  <c:v>2377.2000000000003</c:v>
                </c:pt>
                <c:pt idx="5926">
                  <c:v>2503.2000000000003</c:v>
                </c:pt>
                <c:pt idx="5927">
                  <c:v>2688</c:v>
                </c:pt>
                <c:pt idx="5928">
                  <c:v>2851.8</c:v>
                </c:pt>
                <c:pt idx="5929">
                  <c:v>3162.6</c:v>
                </c:pt>
                <c:pt idx="5930">
                  <c:v>3431.4</c:v>
                </c:pt>
                <c:pt idx="5931">
                  <c:v>3427.2000000000003</c:v>
                </c:pt>
                <c:pt idx="5932">
                  <c:v>3368.4</c:v>
                </c:pt>
                <c:pt idx="5933">
                  <c:v>3288.6000000000004</c:v>
                </c:pt>
                <c:pt idx="5934">
                  <c:v>3192</c:v>
                </c:pt>
                <c:pt idx="5935">
                  <c:v>3166.8</c:v>
                </c:pt>
                <c:pt idx="5936">
                  <c:v>3024</c:v>
                </c:pt>
                <c:pt idx="5937">
                  <c:v>2767.8</c:v>
                </c:pt>
                <c:pt idx="5938">
                  <c:v>2566.2000000000003</c:v>
                </c:pt>
                <c:pt idx="5939">
                  <c:v>2835</c:v>
                </c:pt>
                <c:pt idx="5940">
                  <c:v>3061.8</c:v>
                </c:pt>
                <c:pt idx="5941">
                  <c:v>3271.8</c:v>
                </c:pt>
                <c:pt idx="5942">
                  <c:v>3439.8</c:v>
                </c:pt>
                <c:pt idx="5943">
                  <c:v>3855.6000000000004</c:v>
                </c:pt>
                <c:pt idx="5944">
                  <c:v>4187.4000000000005</c:v>
                </c:pt>
                <c:pt idx="5945">
                  <c:v>4468.8</c:v>
                </c:pt>
                <c:pt idx="5946">
                  <c:v>4720.8</c:v>
                </c:pt>
                <c:pt idx="5947">
                  <c:v>5014.8</c:v>
                </c:pt>
                <c:pt idx="5948">
                  <c:v>5241.6000000000004</c:v>
                </c:pt>
                <c:pt idx="5949">
                  <c:v>5964</c:v>
                </c:pt>
                <c:pt idx="5950">
                  <c:v>6358.8</c:v>
                </c:pt>
                <c:pt idx="5951">
                  <c:v>7358.4000000000005</c:v>
                </c:pt>
                <c:pt idx="5952">
                  <c:v>8269.8000000000011</c:v>
                </c:pt>
                <c:pt idx="5953">
                  <c:v>8626.8000000000011</c:v>
                </c:pt>
                <c:pt idx="5954">
                  <c:v>7833</c:v>
                </c:pt>
                <c:pt idx="5955">
                  <c:v>8593.2000000000007</c:v>
                </c:pt>
                <c:pt idx="5956">
                  <c:v>8303.4</c:v>
                </c:pt>
                <c:pt idx="5957">
                  <c:v>9109.8000000000011</c:v>
                </c:pt>
                <c:pt idx="5958">
                  <c:v>9622.2000000000007</c:v>
                </c:pt>
                <c:pt idx="5959">
                  <c:v>10092.6</c:v>
                </c:pt>
                <c:pt idx="5960">
                  <c:v>10584</c:v>
                </c:pt>
                <c:pt idx="5961">
                  <c:v>10739.4</c:v>
                </c:pt>
                <c:pt idx="5962">
                  <c:v>11142.6</c:v>
                </c:pt>
                <c:pt idx="5963">
                  <c:v>11121.6</c:v>
                </c:pt>
                <c:pt idx="5964">
                  <c:v>11071.2</c:v>
                </c:pt>
                <c:pt idx="5965">
                  <c:v>11025</c:v>
                </c:pt>
                <c:pt idx="5966">
                  <c:v>10953.6</c:v>
                </c:pt>
                <c:pt idx="5967">
                  <c:v>11054.4</c:v>
                </c:pt>
                <c:pt idx="5968">
                  <c:v>11058.6</c:v>
                </c:pt>
                <c:pt idx="5969">
                  <c:v>10899</c:v>
                </c:pt>
                <c:pt idx="5970">
                  <c:v>10789.800000000001</c:v>
                </c:pt>
                <c:pt idx="5971">
                  <c:v>10613.4</c:v>
                </c:pt>
                <c:pt idx="5972">
                  <c:v>10264.800000000001</c:v>
                </c:pt>
                <c:pt idx="5973">
                  <c:v>10054.800000000001</c:v>
                </c:pt>
                <c:pt idx="5974">
                  <c:v>10046.4</c:v>
                </c:pt>
                <c:pt idx="5975">
                  <c:v>10197.6</c:v>
                </c:pt>
                <c:pt idx="5976">
                  <c:v>10214.4</c:v>
                </c:pt>
                <c:pt idx="5977">
                  <c:v>10676.4</c:v>
                </c:pt>
                <c:pt idx="5978">
                  <c:v>10785.6</c:v>
                </c:pt>
                <c:pt idx="5979">
                  <c:v>10542</c:v>
                </c:pt>
                <c:pt idx="5980">
                  <c:v>10323.6</c:v>
                </c:pt>
                <c:pt idx="5981">
                  <c:v>10189.200000000001</c:v>
                </c:pt>
                <c:pt idx="5982">
                  <c:v>9886.8000000000011</c:v>
                </c:pt>
                <c:pt idx="5983">
                  <c:v>9605.4</c:v>
                </c:pt>
                <c:pt idx="5984">
                  <c:v>8874.6</c:v>
                </c:pt>
                <c:pt idx="5985">
                  <c:v>8135.4000000000005</c:v>
                </c:pt>
                <c:pt idx="5986">
                  <c:v>7152.6</c:v>
                </c:pt>
                <c:pt idx="5987">
                  <c:v>6442.8</c:v>
                </c:pt>
                <c:pt idx="5988">
                  <c:v>6018.6</c:v>
                </c:pt>
                <c:pt idx="5989">
                  <c:v>5972.4000000000005</c:v>
                </c:pt>
                <c:pt idx="5990">
                  <c:v>6421.8</c:v>
                </c:pt>
                <c:pt idx="5991">
                  <c:v>6959.4000000000005</c:v>
                </c:pt>
                <c:pt idx="5992">
                  <c:v>7501.2000000000007</c:v>
                </c:pt>
                <c:pt idx="5993">
                  <c:v>8085</c:v>
                </c:pt>
                <c:pt idx="5994">
                  <c:v>8694</c:v>
                </c:pt>
                <c:pt idx="5995">
                  <c:v>9126.6</c:v>
                </c:pt>
                <c:pt idx="5996">
                  <c:v>9122.4</c:v>
                </c:pt>
                <c:pt idx="5997">
                  <c:v>9672.6</c:v>
                </c:pt>
                <c:pt idx="5998">
                  <c:v>10029.6</c:v>
                </c:pt>
                <c:pt idx="5999">
                  <c:v>10227</c:v>
                </c:pt>
                <c:pt idx="6000">
                  <c:v>10529.4</c:v>
                </c:pt>
                <c:pt idx="6001">
                  <c:v>10726.800000000001</c:v>
                </c:pt>
                <c:pt idx="6002">
                  <c:v>11587.800000000001</c:v>
                </c:pt>
                <c:pt idx="6003">
                  <c:v>11516.4</c:v>
                </c:pt>
                <c:pt idx="6004">
                  <c:v>11167.800000000001</c:v>
                </c:pt>
                <c:pt idx="6005">
                  <c:v>10815</c:v>
                </c:pt>
                <c:pt idx="6006">
                  <c:v>10605</c:v>
                </c:pt>
                <c:pt idx="6007">
                  <c:v>10088.4</c:v>
                </c:pt>
                <c:pt idx="6008">
                  <c:v>9563.4</c:v>
                </c:pt>
                <c:pt idx="6009">
                  <c:v>8500.8000000000011</c:v>
                </c:pt>
                <c:pt idx="6010">
                  <c:v>7925.4000000000005</c:v>
                </c:pt>
                <c:pt idx="6011">
                  <c:v>7337.4000000000005</c:v>
                </c:pt>
                <c:pt idx="6012">
                  <c:v>6602.4000000000005</c:v>
                </c:pt>
                <c:pt idx="6013">
                  <c:v>6258</c:v>
                </c:pt>
                <c:pt idx="6014">
                  <c:v>6174</c:v>
                </c:pt>
                <c:pt idx="6015">
                  <c:v>5880</c:v>
                </c:pt>
                <c:pt idx="6016">
                  <c:v>5859</c:v>
                </c:pt>
                <c:pt idx="6017">
                  <c:v>5632.2</c:v>
                </c:pt>
                <c:pt idx="6018">
                  <c:v>5430.6</c:v>
                </c:pt>
                <c:pt idx="6019">
                  <c:v>5086.2</c:v>
                </c:pt>
                <c:pt idx="6020">
                  <c:v>4351.2</c:v>
                </c:pt>
                <c:pt idx="6021">
                  <c:v>4040.4</c:v>
                </c:pt>
                <c:pt idx="6022">
                  <c:v>3927</c:v>
                </c:pt>
                <c:pt idx="6023">
                  <c:v>4137</c:v>
                </c:pt>
                <c:pt idx="6024">
                  <c:v>4485.6000000000004</c:v>
                </c:pt>
                <c:pt idx="6025">
                  <c:v>4838.4000000000005</c:v>
                </c:pt>
                <c:pt idx="6026">
                  <c:v>5086.2</c:v>
                </c:pt>
                <c:pt idx="6027">
                  <c:v>5107.2</c:v>
                </c:pt>
                <c:pt idx="6028">
                  <c:v>5094.6000000000004</c:v>
                </c:pt>
                <c:pt idx="6029">
                  <c:v>5014.8</c:v>
                </c:pt>
                <c:pt idx="6030">
                  <c:v>5027.4000000000005</c:v>
                </c:pt>
                <c:pt idx="6031">
                  <c:v>5056.8</c:v>
                </c:pt>
                <c:pt idx="6032">
                  <c:v>4859.4000000000005</c:v>
                </c:pt>
                <c:pt idx="6033">
                  <c:v>4288.2</c:v>
                </c:pt>
                <c:pt idx="6034">
                  <c:v>3964.8</c:v>
                </c:pt>
                <c:pt idx="6035">
                  <c:v>3187.8</c:v>
                </c:pt>
                <c:pt idx="6036">
                  <c:v>2536.8000000000002</c:v>
                </c:pt>
                <c:pt idx="6037">
                  <c:v>2142</c:v>
                </c:pt>
                <c:pt idx="6038">
                  <c:v>1961.4</c:v>
                </c:pt>
                <c:pt idx="6039">
                  <c:v>1864.8000000000002</c:v>
                </c:pt>
                <c:pt idx="6040">
                  <c:v>1965.6000000000001</c:v>
                </c:pt>
                <c:pt idx="6041">
                  <c:v>2007.6000000000001</c:v>
                </c:pt>
                <c:pt idx="6042">
                  <c:v>2032.8000000000002</c:v>
                </c:pt>
                <c:pt idx="6043">
                  <c:v>1999.2</c:v>
                </c:pt>
                <c:pt idx="6044">
                  <c:v>2146.2000000000003</c:v>
                </c:pt>
                <c:pt idx="6045">
                  <c:v>2482.2000000000003</c:v>
                </c:pt>
                <c:pt idx="6046">
                  <c:v>2730</c:v>
                </c:pt>
                <c:pt idx="6047">
                  <c:v>2977.8</c:v>
                </c:pt>
                <c:pt idx="6048">
                  <c:v>3171</c:v>
                </c:pt>
                <c:pt idx="6049">
                  <c:v>3204.6</c:v>
                </c:pt>
                <c:pt idx="6050">
                  <c:v>3217.2000000000003</c:v>
                </c:pt>
                <c:pt idx="6051">
                  <c:v>3133.2000000000003</c:v>
                </c:pt>
                <c:pt idx="6052">
                  <c:v>2856</c:v>
                </c:pt>
                <c:pt idx="6053">
                  <c:v>2784.6</c:v>
                </c:pt>
                <c:pt idx="6054">
                  <c:v>2688</c:v>
                </c:pt>
                <c:pt idx="6055">
                  <c:v>2557.8000000000002</c:v>
                </c:pt>
                <c:pt idx="6056">
                  <c:v>2385.6</c:v>
                </c:pt>
                <c:pt idx="6057">
                  <c:v>2196.6</c:v>
                </c:pt>
                <c:pt idx="6058">
                  <c:v>1944.6000000000001</c:v>
                </c:pt>
                <c:pt idx="6059">
                  <c:v>1528.8</c:v>
                </c:pt>
                <c:pt idx="6060">
                  <c:v>1205.4000000000001</c:v>
                </c:pt>
                <c:pt idx="6061">
                  <c:v>936.6</c:v>
                </c:pt>
                <c:pt idx="6062">
                  <c:v>735</c:v>
                </c:pt>
                <c:pt idx="6063">
                  <c:v>760.2</c:v>
                </c:pt>
                <c:pt idx="6064">
                  <c:v>718.2</c:v>
                </c:pt>
                <c:pt idx="6065">
                  <c:v>743.4</c:v>
                </c:pt>
                <c:pt idx="6066">
                  <c:v>777</c:v>
                </c:pt>
                <c:pt idx="6067">
                  <c:v>819</c:v>
                </c:pt>
                <c:pt idx="6068">
                  <c:v>949.2</c:v>
                </c:pt>
                <c:pt idx="6069">
                  <c:v>982.80000000000007</c:v>
                </c:pt>
                <c:pt idx="6070">
                  <c:v>1167.6000000000001</c:v>
                </c:pt>
                <c:pt idx="6071">
                  <c:v>1377.6000000000001</c:v>
                </c:pt>
                <c:pt idx="6072">
                  <c:v>1587.6000000000001</c:v>
                </c:pt>
                <c:pt idx="6073">
                  <c:v>1743</c:v>
                </c:pt>
                <c:pt idx="6074">
                  <c:v>2247</c:v>
                </c:pt>
                <c:pt idx="6075">
                  <c:v>2352</c:v>
                </c:pt>
                <c:pt idx="6076">
                  <c:v>2486.4</c:v>
                </c:pt>
                <c:pt idx="6077">
                  <c:v>2608.2000000000003</c:v>
                </c:pt>
                <c:pt idx="6078">
                  <c:v>2709</c:v>
                </c:pt>
                <c:pt idx="6079">
                  <c:v>2826.6</c:v>
                </c:pt>
                <c:pt idx="6080">
                  <c:v>2877</c:v>
                </c:pt>
                <c:pt idx="6081">
                  <c:v>2847.6</c:v>
                </c:pt>
                <c:pt idx="6082">
                  <c:v>2755.2000000000003</c:v>
                </c:pt>
                <c:pt idx="6083">
                  <c:v>2709</c:v>
                </c:pt>
                <c:pt idx="6084">
                  <c:v>2746.8</c:v>
                </c:pt>
                <c:pt idx="6085">
                  <c:v>2973.6</c:v>
                </c:pt>
                <c:pt idx="6086">
                  <c:v>3376.8</c:v>
                </c:pt>
                <c:pt idx="6087">
                  <c:v>3927</c:v>
                </c:pt>
                <c:pt idx="6088">
                  <c:v>4393.2</c:v>
                </c:pt>
                <c:pt idx="6089">
                  <c:v>4695.6000000000004</c:v>
                </c:pt>
                <c:pt idx="6090">
                  <c:v>5082</c:v>
                </c:pt>
                <c:pt idx="6091">
                  <c:v>5308.8</c:v>
                </c:pt>
                <c:pt idx="6092">
                  <c:v>5728.8</c:v>
                </c:pt>
                <c:pt idx="6093">
                  <c:v>6308.4000000000005</c:v>
                </c:pt>
                <c:pt idx="6094">
                  <c:v>6736.8</c:v>
                </c:pt>
                <c:pt idx="6095">
                  <c:v>6976.2000000000007</c:v>
                </c:pt>
                <c:pt idx="6096">
                  <c:v>7127.4000000000005</c:v>
                </c:pt>
                <c:pt idx="6097">
                  <c:v>6841.8</c:v>
                </c:pt>
                <c:pt idx="6098">
                  <c:v>6720</c:v>
                </c:pt>
                <c:pt idx="6099">
                  <c:v>6300</c:v>
                </c:pt>
                <c:pt idx="6100">
                  <c:v>5804.4000000000005</c:v>
                </c:pt>
                <c:pt idx="6101">
                  <c:v>5552.4000000000005</c:v>
                </c:pt>
                <c:pt idx="6102">
                  <c:v>5451.6</c:v>
                </c:pt>
                <c:pt idx="6103">
                  <c:v>5539.8</c:v>
                </c:pt>
                <c:pt idx="6104">
                  <c:v>5573.4000000000005</c:v>
                </c:pt>
                <c:pt idx="6105">
                  <c:v>5720.4000000000005</c:v>
                </c:pt>
                <c:pt idx="6106">
                  <c:v>5808.6</c:v>
                </c:pt>
                <c:pt idx="6107">
                  <c:v>5905.2</c:v>
                </c:pt>
                <c:pt idx="6108">
                  <c:v>6451.2000000000007</c:v>
                </c:pt>
                <c:pt idx="6109">
                  <c:v>6967.8</c:v>
                </c:pt>
                <c:pt idx="6110">
                  <c:v>7194.6</c:v>
                </c:pt>
                <c:pt idx="6111">
                  <c:v>7509.6</c:v>
                </c:pt>
                <c:pt idx="6112">
                  <c:v>7740.6</c:v>
                </c:pt>
                <c:pt idx="6113">
                  <c:v>7870.8</c:v>
                </c:pt>
                <c:pt idx="6114">
                  <c:v>7782.6</c:v>
                </c:pt>
                <c:pt idx="6115">
                  <c:v>7749</c:v>
                </c:pt>
                <c:pt idx="6116">
                  <c:v>7845.6</c:v>
                </c:pt>
                <c:pt idx="6117">
                  <c:v>8190</c:v>
                </c:pt>
                <c:pt idx="6118">
                  <c:v>8467.2000000000007</c:v>
                </c:pt>
                <c:pt idx="6119">
                  <c:v>8748.6</c:v>
                </c:pt>
                <c:pt idx="6120">
                  <c:v>8878.8000000000011</c:v>
                </c:pt>
                <c:pt idx="6121">
                  <c:v>8828.4</c:v>
                </c:pt>
                <c:pt idx="6122">
                  <c:v>8925</c:v>
                </c:pt>
                <c:pt idx="6123">
                  <c:v>8471.4</c:v>
                </c:pt>
                <c:pt idx="6124">
                  <c:v>8110.2000000000007</c:v>
                </c:pt>
                <c:pt idx="6125">
                  <c:v>7875</c:v>
                </c:pt>
                <c:pt idx="6126">
                  <c:v>7816.2000000000007</c:v>
                </c:pt>
                <c:pt idx="6127">
                  <c:v>7954.8</c:v>
                </c:pt>
                <c:pt idx="6128">
                  <c:v>8320.2000000000007</c:v>
                </c:pt>
                <c:pt idx="6129">
                  <c:v>8240.4</c:v>
                </c:pt>
                <c:pt idx="6130">
                  <c:v>8236.2000000000007</c:v>
                </c:pt>
                <c:pt idx="6131">
                  <c:v>8366.4</c:v>
                </c:pt>
                <c:pt idx="6132">
                  <c:v>8463</c:v>
                </c:pt>
                <c:pt idx="6133">
                  <c:v>8673</c:v>
                </c:pt>
                <c:pt idx="6134">
                  <c:v>8761.2000000000007</c:v>
                </c:pt>
                <c:pt idx="6135">
                  <c:v>8761.2000000000007</c:v>
                </c:pt>
                <c:pt idx="6136">
                  <c:v>8803.2000000000007</c:v>
                </c:pt>
                <c:pt idx="6137">
                  <c:v>8836.8000000000011</c:v>
                </c:pt>
                <c:pt idx="6138">
                  <c:v>8887.2000000000007</c:v>
                </c:pt>
                <c:pt idx="6139">
                  <c:v>8710.8000000000011</c:v>
                </c:pt>
                <c:pt idx="6140">
                  <c:v>8983.8000000000011</c:v>
                </c:pt>
                <c:pt idx="6141">
                  <c:v>9471</c:v>
                </c:pt>
                <c:pt idx="6142">
                  <c:v>9739.8000000000011</c:v>
                </c:pt>
                <c:pt idx="6143">
                  <c:v>9849</c:v>
                </c:pt>
                <c:pt idx="6144">
                  <c:v>9706.2000000000007</c:v>
                </c:pt>
                <c:pt idx="6145">
                  <c:v>9462.6</c:v>
                </c:pt>
                <c:pt idx="6146">
                  <c:v>8996.4</c:v>
                </c:pt>
                <c:pt idx="6147">
                  <c:v>8862</c:v>
                </c:pt>
                <c:pt idx="6148">
                  <c:v>8954.4</c:v>
                </c:pt>
                <c:pt idx="6149">
                  <c:v>9311.4</c:v>
                </c:pt>
                <c:pt idx="6150">
                  <c:v>9546.6</c:v>
                </c:pt>
                <c:pt idx="6151">
                  <c:v>10004.4</c:v>
                </c:pt>
                <c:pt idx="6152">
                  <c:v>10407.6</c:v>
                </c:pt>
                <c:pt idx="6153">
                  <c:v>10773</c:v>
                </c:pt>
                <c:pt idx="6154">
                  <c:v>10802.4</c:v>
                </c:pt>
                <c:pt idx="6155">
                  <c:v>10949.4</c:v>
                </c:pt>
                <c:pt idx="6156">
                  <c:v>11041.800000000001</c:v>
                </c:pt>
                <c:pt idx="6157">
                  <c:v>11075.4</c:v>
                </c:pt>
                <c:pt idx="6158">
                  <c:v>11235</c:v>
                </c:pt>
                <c:pt idx="6159">
                  <c:v>11768.4</c:v>
                </c:pt>
                <c:pt idx="6160">
                  <c:v>11852.4</c:v>
                </c:pt>
                <c:pt idx="6161">
                  <c:v>11974.2</c:v>
                </c:pt>
                <c:pt idx="6162">
                  <c:v>12192.6</c:v>
                </c:pt>
                <c:pt idx="6163">
                  <c:v>12385.800000000001</c:v>
                </c:pt>
                <c:pt idx="6164">
                  <c:v>12398.4</c:v>
                </c:pt>
                <c:pt idx="6165">
                  <c:v>12730.2</c:v>
                </c:pt>
                <c:pt idx="6166">
                  <c:v>12881.4</c:v>
                </c:pt>
                <c:pt idx="6167">
                  <c:v>12810</c:v>
                </c:pt>
                <c:pt idx="6168">
                  <c:v>12818.4</c:v>
                </c:pt>
                <c:pt idx="6169">
                  <c:v>12776.4</c:v>
                </c:pt>
                <c:pt idx="6170">
                  <c:v>12545.4</c:v>
                </c:pt>
                <c:pt idx="6171">
                  <c:v>11986.800000000001</c:v>
                </c:pt>
                <c:pt idx="6172">
                  <c:v>11923.800000000001</c:v>
                </c:pt>
                <c:pt idx="6173">
                  <c:v>11445</c:v>
                </c:pt>
                <c:pt idx="6174">
                  <c:v>11373.6</c:v>
                </c:pt>
                <c:pt idx="6175">
                  <c:v>11272.800000000001</c:v>
                </c:pt>
                <c:pt idx="6176">
                  <c:v>11226.6</c:v>
                </c:pt>
                <c:pt idx="6177">
                  <c:v>10718.4</c:v>
                </c:pt>
                <c:pt idx="6178">
                  <c:v>10701.6</c:v>
                </c:pt>
                <c:pt idx="6179">
                  <c:v>10634.4</c:v>
                </c:pt>
                <c:pt idx="6180">
                  <c:v>10903.2</c:v>
                </c:pt>
                <c:pt idx="6181">
                  <c:v>10634.4</c:v>
                </c:pt>
                <c:pt idx="6182">
                  <c:v>11058.6</c:v>
                </c:pt>
                <c:pt idx="6183">
                  <c:v>11348.4</c:v>
                </c:pt>
                <c:pt idx="6184">
                  <c:v>11243.4</c:v>
                </c:pt>
                <c:pt idx="6185">
                  <c:v>11067</c:v>
                </c:pt>
                <c:pt idx="6186">
                  <c:v>11075.4</c:v>
                </c:pt>
                <c:pt idx="6187">
                  <c:v>10634.4</c:v>
                </c:pt>
                <c:pt idx="6188">
                  <c:v>10143</c:v>
                </c:pt>
                <c:pt idx="6189">
                  <c:v>9895.2000000000007</c:v>
                </c:pt>
                <c:pt idx="6190">
                  <c:v>9958.2000000000007</c:v>
                </c:pt>
                <c:pt idx="6191">
                  <c:v>9630.6</c:v>
                </c:pt>
                <c:pt idx="6192">
                  <c:v>9445.8000000000011</c:v>
                </c:pt>
                <c:pt idx="6193">
                  <c:v>9109.8000000000011</c:v>
                </c:pt>
                <c:pt idx="6194">
                  <c:v>8253</c:v>
                </c:pt>
                <c:pt idx="6195">
                  <c:v>7581</c:v>
                </c:pt>
                <c:pt idx="6196">
                  <c:v>6770.4000000000005</c:v>
                </c:pt>
                <c:pt idx="6197">
                  <c:v>6266.4000000000005</c:v>
                </c:pt>
                <c:pt idx="6198">
                  <c:v>5922</c:v>
                </c:pt>
                <c:pt idx="6199">
                  <c:v>5573.4000000000005</c:v>
                </c:pt>
                <c:pt idx="6200">
                  <c:v>5443.2</c:v>
                </c:pt>
                <c:pt idx="6201">
                  <c:v>5136.6000000000004</c:v>
                </c:pt>
                <c:pt idx="6202">
                  <c:v>4838.4000000000005</c:v>
                </c:pt>
                <c:pt idx="6203">
                  <c:v>4578</c:v>
                </c:pt>
                <c:pt idx="6204">
                  <c:v>4242</c:v>
                </c:pt>
                <c:pt idx="6205">
                  <c:v>4288.2</c:v>
                </c:pt>
                <c:pt idx="6206">
                  <c:v>4162.2</c:v>
                </c:pt>
                <c:pt idx="6207">
                  <c:v>4221</c:v>
                </c:pt>
                <c:pt idx="6208">
                  <c:v>4006.8</c:v>
                </c:pt>
                <c:pt idx="6209">
                  <c:v>3834.6000000000004</c:v>
                </c:pt>
                <c:pt idx="6210">
                  <c:v>3906</c:v>
                </c:pt>
                <c:pt idx="6211">
                  <c:v>4225.2</c:v>
                </c:pt>
                <c:pt idx="6212">
                  <c:v>4746</c:v>
                </c:pt>
                <c:pt idx="6213">
                  <c:v>5489.4000000000005</c:v>
                </c:pt>
                <c:pt idx="6214">
                  <c:v>6081.6</c:v>
                </c:pt>
                <c:pt idx="6215">
                  <c:v>6455.4000000000005</c:v>
                </c:pt>
                <c:pt idx="6216">
                  <c:v>6736.8</c:v>
                </c:pt>
                <c:pt idx="6217">
                  <c:v>7009.8</c:v>
                </c:pt>
                <c:pt idx="6218">
                  <c:v>7631.4000000000005</c:v>
                </c:pt>
                <c:pt idx="6219">
                  <c:v>7942.2000000000007</c:v>
                </c:pt>
                <c:pt idx="6220">
                  <c:v>8408.4</c:v>
                </c:pt>
                <c:pt idx="6221">
                  <c:v>8983.8000000000011</c:v>
                </c:pt>
                <c:pt idx="6222">
                  <c:v>9210.6</c:v>
                </c:pt>
                <c:pt idx="6223">
                  <c:v>9294.6</c:v>
                </c:pt>
                <c:pt idx="6224">
                  <c:v>9445.8000000000011</c:v>
                </c:pt>
                <c:pt idx="6225">
                  <c:v>9660</c:v>
                </c:pt>
                <c:pt idx="6226">
                  <c:v>9622.2000000000007</c:v>
                </c:pt>
                <c:pt idx="6227">
                  <c:v>9727.2000000000007</c:v>
                </c:pt>
                <c:pt idx="6228">
                  <c:v>10189.200000000001</c:v>
                </c:pt>
                <c:pt idx="6229">
                  <c:v>10689</c:v>
                </c:pt>
                <c:pt idx="6230">
                  <c:v>11734.800000000001</c:v>
                </c:pt>
                <c:pt idx="6231">
                  <c:v>11928</c:v>
                </c:pt>
                <c:pt idx="6232">
                  <c:v>12070.800000000001</c:v>
                </c:pt>
                <c:pt idx="6233">
                  <c:v>12234.6</c:v>
                </c:pt>
                <c:pt idx="6234">
                  <c:v>12255.6</c:v>
                </c:pt>
                <c:pt idx="6235">
                  <c:v>11991</c:v>
                </c:pt>
                <c:pt idx="6236">
                  <c:v>11692.800000000001</c:v>
                </c:pt>
                <c:pt idx="6237">
                  <c:v>11033.4</c:v>
                </c:pt>
                <c:pt idx="6238">
                  <c:v>10777.2</c:v>
                </c:pt>
                <c:pt idx="6239">
                  <c:v>10269</c:v>
                </c:pt>
                <c:pt idx="6240">
                  <c:v>9975</c:v>
                </c:pt>
                <c:pt idx="6241">
                  <c:v>9815.4</c:v>
                </c:pt>
                <c:pt idx="6242">
                  <c:v>9395.4</c:v>
                </c:pt>
                <c:pt idx="6243">
                  <c:v>9231.6</c:v>
                </c:pt>
                <c:pt idx="6244">
                  <c:v>9655.8000000000011</c:v>
                </c:pt>
                <c:pt idx="6245">
                  <c:v>9970.8000000000011</c:v>
                </c:pt>
                <c:pt idx="6246">
                  <c:v>10151.4</c:v>
                </c:pt>
                <c:pt idx="6247">
                  <c:v>10836</c:v>
                </c:pt>
                <c:pt idx="6248">
                  <c:v>11188.800000000001</c:v>
                </c:pt>
                <c:pt idx="6249">
                  <c:v>11281.2</c:v>
                </c:pt>
                <c:pt idx="6250">
                  <c:v>11272.800000000001</c:v>
                </c:pt>
                <c:pt idx="6251">
                  <c:v>11277</c:v>
                </c:pt>
                <c:pt idx="6252">
                  <c:v>11251.800000000001</c:v>
                </c:pt>
                <c:pt idx="6253">
                  <c:v>11209.800000000001</c:v>
                </c:pt>
                <c:pt idx="6254">
                  <c:v>11302.2</c:v>
                </c:pt>
                <c:pt idx="6255">
                  <c:v>11340</c:v>
                </c:pt>
                <c:pt idx="6256">
                  <c:v>11503.800000000001</c:v>
                </c:pt>
                <c:pt idx="6257">
                  <c:v>11823</c:v>
                </c:pt>
                <c:pt idx="6258">
                  <c:v>12100.2</c:v>
                </c:pt>
                <c:pt idx="6259">
                  <c:v>12411</c:v>
                </c:pt>
                <c:pt idx="6260">
                  <c:v>12810</c:v>
                </c:pt>
                <c:pt idx="6261">
                  <c:v>12910.800000000001</c:v>
                </c:pt>
                <c:pt idx="6262">
                  <c:v>13074.6</c:v>
                </c:pt>
                <c:pt idx="6263">
                  <c:v>13221.6</c:v>
                </c:pt>
                <c:pt idx="6264">
                  <c:v>13263.6</c:v>
                </c:pt>
                <c:pt idx="6265">
                  <c:v>13057.800000000001</c:v>
                </c:pt>
                <c:pt idx="6266">
                  <c:v>13763.400000000001</c:v>
                </c:pt>
                <c:pt idx="6267">
                  <c:v>13364.400000000001</c:v>
                </c:pt>
                <c:pt idx="6268">
                  <c:v>13112.400000000001</c:v>
                </c:pt>
                <c:pt idx="6269">
                  <c:v>12810</c:v>
                </c:pt>
                <c:pt idx="6270">
                  <c:v>12453</c:v>
                </c:pt>
                <c:pt idx="6271">
                  <c:v>12121.2</c:v>
                </c:pt>
                <c:pt idx="6272">
                  <c:v>11751.6</c:v>
                </c:pt>
                <c:pt idx="6273">
                  <c:v>11403</c:v>
                </c:pt>
                <c:pt idx="6274">
                  <c:v>10756.2</c:v>
                </c:pt>
                <c:pt idx="6275">
                  <c:v>10332</c:v>
                </c:pt>
                <c:pt idx="6276">
                  <c:v>10256.4</c:v>
                </c:pt>
                <c:pt idx="6277">
                  <c:v>10222.800000000001</c:v>
                </c:pt>
                <c:pt idx="6278">
                  <c:v>10159.800000000001</c:v>
                </c:pt>
                <c:pt idx="6279">
                  <c:v>10407.6</c:v>
                </c:pt>
                <c:pt idx="6280">
                  <c:v>10319.4</c:v>
                </c:pt>
                <c:pt idx="6281">
                  <c:v>10294.200000000001</c:v>
                </c:pt>
                <c:pt idx="6282">
                  <c:v>10252.200000000001</c:v>
                </c:pt>
                <c:pt idx="6283">
                  <c:v>9996</c:v>
                </c:pt>
                <c:pt idx="6284">
                  <c:v>9676.8000000000011</c:v>
                </c:pt>
                <c:pt idx="6285">
                  <c:v>9269.4</c:v>
                </c:pt>
                <c:pt idx="6286">
                  <c:v>9093</c:v>
                </c:pt>
                <c:pt idx="6287">
                  <c:v>9017.4</c:v>
                </c:pt>
                <c:pt idx="6288">
                  <c:v>8895.6</c:v>
                </c:pt>
                <c:pt idx="6289">
                  <c:v>8773.8000000000011</c:v>
                </c:pt>
                <c:pt idx="6290">
                  <c:v>7875</c:v>
                </c:pt>
                <c:pt idx="6291">
                  <c:v>7749</c:v>
                </c:pt>
                <c:pt idx="6292">
                  <c:v>7614.6</c:v>
                </c:pt>
                <c:pt idx="6293">
                  <c:v>7509.6</c:v>
                </c:pt>
                <c:pt idx="6294">
                  <c:v>7295.4000000000005</c:v>
                </c:pt>
                <c:pt idx="6295">
                  <c:v>7114.8</c:v>
                </c:pt>
                <c:pt idx="6296">
                  <c:v>6997.2000000000007</c:v>
                </c:pt>
                <c:pt idx="6297">
                  <c:v>6795.6</c:v>
                </c:pt>
                <c:pt idx="6298">
                  <c:v>6384</c:v>
                </c:pt>
                <c:pt idx="6299">
                  <c:v>5993.4000000000005</c:v>
                </c:pt>
                <c:pt idx="6300">
                  <c:v>5628</c:v>
                </c:pt>
                <c:pt idx="6301">
                  <c:v>5405.4000000000005</c:v>
                </c:pt>
                <c:pt idx="6302">
                  <c:v>5153.4000000000005</c:v>
                </c:pt>
                <c:pt idx="6303">
                  <c:v>4771.2</c:v>
                </c:pt>
                <c:pt idx="6304">
                  <c:v>4531.8</c:v>
                </c:pt>
                <c:pt idx="6305">
                  <c:v>4372.2</c:v>
                </c:pt>
                <c:pt idx="6306">
                  <c:v>4284</c:v>
                </c:pt>
                <c:pt idx="6307">
                  <c:v>4242</c:v>
                </c:pt>
                <c:pt idx="6308">
                  <c:v>4191.6000000000004</c:v>
                </c:pt>
                <c:pt idx="6309">
                  <c:v>4187.4000000000005</c:v>
                </c:pt>
                <c:pt idx="6310">
                  <c:v>4187.4000000000005</c:v>
                </c:pt>
                <c:pt idx="6311">
                  <c:v>4107.6000000000004</c:v>
                </c:pt>
                <c:pt idx="6312">
                  <c:v>4011</c:v>
                </c:pt>
                <c:pt idx="6313">
                  <c:v>3767.4</c:v>
                </c:pt>
                <c:pt idx="6314">
                  <c:v>3221.4</c:v>
                </c:pt>
                <c:pt idx="6315">
                  <c:v>2898</c:v>
                </c:pt>
                <c:pt idx="6316">
                  <c:v>2717.4</c:v>
                </c:pt>
                <c:pt idx="6317">
                  <c:v>2557.8000000000002</c:v>
                </c:pt>
                <c:pt idx="6318">
                  <c:v>2419.2000000000003</c:v>
                </c:pt>
                <c:pt idx="6319">
                  <c:v>2381.4</c:v>
                </c:pt>
                <c:pt idx="6320">
                  <c:v>2297.4</c:v>
                </c:pt>
                <c:pt idx="6321">
                  <c:v>2104.2000000000003</c:v>
                </c:pt>
                <c:pt idx="6322">
                  <c:v>1873.2</c:v>
                </c:pt>
                <c:pt idx="6323">
                  <c:v>1717.8000000000002</c:v>
                </c:pt>
                <c:pt idx="6324">
                  <c:v>1461.6000000000001</c:v>
                </c:pt>
                <c:pt idx="6325">
                  <c:v>1331.4</c:v>
                </c:pt>
                <c:pt idx="6326">
                  <c:v>1617</c:v>
                </c:pt>
                <c:pt idx="6327">
                  <c:v>1554</c:v>
                </c:pt>
                <c:pt idx="6328">
                  <c:v>1575</c:v>
                </c:pt>
                <c:pt idx="6329">
                  <c:v>1604.4</c:v>
                </c:pt>
                <c:pt idx="6330">
                  <c:v>1558.2</c:v>
                </c:pt>
                <c:pt idx="6331">
                  <c:v>1684.2</c:v>
                </c:pt>
                <c:pt idx="6332">
                  <c:v>1654.8000000000002</c:v>
                </c:pt>
                <c:pt idx="6333">
                  <c:v>1663.2</c:v>
                </c:pt>
                <c:pt idx="6334">
                  <c:v>1890</c:v>
                </c:pt>
                <c:pt idx="6335">
                  <c:v>1864.8000000000002</c:v>
                </c:pt>
                <c:pt idx="6336">
                  <c:v>1848</c:v>
                </c:pt>
                <c:pt idx="6337">
                  <c:v>1890</c:v>
                </c:pt>
                <c:pt idx="6338">
                  <c:v>1906.8000000000002</c:v>
                </c:pt>
                <c:pt idx="6339">
                  <c:v>1965.6000000000001</c:v>
                </c:pt>
                <c:pt idx="6340">
                  <c:v>2053.8000000000002</c:v>
                </c:pt>
                <c:pt idx="6341">
                  <c:v>2272.2000000000003</c:v>
                </c:pt>
                <c:pt idx="6342">
                  <c:v>2478</c:v>
                </c:pt>
                <c:pt idx="6343">
                  <c:v>2704.8</c:v>
                </c:pt>
                <c:pt idx="6344">
                  <c:v>2843.4</c:v>
                </c:pt>
                <c:pt idx="6345">
                  <c:v>2982</c:v>
                </c:pt>
                <c:pt idx="6346">
                  <c:v>3040.8</c:v>
                </c:pt>
                <c:pt idx="6347">
                  <c:v>3112.2000000000003</c:v>
                </c:pt>
                <c:pt idx="6348">
                  <c:v>3225.6000000000004</c:v>
                </c:pt>
                <c:pt idx="6349">
                  <c:v>3255</c:v>
                </c:pt>
                <c:pt idx="6350">
                  <c:v>3372.6000000000004</c:v>
                </c:pt>
                <c:pt idx="6351">
                  <c:v>3469.2000000000003</c:v>
                </c:pt>
                <c:pt idx="6352">
                  <c:v>3477.6000000000004</c:v>
                </c:pt>
                <c:pt idx="6353">
                  <c:v>3528</c:v>
                </c:pt>
                <c:pt idx="6354">
                  <c:v>3511.2000000000003</c:v>
                </c:pt>
                <c:pt idx="6355">
                  <c:v>3654</c:v>
                </c:pt>
                <c:pt idx="6356">
                  <c:v>3952.2000000000003</c:v>
                </c:pt>
                <c:pt idx="6357">
                  <c:v>4254.6000000000004</c:v>
                </c:pt>
                <c:pt idx="6358">
                  <c:v>4733.4000000000005</c:v>
                </c:pt>
                <c:pt idx="6359">
                  <c:v>5014.8</c:v>
                </c:pt>
                <c:pt idx="6360">
                  <c:v>5035.8</c:v>
                </c:pt>
                <c:pt idx="6361">
                  <c:v>5145</c:v>
                </c:pt>
                <c:pt idx="6362">
                  <c:v>4993.8</c:v>
                </c:pt>
                <c:pt idx="6363">
                  <c:v>4804.8</c:v>
                </c:pt>
                <c:pt idx="6364">
                  <c:v>4683</c:v>
                </c:pt>
                <c:pt idx="6365">
                  <c:v>4389</c:v>
                </c:pt>
                <c:pt idx="6366">
                  <c:v>4212.6000000000004</c:v>
                </c:pt>
                <c:pt idx="6367">
                  <c:v>4288.2</c:v>
                </c:pt>
                <c:pt idx="6368">
                  <c:v>4498.2</c:v>
                </c:pt>
                <c:pt idx="6369">
                  <c:v>4607.4000000000005</c:v>
                </c:pt>
                <c:pt idx="6370">
                  <c:v>4447.8</c:v>
                </c:pt>
                <c:pt idx="6371">
                  <c:v>4342.8</c:v>
                </c:pt>
                <c:pt idx="6372">
                  <c:v>4116</c:v>
                </c:pt>
                <c:pt idx="6373">
                  <c:v>4053</c:v>
                </c:pt>
                <c:pt idx="6374">
                  <c:v>3910.2000000000003</c:v>
                </c:pt>
                <c:pt idx="6375">
                  <c:v>3973.2000000000003</c:v>
                </c:pt>
                <c:pt idx="6376">
                  <c:v>3880.8</c:v>
                </c:pt>
                <c:pt idx="6377">
                  <c:v>3704.4</c:v>
                </c:pt>
                <c:pt idx="6378">
                  <c:v>3473.4</c:v>
                </c:pt>
                <c:pt idx="6379">
                  <c:v>3452.4</c:v>
                </c:pt>
                <c:pt idx="6380">
                  <c:v>3536.4</c:v>
                </c:pt>
                <c:pt idx="6381">
                  <c:v>3557.4</c:v>
                </c:pt>
                <c:pt idx="6382">
                  <c:v>3922.8</c:v>
                </c:pt>
                <c:pt idx="6383">
                  <c:v>4267.2</c:v>
                </c:pt>
                <c:pt idx="6384">
                  <c:v>4481.4000000000005</c:v>
                </c:pt>
                <c:pt idx="6385">
                  <c:v>4334.4000000000005</c:v>
                </c:pt>
                <c:pt idx="6386">
                  <c:v>4527.6000000000004</c:v>
                </c:pt>
                <c:pt idx="6387">
                  <c:v>4263</c:v>
                </c:pt>
                <c:pt idx="6388">
                  <c:v>4170.6000000000004</c:v>
                </c:pt>
                <c:pt idx="6389">
                  <c:v>3969</c:v>
                </c:pt>
                <c:pt idx="6390">
                  <c:v>3738</c:v>
                </c:pt>
                <c:pt idx="6391">
                  <c:v>3473.4</c:v>
                </c:pt>
                <c:pt idx="6392">
                  <c:v>3460.8</c:v>
                </c:pt>
                <c:pt idx="6393">
                  <c:v>3628.8</c:v>
                </c:pt>
                <c:pt idx="6394">
                  <c:v>3549</c:v>
                </c:pt>
                <c:pt idx="6395">
                  <c:v>3376.8</c:v>
                </c:pt>
                <c:pt idx="6396">
                  <c:v>3074.4</c:v>
                </c:pt>
                <c:pt idx="6397">
                  <c:v>3368.4</c:v>
                </c:pt>
                <c:pt idx="6398">
                  <c:v>3960.6000000000004</c:v>
                </c:pt>
                <c:pt idx="6399">
                  <c:v>4426.8</c:v>
                </c:pt>
                <c:pt idx="6400">
                  <c:v>4867.8</c:v>
                </c:pt>
                <c:pt idx="6401">
                  <c:v>5019</c:v>
                </c:pt>
                <c:pt idx="6402">
                  <c:v>5350.8</c:v>
                </c:pt>
                <c:pt idx="6403">
                  <c:v>5552.4000000000005</c:v>
                </c:pt>
                <c:pt idx="6404">
                  <c:v>6085.8</c:v>
                </c:pt>
                <c:pt idx="6405">
                  <c:v>6749.4000000000005</c:v>
                </c:pt>
                <c:pt idx="6406">
                  <c:v>7324.8</c:v>
                </c:pt>
                <c:pt idx="6407">
                  <c:v>7812</c:v>
                </c:pt>
                <c:pt idx="6408">
                  <c:v>8156.4000000000005</c:v>
                </c:pt>
                <c:pt idx="6409">
                  <c:v>8190</c:v>
                </c:pt>
                <c:pt idx="6410">
                  <c:v>7862.4000000000005</c:v>
                </c:pt>
                <c:pt idx="6411">
                  <c:v>7681.8</c:v>
                </c:pt>
                <c:pt idx="6412">
                  <c:v>7589.4000000000005</c:v>
                </c:pt>
                <c:pt idx="6413">
                  <c:v>7324.8</c:v>
                </c:pt>
                <c:pt idx="6414">
                  <c:v>7072.8</c:v>
                </c:pt>
                <c:pt idx="6415">
                  <c:v>7232.4000000000005</c:v>
                </c:pt>
                <c:pt idx="6416">
                  <c:v>7366.8</c:v>
                </c:pt>
                <c:pt idx="6417">
                  <c:v>7593.6</c:v>
                </c:pt>
                <c:pt idx="6418">
                  <c:v>7614.6</c:v>
                </c:pt>
                <c:pt idx="6419">
                  <c:v>8131.2000000000007</c:v>
                </c:pt>
                <c:pt idx="6420">
                  <c:v>8450.4</c:v>
                </c:pt>
                <c:pt idx="6421">
                  <c:v>8925</c:v>
                </c:pt>
                <c:pt idx="6422">
                  <c:v>9261</c:v>
                </c:pt>
                <c:pt idx="6423">
                  <c:v>9483.6</c:v>
                </c:pt>
                <c:pt idx="6424">
                  <c:v>9643.2000000000007</c:v>
                </c:pt>
                <c:pt idx="6425">
                  <c:v>9643.2000000000007</c:v>
                </c:pt>
                <c:pt idx="6426">
                  <c:v>9202.2000000000007</c:v>
                </c:pt>
                <c:pt idx="6427">
                  <c:v>8664.6</c:v>
                </c:pt>
                <c:pt idx="6428">
                  <c:v>7959</c:v>
                </c:pt>
                <c:pt idx="6429">
                  <c:v>7782.6</c:v>
                </c:pt>
                <c:pt idx="6430">
                  <c:v>7854</c:v>
                </c:pt>
                <c:pt idx="6431">
                  <c:v>7770</c:v>
                </c:pt>
                <c:pt idx="6432">
                  <c:v>7698.6</c:v>
                </c:pt>
                <c:pt idx="6433">
                  <c:v>7534.8</c:v>
                </c:pt>
                <c:pt idx="6434">
                  <c:v>7253.4000000000005</c:v>
                </c:pt>
                <c:pt idx="6435">
                  <c:v>7140</c:v>
                </c:pt>
                <c:pt idx="6436">
                  <c:v>7035</c:v>
                </c:pt>
                <c:pt idx="6437">
                  <c:v>7177.8</c:v>
                </c:pt>
                <c:pt idx="6438">
                  <c:v>7009.8</c:v>
                </c:pt>
                <c:pt idx="6439">
                  <c:v>6879.6</c:v>
                </c:pt>
                <c:pt idx="6440">
                  <c:v>6997.2000000000007</c:v>
                </c:pt>
                <c:pt idx="6441">
                  <c:v>6736.8</c:v>
                </c:pt>
                <c:pt idx="6442">
                  <c:v>6547.8</c:v>
                </c:pt>
                <c:pt idx="6443">
                  <c:v>6178.2</c:v>
                </c:pt>
                <c:pt idx="6444">
                  <c:v>5917.8</c:v>
                </c:pt>
                <c:pt idx="6445">
                  <c:v>5779.2</c:v>
                </c:pt>
                <c:pt idx="6446">
                  <c:v>5812.8</c:v>
                </c:pt>
                <c:pt idx="6447">
                  <c:v>6195</c:v>
                </c:pt>
                <c:pt idx="6448">
                  <c:v>6497.4000000000005</c:v>
                </c:pt>
                <c:pt idx="6449">
                  <c:v>6833.4000000000005</c:v>
                </c:pt>
                <c:pt idx="6450">
                  <c:v>7051.8</c:v>
                </c:pt>
                <c:pt idx="6451">
                  <c:v>7211.4000000000005</c:v>
                </c:pt>
                <c:pt idx="6452">
                  <c:v>7446.6</c:v>
                </c:pt>
                <c:pt idx="6453">
                  <c:v>7644</c:v>
                </c:pt>
                <c:pt idx="6454">
                  <c:v>7942.2000000000007</c:v>
                </c:pt>
                <c:pt idx="6455">
                  <c:v>8219.4</c:v>
                </c:pt>
                <c:pt idx="6456">
                  <c:v>8206.8000000000011</c:v>
                </c:pt>
                <c:pt idx="6457">
                  <c:v>8454.6</c:v>
                </c:pt>
                <c:pt idx="6458">
                  <c:v>7753.2000000000007</c:v>
                </c:pt>
                <c:pt idx="6459">
                  <c:v>7715.4000000000005</c:v>
                </c:pt>
                <c:pt idx="6460">
                  <c:v>7732.2000000000007</c:v>
                </c:pt>
                <c:pt idx="6461">
                  <c:v>8097.6</c:v>
                </c:pt>
                <c:pt idx="6462">
                  <c:v>8211</c:v>
                </c:pt>
                <c:pt idx="6463">
                  <c:v>8358</c:v>
                </c:pt>
                <c:pt idx="6464">
                  <c:v>8370.6</c:v>
                </c:pt>
                <c:pt idx="6465">
                  <c:v>8215.2000000000007</c:v>
                </c:pt>
                <c:pt idx="6466">
                  <c:v>8110.2000000000007</c:v>
                </c:pt>
                <c:pt idx="6467">
                  <c:v>7744.8</c:v>
                </c:pt>
                <c:pt idx="6468">
                  <c:v>7450.8</c:v>
                </c:pt>
                <c:pt idx="6469">
                  <c:v>7329</c:v>
                </c:pt>
                <c:pt idx="6470">
                  <c:v>7249.2000000000007</c:v>
                </c:pt>
                <c:pt idx="6471">
                  <c:v>7442.4000000000005</c:v>
                </c:pt>
                <c:pt idx="6472">
                  <c:v>7371</c:v>
                </c:pt>
                <c:pt idx="6473">
                  <c:v>7324.8</c:v>
                </c:pt>
                <c:pt idx="6474">
                  <c:v>7161</c:v>
                </c:pt>
                <c:pt idx="6475">
                  <c:v>7152.6</c:v>
                </c:pt>
                <c:pt idx="6476">
                  <c:v>7240.8</c:v>
                </c:pt>
                <c:pt idx="6477">
                  <c:v>7320.6</c:v>
                </c:pt>
                <c:pt idx="6478">
                  <c:v>7341.6</c:v>
                </c:pt>
                <c:pt idx="6479">
                  <c:v>7362.6</c:v>
                </c:pt>
                <c:pt idx="6480">
                  <c:v>7127.4000000000005</c:v>
                </c:pt>
                <c:pt idx="6481">
                  <c:v>6862.8</c:v>
                </c:pt>
                <c:pt idx="6482">
                  <c:v>6959.4000000000005</c:v>
                </c:pt>
                <c:pt idx="6483">
                  <c:v>6644.4000000000005</c:v>
                </c:pt>
                <c:pt idx="6484">
                  <c:v>6106.8</c:v>
                </c:pt>
                <c:pt idx="6485">
                  <c:v>5724.6</c:v>
                </c:pt>
                <c:pt idx="6486">
                  <c:v>5409.6</c:v>
                </c:pt>
                <c:pt idx="6487">
                  <c:v>5170.2</c:v>
                </c:pt>
                <c:pt idx="6488">
                  <c:v>4880.4000000000005</c:v>
                </c:pt>
                <c:pt idx="6489">
                  <c:v>4720.8</c:v>
                </c:pt>
                <c:pt idx="6490">
                  <c:v>4179</c:v>
                </c:pt>
                <c:pt idx="6491">
                  <c:v>3213</c:v>
                </c:pt>
                <c:pt idx="6492">
                  <c:v>2247</c:v>
                </c:pt>
                <c:pt idx="6493">
                  <c:v>1730.4</c:v>
                </c:pt>
                <c:pt idx="6494">
                  <c:v>1528.8</c:v>
                </c:pt>
                <c:pt idx="6495">
                  <c:v>1457.4</c:v>
                </c:pt>
                <c:pt idx="6496">
                  <c:v>1449</c:v>
                </c:pt>
                <c:pt idx="6497">
                  <c:v>1344</c:v>
                </c:pt>
                <c:pt idx="6498">
                  <c:v>1302</c:v>
                </c:pt>
                <c:pt idx="6499">
                  <c:v>1171.8</c:v>
                </c:pt>
                <c:pt idx="6500">
                  <c:v>1180.2</c:v>
                </c:pt>
                <c:pt idx="6501">
                  <c:v>1390.2</c:v>
                </c:pt>
                <c:pt idx="6502">
                  <c:v>1507.8</c:v>
                </c:pt>
                <c:pt idx="6503">
                  <c:v>1575</c:v>
                </c:pt>
                <c:pt idx="6504">
                  <c:v>1751.4</c:v>
                </c:pt>
                <c:pt idx="6505">
                  <c:v>1969.8000000000002</c:v>
                </c:pt>
                <c:pt idx="6506">
                  <c:v>2507.4</c:v>
                </c:pt>
                <c:pt idx="6507">
                  <c:v>2620.8000000000002</c:v>
                </c:pt>
                <c:pt idx="6508">
                  <c:v>3099.6</c:v>
                </c:pt>
                <c:pt idx="6509">
                  <c:v>3267.6000000000004</c:v>
                </c:pt>
                <c:pt idx="6510">
                  <c:v>3586.8</c:v>
                </c:pt>
                <c:pt idx="6511">
                  <c:v>3998.4</c:v>
                </c:pt>
                <c:pt idx="6512">
                  <c:v>4221</c:v>
                </c:pt>
                <c:pt idx="6513">
                  <c:v>4523.4000000000005</c:v>
                </c:pt>
                <c:pt idx="6514">
                  <c:v>4187.4000000000005</c:v>
                </c:pt>
                <c:pt idx="6515">
                  <c:v>3998.4</c:v>
                </c:pt>
                <c:pt idx="6516">
                  <c:v>4086.6000000000004</c:v>
                </c:pt>
                <c:pt idx="6517">
                  <c:v>4317.6000000000004</c:v>
                </c:pt>
                <c:pt idx="6518">
                  <c:v>4468.8</c:v>
                </c:pt>
                <c:pt idx="6519">
                  <c:v>4830</c:v>
                </c:pt>
                <c:pt idx="6520">
                  <c:v>5145</c:v>
                </c:pt>
                <c:pt idx="6521">
                  <c:v>5850.6</c:v>
                </c:pt>
                <c:pt idx="6522">
                  <c:v>6354.6</c:v>
                </c:pt>
                <c:pt idx="6523">
                  <c:v>7005.6</c:v>
                </c:pt>
                <c:pt idx="6524">
                  <c:v>7858.2000000000007</c:v>
                </c:pt>
                <c:pt idx="6525">
                  <c:v>8534.4</c:v>
                </c:pt>
                <c:pt idx="6526">
                  <c:v>9416.4</c:v>
                </c:pt>
                <c:pt idx="6527">
                  <c:v>9970.8000000000011</c:v>
                </c:pt>
                <c:pt idx="6528">
                  <c:v>10092.6</c:v>
                </c:pt>
                <c:pt idx="6529">
                  <c:v>10105.200000000001</c:v>
                </c:pt>
                <c:pt idx="6530">
                  <c:v>10915.800000000001</c:v>
                </c:pt>
                <c:pt idx="6531">
                  <c:v>10701.6</c:v>
                </c:pt>
                <c:pt idx="6532">
                  <c:v>10554.6</c:v>
                </c:pt>
                <c:pt idx="6533">
                  <c:v>10155.6</c:v>
                </c:pt>
                <c:pt idx="6534">
                  <c:v>9508.8000000000011</c:v>
                </c:pt>
                <c:pt idx="6535">
                  <c:v>8832.6</c:v>
                </c:pt>
                <c:pt idx="6536">
                  <c:v>8383.2000000000007</c:v>
                </c:pt>
                <c:pt idx="6537">
                  <c:v>7933.8</c:v>
                </c:pt>
                <c:pt idx="6538">
                  <c:v>7236.6</c:v>
                </c:pt>
                <c:pt idx="6539">
                  <c:v>7014</c:v>
                </c:pt>
                <c:pt idx="6540">
                  <c:v>6577.2000000000007</c:v>
                </c:pt>
                <c:pt idx="6541">
                  <c:v>6279</c:v>
                </c:pt>
                <c:pt idx="6542">
                  <c:v>6098.4000000000005</c:v>
                </c:pt>
                <c:pt idx="6543">
                  <c:v>6350.4000000000005</c:v>
                </c:pt>
                <c:pt idx="6544">
                  <c:v>6136.2</c:v>
                </c:pt>
                <c:pt idx="6545">
                  <c:v>6106.8</c:v>
                </c:pt>
                <c:pt idx="6546">
                  <c:v>6127.8</c:v>
                </c:pt>
                <c:pt idx="6547">
                  <c:v>6232.8</c:v>
                </c:pt>
                <c:pt idx="6548">
                  <c:v>6783</c:v>
                </c:pt>
                <c:pt idx="6549">
                  <c:v>7417.2000000000007</c:v>
                </c:pt>
                <c:pt idx="6550">
                  <c:v>7719.6</c:v>
                </c:pt>
                <c:pt idx="6551">
                  <c:v>8404.2000000000007</c:v>
                </c:pt>
                <c:pt idx="6552">
                  <c:v>8790.6</c:v>
                </c:pt>
                <c:pt idx="6553">
                  <c:v>8538.6</c:v>
                </c:pt>
                <c:pt idx="6554">
                  <c:v>9055.2000000000007</c:v>
                </c:pt>
                <c:pt idx="6555">
                  <c:v>9601.2000000000007</c:v>
                </c:pt>
                <c:pt idx="6556">
                  <c:v>10147.200000000001</c:v>
                </c:pt>
                <c:pt idx="6557">
                  <c:v>10273.200000000001</c:v>
                </c:pt>
                <c:pt idx="6558">
                  <c:v>10554.6</c:v>
                </c:pt>
                <c:pt idx="6559">
                  <c:v>10907.4</c:v>
                </c:pt>
                <c:pt idx="6560">
                  <c:v>10953.6</c:v>
                </c:pt>
                <c:pt idx="6561">
                  <c:v>10642.800000000001</c:v>
                </c:pt>
                <c:pt idx="6562">
                  <c:v>10693.2</c:v>
                </c:pt>
                <c:pt idx="6563">
                  <c:v>10483.200000000001</c:v>
                </c:pt>
                <c:pt idx="6564">
                  <c:v>10109.4</c:v>
                </c:pt>
                <c:pt idx="6565">
                  <c:v>9693.6</c:v>
                </c:pt>
                <c:pt idx="6566">
                  <c:v>9584.4</c:v>
                </c:pt>
                <c:pt idx="6567">
                  <c:v>9282</c:v>
                </c:pt>
                <c:pt idx="6568">
                  <c:v>9189.6</c:v>
                </c:pt>
                <c:pt idx="6569">
                  <c:v>8916.6</c:v>
                </c:pt>
                <c:pt idx="6570">
                  <c:v>8883</c:v>
                </c:pt>
                <c:pt idx="6571">
                  <c:v>9198</c:v>
                </c:pt>
                <c:pt idx="6572">
                  <c:v>9924.6</c:v>
                </c:pt>
                <c:pt idx="6573">
                  <c:v>10416</c:v>
                </c:pt>
                <c:pt idx="6574">
                  <c:v>11138.4</c:v>
                </c:pt>
                <c:pt idx="6575">
                  <c:v>12003.6</c:v>
                </c:pt>
                <c:pt idx="6576">
                  <c:v>12570.6</c:v>
                </c:pt>
                <c:pt idx="6577">
                  <c:v>12919.2</c:v>
                </c:pt>
                <c:pt idx="6578">
                  <c:v>13658.400000000001</c:v>
                </c:pt>
                <c:pt idx="6579">
                  <c:v>14074.2</c:v>
                </c:pt>
                <c:pt idx="6580">
                  <c:v>14460.6</c:v>
                </c:pt>
                <c:pt idx="6581">
                  <c:v>14998.2</c:v>
                </c:pt>
                <c:pt idx="6582">
                  <c:v>15468.6</c:v>
                </c:pt>
                <c:pt idx="6583">
                  <c:v>15800.400000000001</c:v>
                </c:pt>
                <c:pt idx="6584">
                  <c:v>16115.400000000001</c:v>
                </c:pt>
                <c:pt idx="6585">
                  <c:v>16300.2</c:v>
                </c:pt>
                <c:pt idx="6586">
                  <c:v>16388.400000000001</c:v>
                </c:pt>
                <c:pt idx="6587">
                  <c:v>16430.400000000001</c:v>
                </c:pt>
                <c:pt idx="6588">
                  <c:v>16312.800000000001</c:v>
                </c:pt>
                <c:pt idx="6589">
                  <c:v>16380</c:v>
                </c:pt>
                <c:pt idx="6590">
                  <c:v>16468.2</c:v>
                </c:pt>
                <c:pt idx="6591">
                  <c:v>16375.800000000001</c:v>
                </c:pt>
                <c:pt idx="6592">
                  <c:v>16875.600000000002</c:v>
                </c:pt>
                <c:pt idx="6593">
                  <c:v>16930.2</c:v>
                </c:pt>
                <c:pt idx="6594">
                  <c:v>17136</c:v>
                </c:pt>
                <c:pt idx="6595">
                  <c:v>16900.8</c:v>
                </c:pt>
                <c:pt idx="6596">
                  <c:v>17119.2</c:v>
                </c:pt>
                <c:pt idx="6597">
                  <c:v>16543.8</c:v>
                </c:pt>
                <c:pt idx="6598">
                  <c:v>16182.6</c:v>
                </c:pt>
                <c:pt idx="6599">
                  <c:v>15199.800000000001</c:v>
                </c:pt>
                <c:pt idx="6600">
                  <c:v>14179.2</c:v>
                </c:pt>
                <c:pt idx="6601">
                  <c:v>12755.4</c:v>
                </c:pt>
                <c:pt idx="6602">
                  <c:v>10697.4</c:v>
                </c:pt>
                <c:pt idx="6603">
                  <c:v>9517.2000000000007</c:v>
                </c:pt>
                <c:pt idx="6604">
                  <c:v>7954.8</c:v>
                </c:pt>
                <c:pt idx="6605">
                  <c:v>7455</c:v>
                </c:pt>
                <c:pt idx="6606">
                  <c:v>6930</c:v>
                </c:pt>
                <c:pt idx="6607">
                  <c:v>5959.8</c:v>
                </c:pt>
                <c:pt idx="6608">
                  <c:v>5115.6000000000004</c:v>
                </c:pt>
                <c:pt idx="6609">
                  <c:v>4384.8</c:v>
                </c:pt>
                <c:pt idx="6610">
                  <c:v>3990</c:v>
                </c:pt>
                <c:pt idx="6611">
                  <c:v>3439.8</c:v>
                </c:pt>
                <c:pt idx="6612">
                  <c:v>2868.6</c:v>
                </c:pt>
                <c:pt idx="6613">
                  <c:v>2389.8000000000002</c:v>
                </c:pt>
                <c:pt idx="6614">
                  <c:v>2196.6</c:v>
                </c:pt>
                <c:pt idx="6615">
                  <c:v>2049.6</c:v>
                </c:pt>
                <c:pt idx="6616">
                  <c:v>1999.2</c:v>
                </c:pt>
                <c:pt idx="6617">
                  <c:v>2041.2</c:v>
                </c:pt>
                <c:pt idx="6618">
                  <c:v>2268</c:v>
                </c:pt>
                <c:pt idx="6619">
                  <c:v>2524.2000000000003</c:v>
                </c:pt>
                <c:pt idx="6620">
                  <c:v>3158.4</c:v>
                </c:pt>
                <c:pt idx="6621">
                  <c:v>3822</c:v>
                </c:pt>
                <c:pt idx="6622">
                  <c:v>4531.8</c:v>
                </c:pt>
                <c:pt idx="6623">
                  <c:v>5082</c:v>
                </c:pt>
                <c:pt idx="6624">
                  <c:v>5594.4000000000005</c:v>
                </c:pt>
                <c:pt idx="6625">
                  <c:v>6140.4000000000005</c:v>
                </c:pt>
                <c:pt idx="6626">
                  <c:v>5884.2</c:v>
                </c:pt>
                <c:pt idx="6627">
                  <c:v>5388.6</c:v>
                </c:pt>
                <c:pt idx="6628">
                  <c:v>5380.2</c:v>
                </c:pt>
                <c:pt idx="6629">
                  <c:v>5124</c:v>
                </c:pt>
                <c:pt idx="6630">
                  <c:v>4888.8</c:v>
                </c:pt>
                <c:pt idx="6631">
                  <c:v>5052.6000000000004</c:v>
                </c:pt>
                <c:pt idx="6632">
                  <c:v>5283.6</c:v>
                </c:pt>
                <c:pt idx="6633">
                  <c:v>5552.4000000000005</c:v>
                </c:pt>
                <c:pt idx="6634">
                  <c:v>5476.8</c:v>
                </c:pt>
                <c:pt idx="6635">
                  <c:v>5170.2</c:v>
                </c:pt>
                <c:pt idx="6636">
                  <c:v>4888.8</c:v>
                </c:pt>
                <c:pt idx="6637">
                  <c:v>4586.4000000000005</c:v>
                </c:pt>
                <c:pt idx="6638">
                  <c:v>4842.6000000000004</c:v>
                </c:pt>
                <c:pt idx="6639">
                  <c:v>5443.2</c:v>
                </c:pt>
                <c:pt idx="6640">
                  <c:v>5838</c:v>
                </c:pt>
                <c:pt idx="6641">
                  <c:v>5825.4000000000005</c:v>
                </c:pt>
                <c:pt idx="6642">
                  <c:v>5380.2</c:v>
                </c:pt>
                <c:pt idx="6643">
                  <c:v>5275.2</c:v>
                </c:pt>
                <c:pt idx="6644">
                  <c:v>5212.2</c:v>
                </c:pt>
                <c:pt idx="6645">
                  <c:v>5002.2</c:v>
                </c:pt>
                <c:pt idx="6646">
                  <c:v>4901.4000000000005</c:v>
                </c:pt>
                <c:pt idx="6647">
                  <c:v>4821.6000000000004</c:v>
                </c:pt>
                <c:pt idx="6648">
                  <c:v>4821.6000000000004</c:v>
                </c:pt>
                <c:pt idx="6649">
                  <c:v>4641</c:v>
                </c:pt>
                <c:pt idx="6650">
                  <c:v>4452</c:v>
                </c:pt>
                <c:pt idx="6651">
                  <c:v>4141.2</c:v>
                </c:pt>
                <c:pt idx="6652">
                  <c:v>3784.2000000000003</c:v>
                </c:pt>
                <c:pt idx="6653">
                  <c:v>3616.2000000000003</c:v>
                </c:pt>
                <c:pt idx="6654">
                  <c:v>3364.2000000000003</c:v>
                </c:pt>
                <c:pt idx="6655">
                  <c:v>3393.6000000000004</c:v>
                </c:pt>
                <c:pt idx="6656">
                  <c:v>3439.8</c:v>
                </c:pt>
                <c:pt idx="6657">
                  <c:v>3624.6000000000004</c:v>
                </c:pt>
                <c:pt idx="6658">
                  <c:v>3435.6000000000004</c:v>
                </c:pt>
                <c:pt idx="6659">
                  <c:v>2923.2000000000003</c:v>
                </c:pt>
                <c:pt idx="6660">
                  <c:v>2444.4</c:v>
                </c:pt>
                <c:pt idx="6661">
                  <c:v>2150.4</c:v>
                </c:pt>
                <c:pt idx="6662">
                  <c:v>1927.8000000000002</c:v>
                </c:pt>
                <c:pt idx="6663">
                  <c:v>2091.6</c:v>
                </c:pt>
                <c:pt idx="6664">
                  <c:v>2095.8000000000002</c:v>
                </c:pt>
                <c:pt idx="6665">
                  <c:v>2360.4</c:v>
                </c:pt>
                <c:pt idx="6666">
                  <c:v>2709</c:v>
                </c:pt>
                <c:pt idx="6667">
                  <c:v>3162.6</c:v>
                </c:pt>
                <c:pt idx="6668">
                  <c:v>3910.2000000000003</c:v>
                </c:pt>
                <c:pt idx="6669">
                  <c:v>4779.6000000000004</c:v>
                </c:pt>
                <c:pt idx="6670">
                  <c:v>5560.8</c:v>
                </c:pt>
                <c:pt idx="6671">
                  <c:v>6199.2</c:v>
                </c:pt>
                <c:pt idx="6672">
                  <c:v>6539.4000000000005</c:v>
                </c:pt>
                <c:pt idx="6673">
                  <c:v>6888</c:v>
                </c:pt>
                <c:pt idx="6674">
                  <c:v>7123.2000000000007</c:v>
                </c:pt>
                <c:pt idx="6675">
                  <c:v>7190.4000000000005</c:v>
                </c:pt>
                <c:pt idx="6676">
                  <c:v>7518</c:v>
                </c:pt>
                <c:pt idx="6677">
                  <c:v>7555.8</c:v>
                </c:pt>
                <c:pt idx="6678">
                  <c:v>7732.2000000000007</c:v>
                </c:pt>
                <c:pt idx="6679">
                  <c:v>7954.8</c:v>
                </c:pt>
                <c:pt idx="6680">
                  <c:v>8181.6</c:v>
                </c:pt>
                <c:pt idx="6681">
                  <c:v>8374.8000000000011</c:v>
                </c:pt>
                <c:pt idx="6682">
                  <c:v>8404.2000000000007</c:v>
                </c:pt>
                <c:pt idx="6683">
                  <c:v>8694</c:v>
                </c:pt>
                <c:pt idx="6684">
                  <c:v>8874.6</c:v>
                </c:pt>
                <c:pt idx="6685">
                  <c:v>9231.6</c:v>
                </c:pt>
                <c:pt idx="6686">
                  <c:v>9924.6</c:v>
                </c:pt>
                <c:pt idx="6687">
                  <c:v>10281.6</c:v>
                </c:pt>
                <c:pt idx="6688">
                  <c:v>10571.4</c:v>
                </c:pt>
                <c:pt idx="6689">
                  <c:v>10542</c:v>
                </c:pt>
                <c:pt idx="6690">
                  <c:v>10689</c:v>
                </c:pt>
                <c:pt idx="6691">
                  <c:v>10819.2</c:v>
                </c:pt>
                <c:pt idx="6692">
                  <c:v>11214</c:v>
                </c:pt>
                <c:pt idx="6693">
                  <c:v>11701.2</c:v>
                </c:pt>
                <c:pt idx="6694">
                  <c:v>12112.800000000001</c:v>
                </c:pt>
                <c:pt idx="6695">
                  <c:v>12360.6</c:v>
                </c:pt>
                <c:pt idx="6696">
                  <c:v>12335.4</c:v>
                </c:pt>
                <c:pt idx="6697">
                  <c:v>12293.4</c:v>
                </c:pt>
                <c:pt idx="6698">
                  <c:v>12566.4</c:v>
                </c:pt>
                <c:pt idx="6699">
                  <c:v>12377.4</c:v>
                </c:pt>
                <c:pt idx="6700">
                  <c:v>12671.4</c:v>
                </c:pt>
                <c:pt idx="6701">
                  <c:v>12566.4</c:v>
                </c:pt>
                <c:pt idx="6702">
                  <c:v>12553.800000000001</c:v>
                </c:pt>
                <c:pt idx="6703">
                  <c:v>12629.4</c:v>
                </c:pt>
                <c:pt idx="6704">
                  <c:v>12696.6</c:v>
                </c:pt>
                <c:pt idx="6705">
                  <c:v>12625.2</c:v>
                </c:pt>
                <c:pt idx="6706">
                  <c:v>12310.2</c:v>
                </c:pt>
                <c:pt idx="6707">
                  <c:v>12558</c:v>
                </c:pt>
                <c:pt idx="6708">
                  <c:v>11898.6</c:v>
                </c:pt>
                <c:pt idx="6709">
                  <c:v>11898.6</c:v>
                </c:pt>
                <c:pt idx="6710">
                  <c:v>11734.800000000001</c:v>
                </c:pt>
                <c:pt idx="6711">
                  <c:v>11646.6</c:v>
                </c:pt>
                <c:pt idx="6712">
                  <c:v>11625.6</c:v>
                </c:pt>
                <c:pt idx="6713">
                  <c:v>11739</c:v>
                </c:pt>
                <c:pt idx="6714">
                  <c:v>11247.6</c:v>
                </c:pt>
                <c:pt idx="6715">
                  <c:v>10920</c:v>
                </c:pt>
                <c:pt idx="6716">
                  <c:v>10882.2</c:v>
                </c:pt>
                <c:pt idx="6717">
                  <c:v>10781.4</c:v>
                </c:pt>
                <c:pt idx="6718">
                  <c:v>10920</c:v>
                </c:pt>
                <c:pt idx="6719">
                  <c:v>10978.800000000001</c:v>
                </c:pt>
                <c:pt idx="6720">
                  <c:v>10781.4</c:v>
                </c:pt>
                <c:pt idx="6721">
                  <c:v>10558.800000000001</c:v>
                </c:pt>
                <c:pt idx="6722">
                  <c:v>10243.800000000001</c:v>
                </c:pt>
                <c:pt idx="6723">
                  <c:v>9672.6</c:v>
                </c:pt>
                <c:pt idx="6724">
                  <c:v>9387</c:v>
                </c:pt>
                <c:pt idx="6725">
                  <c:v>9303</c:v>
                </c:pt>
                <c:pt idx="6726">
                  <c:v>8874.6</c:v>
                </c:pt>
                <c:pt idx="6727">
                  <c:v>8815.8000000000011</c:v>
                </c:pt>
                <c:pt idx="6728">
                  <c:v>8601.6</c:v>
                </c:pt>
                <c:pt idx="6729">
                  <c:v>8303.4</c:v>
                </c:pt>
                <c:pt idx="6730">
                  <c:v>8194.2000000000007</c:v>
                </c:pt>
                <c:pt idx="6731">
                  <c:v>7954.8</c:v>
                </c:pt>
                <c:pt idx="6732">
                  <c:v>7644</c:v>
                </c:pt>
                <c:pt idx="6733">
                  <c:v>7518</c:v>
                </c:pt>
                <c:pt idx="6734">
                  <c:v>7505.4000000000005</c:v>
                </c:pt>
                <c:pt idx="6735">
                  <c:v>7228.2000000000007</c:v>
                </c:pt>
                <c:pt idx="6736">
                  <c:v>7077</c:v>
                </c:pt>
                <c:pt idx="6737">
                  <c:v>6745.2000000000007</c:v>
                </c:pt>
                <c:pt idx="6738">
                  <c:v>6371.4000000000005</c:v>
                </c:pt>
                <c:pt idx="6739">
                  <c:v>6144.6</c:v>
                </c:pt>
                <c:pt idx="6740">
                  <c:v>6010.2</c:v>
                </c:pt>
                <c:pt idx="6741">
                  <c:v>5951.4000000000005</c:v>
                </c:pt>
                <c:pt idx="6742">
                  <c:v>5758.2</c:v>
                </c:pt>
                <c:pt idx="6743">
                  <c:v>5745.6</c:v>
                </c:pt>
                <c:pt idx="6744">
                  <c:v>5619.6</c:v>
                </c:pt>
                <c:pt idx="6745">
                  <c:v>5308.8</c:v>
                </c:pt>
                <c:pt idx="6746">
                  <c:v>4985.4000000000005</c:v>
                </c:pt>
                <c:pt idx="6747">
                  <c:v>4716.6000000000004</c:v>
                </c:pt>
                <c:pt idx="6748">
                  <c:v>4519.2</c:v>
                </c:pt>
                <c:pt idx="6749">
                  <c:v>4431</c:v>
                </c:pt>
                <c:pt idx="6750">
                  <c:v>4347</c:v>
                </c:pt>
                <c:pt idx="6751">
                  <c:v>4153.8</c:v>
                </c:pt>
                <c:pt idx="6752">
                  <c:v>4132.8</c:v>
                </c:pt>
                <c:pt idx="6753">
                  <c:v>4179</c:v>
                </c:pt>
                <c:pt idx="6754">
                  <c:v>4116</c:v>
                </c:pt>
                <c:pt idx="6755">
                  <c:v>4002.6000000000004</c:v>
                </c:pt>
                <c:pt idx="6756">
                  <c:v>3645.6000000000004</c:v>
                </c:pt>
                <c:pt idx="6757">
                  <c:v>3586.8</c:v>
                </c:pt>
                <c:pt idx="6758">
                  <c:v>3536.4</c:v>
                </c:pt>
                <c:pt idx="6759">
                  <c:v>3435.6000000000004</c:v>
                </c:pt>
                <c:pt idx="6760">
                  <c:v>3074.4</c:v>
                </c:pt>
                <c:pt idx="6761">
                  <c:v>2784.6</c:v>
                </c:pt>
                <c:pt idx="6762">
                  <c:v>2591.4</c:v>
                </c:pt>
                <c:pt idx="6763">
                  <c:v>2440.2000000000003</c:v>
                </c:pt>
                <c:pt idx="6764">
                  <c:v>2616.6</c:v>
                </c:pt>
                <c:pt idx="6765">
                  <c:v>2935.8</c:v>
                </c:pt>
                <c:pt idx="6766">
                  <c:v>3171</c:v>
                </c:pt>
                <c:pt idx="6767">
                  <c:v>3171</c:v>
                </c:pt>
                <c:pt idx="6768">
                  <c:v>3280.2000000000003</c:v>
                </c:pt>
                <c:pt idx="6769">
                  <c:v>3070.2000000000003</c:v>
                </c:pt>
                <c:pt idx="6770">
                  <c:v>3040.8</c:v>
                </c:pt>
                <c:pt idx="6771">
                  <c:v>2805.6</c:v>
                </c:pt>
                <c:pt idx="6772">
                  <c:v>2553.6</c:v>
                </c:pt>
                <c:pt idx="6773">
                  <c:v>2431.8000000000002</c:v>
                </c:pt>
                <c:pt idx="6774">
                  <c:v>2352</c:v>
                </c:pt>
                <c:pt idx="6775">
                  <c:v>2213.4</c:v>
                </c:pt>
                <c:pt idx="6776">
                  <c:v>2041.2</c:v>
                </c:pt>
                <c:pt idx="6777">
                  <c:v>1940.4</c:v>
                </c:pt>
                <c:pt idx="6778">
                  <c:v>1717.8000000000002</c:v>
                </c:pt>
                <c:pt idx="6779">
                  <c:v>1457.4</c:v>
                </c:pt>
                <c:pt idx="6780">
                  <c:v>1197</c:v>
                </c:pt>
                <c:pt idx="6781">
                  <c:v>1024.8</c:v>
                </c:pt>
                <c:pt idx="6782">
                  <c:v>861</c:v>
                </c:pt>
                <c:pt idx="6783">
                  <c:v>806.40000000000009</c:v>
                </c:pt>
                <c:pt idx="6784">
                  <c:v>772.80000000000007</c:v>
                </c:pt>
                <c:pt idx="6785">
                  <c:v>722.4</c:v>
                </c:pt>
                <c:pt idx="6786">
                  <c:v>760.2</c:v>
                </c:pt>
                <c:pt idx="6787">
                  <c:v>810.6</c:v>
                </c:pt>
                <c:pt idx="6788">
                  <c:v>1041.6000000000001</c:v>
                </c:pt>
                <c:pt idx="6789">
                  <c:v>1171.8</c:v>
                </c:pt>
                <c:pt idx="6790">
                  <c:v>1444.8</c:v>
                </c:pt>
                <c:pt idx="6791">
                  <c:v>1537.2</c:v>
                </c:pt>
                <c:pt idx="6792">
                  <c:v>1680</c:v>
                </c:pt>
                <c:pt idx="6793">
                  <c:v>1650.6000000000001</c:v>
                </c:pt>
                <c:pt idx="6794">
                  <c:v>1470</c:v>
                </c:pt>
                <c:pt idx="6795">
                  <c:v>1507.8</c:v>
                </c:pt>
                <c:pt idx="6796">
                  <c:v>1579.2</c:v>
                </c:pt>
                <c:pt idx="6797">
                  <c:v>1663.2</c:v>
                </c:pt>
                <c:pt idx="6798">
                  <c:v>1839.6000000000001</c:v>
                </c:pt>
                <c:pt idx="6799">
                  <c:v>2070.6</c:v>
                </c:pt>
                <c:pt idx="6800">
                  <c:v>2251.2000000000003</c:v>
                </c:pt>
                <c:pt idx="6801">
                  <c:v>2377.2000000000003</c:v>
                </c:pt>
                <c:pt idx="6802">
                  <c:v>2385.6</c:v>
                </c:pt>
                <c:pt idx="6803">
                  <c:v>2133.6</c:v>
                </c:pt>
                <c:pt idx="6804">
                  <c:v>2045.4</c:v>
                </c:pt>
                <c:pt idx="6805">
                  <c:v>2016</c:v>
                </c:pt>
                <c:pt idx="6806">
                  <c:v>1814.4</c:v>
                </c:pt>
                <c:pt idx="6807">
                  <c:v>1625.4</c:v>
                </c:pt>
                <c:pt idx="6808">
                  <c:v>1470</c:v>
                </c:pt>
                <c:pt idx="6809">
                  <c:v>1428</c:v>
                </c:pt>
                <c:pt idx="6810">
                  <c:v>1465.8</c:v>
                </c:pt>
                <c:pt idx="6811">
                  <c:v>1629.6000000000001</c:v>
                </c:pt>
                <c:pt idx="6812">
                  <c:v>1919.4</c:v>
                </c:pt>
                <c:pt idx="6813">
                  <c:v>2163</c:v>
                </c:pt>
                <c:pt idx="6814">
                  <c:v>2242.8000000000002</c:v>
                </c:pt>
                <c:pt idx="6815">
                  <c:v>2385.6</c:v>
                </c:pt>
                <c:pt idx="6816">
                  <c:v>2541</c:v>
                </c:pt>
                <c:pt idx="6817">
                  <c:v>2452.8000000000002</c:v>
                </c:pt>
                <c:pt idx="6818">
                  <c:v>2398.2000000000003</c:v>
                </c:pt>
                <c:pt idx="6819">
                  <c:v>2368.8000000000002</c:v>
                </c:pt>
                <c:pt idx="6820">
                  <c:v>2310</c:v>
                </c:pt>
                <c:pt idx="6821">
                  <c:v>2419.2000000000003</c:v>
                </c:pt>
                <c:pt idx="6822">
                  <c:v>2503.2000000000003</c:v>
                </c:pt>
                <c:pt idx="6823">
                  <c:v>2562</c:v>
                </c:pt>
                <c:pt idx="6824">
                  <c:v>2536.8000000000002</c:v>
                </c:pt>
                <c:pt idx="6825">
                  <c:v>2562</c:v>
                </c:pt>
                <c:pt idx="6826">
                  <c:v>2562</c:v>
                </c:pt>
                <c:pt idx="6827">
                  <c:v>2448.6</c:v>
                </c:pt>
                <c:pt idx="6828">
                  <c:v>2394</c:v>
                </c:pt>
                <c:pt idx="6829">
                  <c:v>2074.8000000000002</c:v>
                </c:pt>
                <c:pt idx="6830">
                  <c:v>1965.6000000000001</c:v>
                </c:pt>
                <c:pt idx="6831">
                  <c:v>1961.4</c:v>
                </c:pt>
                <c:pt idx="6832">
                  <c:v>1969.8000000000002</c:v>
                </c:pt>
                <c:pt idx="6833">
                  <c:v>2045.4</c:v>
                </c:pt>
                <c:pt idx="6834">
                  <c:v>2087.4</c:v>
                </c:pt>
                <c:pt idx="6835">
                  <c:v>2238.6</c:v>
                </c:pt>
                <c:pt idx="6836">
                  <c:v>2368.8000000000002</c:v>
                </c:pt>
                <c:pt idx="6837">
                  <c:v>2541</c:v>
                </c:pt>
                <c:pt idx="6838">
                  <c:v>2746.8</c:v>
                </c:pt>
                <c:pt idx="6839">
                  <c:v>2940</c:v>
                </c:pt>
                <c:pt idx="6840">
                  <c:v>2814</c:v>
                </c:pt>
                <c:pt idx="6841">
                  <c:v>2809.8</c:v>
                </c:pt>
                <c:pt idx="6842">
                  <c:v>3011.4</c:v>
                </c:pt>
                <c:pt idx="6843">
                  <c:v>2856</c:v>
                </c:pt>
                <c:pt idx="6844">
                  <c:v>2843.4</c:v>
                </c:pt>
                <c:pt idx="6845">
                  <c:v>2835</c:v>
                </c:pt>
                <c:pt idx="6846">
                  <c:v>2923.2000000000003</c:v>
                </c:pt>
                <c:pt idx="6847">
                  <c:v>3082.8</c:v>
                </c:pt>
                <c:pt idx="6848">
                  <c:v>3318</c:v>
                </c:pt>
                <c:pt idx="6849">
                  <c:v>3612</c:v>
                </c:pt>
                <c:pt idx="6850">
                  <c:v>3893.4</c:v>
                </c:pt>
                <c:pt idx="6851">
                  <c:v>4053</c:v>
                </c:pt>
                <c:pt idx="6852">
                  <c:v>3981.6000000000004</c:v>
                </c:pt>
                <c:pt idx="6853">
                  <c:v>4032</c:v>
                </c:pt>
                <c:pt idx="6854">
                  <c:v>4124.4000000000005</c:v>
                </c:pt>
                <c:pt idx="6855">
                  <c:v>4326</c:v>
                </c:pt>
                <c:pt idx="6856">
                  <c:v>4628.4000000000005</c:v>
                </c:pt>
                <c:pt idx="6857">
                  <c:v>4851</c:v>
                </c:pt>
                <c:pt idx="6858">
                  <c:v>5317.2</c:v>
                </c:pt>
                <c:pt idx="6859">
                  <c:v>5665.8</c:v>
                </c:pt>
                <c:pt idx="6860">
                  <c:v>6018.6</c:v>
                </c:pt>
                <c:pt idx="6861">
                  <c:v>6342</c:v>
                </c:pt>
                <c:pt idx="6862">
                  <c:v>6938.4000000000005</c:v>
                </c:pt>
                <c:pt idx="6863">
                  <c:v>6888</c:v>
                </c:pt>
                <c:pt idx="6864">
                  <c:v>6652.8</c:v>
                </c:pt>
                <c:pt idx="6865">
                  <c:v>6455.4000000000005</c:v>
                </c:pt>
                <c:pt idx="6866">
                  <c:v>6274.8</c:v>
                </c:pt>
                <c:pt idx="6867">
                  <c:v>5871.6</c:v>
                </c:pt>
                <c:pt idx="6868">
                  <c:v>5497.8</c:v>
                </c:pt>
                <c:pt idx="6869">
                  <c:v>5241.6000000000004</c:v>
                </c:pt>
                <c:pt idx="6870">
                  <c:v>4884.6000000000004</c:v>
                </c:pt>
                <c:pt idx="6871">
                  <c:v>4880.4000000000005</c:v>
                </c:pt>
                <c:pt idx="6872">
                  <c:v>4762.8</c:v>
                </c:pt>
                <c:pt idx="6873">
                  <c:v>4725</c:v>
                </c:pt>
                <c:pt idx="6874">
                  <c:v>4544.4000000000005</c:v>
                </c:pt>
                <c:pt idx="6875">
                  <c:v>4242</c:v>
                </c:pt>
                <c:pt idx="6876">
                  <c:v>3935.4</c:v>
                </c:pt>
                <c:pt idx="6877">
                  <c:v>3771.6000000000004</c:v>
                </c:pt>
                <c:pt idx="6878">
                  <c:v>3544.8</c:v>
                </c:pt>
                <c:pt idx="6879">
                  <c:v>3519.6000000000004</c:v>
                </c:pt>
                <c:pt idx="6880">
                  <c:v>3532.2000000000003</c:v>
                </c:pt>
                <c:pt idx="6881">
                  <c:v>3603.6000000000004</c:v>
                </c:pt>
                <c:pt idx="6882">
                  <c:v>3771.6000000000004</c:v>
                </c:pt>
                <c:pt idx="6883">
                  <c:v>4187.4000000000005</c:v>
                </c:pt>
                <c:pt idx="6884">
                  <c:v>4582.2</c:v>
                </c:pt>
                <c:pt idx="6885">
                  <c:v>5014.8</c:v>
                </c:pt>
                <c:pt idx="6886">
                  <c:v>5250</c:v>
                </c:pt>
                <c:pt idx="6887">
                  <c:v>5346.6</c:v>
                </c:pt>
                <c:pt idx="6888">
                  <c:v>5758.2</c:v>
                </c:pt>
                <c:pt idx="6889">
                  <c:v>6161.4000000000005</c:v>
                </c:pt>
                <c:pt idx="6890">
                  <c:v>6825</c:v>
                </c:pt>
                <c:pt idx="6891">
                  <c:v>6972</c:v>
                </c:pt>
                <c:pt idx="6892">
                  <c:v>7287</c:v>
                </c:pt>
                <c:pt idx="6893">
                  <c:v>7350</c:v>
                </c:pt>
                <c:pt idx="6894">
                  <c:v>7921.2000000000007</c:v>
                </c:pt>
                <c:pt idx="6895">
                  <c:v>8521.8000000000011</c:v>
                </c:pt>
                <c:pt idx="6896">
                  <c:v>8559.6</c:v>
                </c:pt>
                <c:pt idx="6897">
                  <c:v>8664.6</c:v>
                </c:pt>
                <c:pt idx="6898">
                  <c:v>8458.8000000000011</c:v>
                </c:pt>
                <c:pt idx="6899">
                  <c:v>8093.4000000000005</c:v>
                </c:pt>
                <c:pt idx="6900">
                  <c:v>8038.8</c:v>
                </c:pt>
                <c:pt idx="6901">
                  <c:v>7639.8</c:v>
                </c:pt>
                <c:pt idx="6902">
                  <c:v>6955.2000000000007</c:v>
                </c:pt>
                <c:pt idx="6903">
                  <c:v>7039.2000000000007</c:v>
                </c:pt>
                <c:pt idx="6904">
                  <c:v>7165.2000000000007</c:v>
                </c:pt>
                <c:pt idx="6905">
                  <c:v>7501.2000000000007</c:v>
                </c:pt>
                <c:pt idx="6906">
                  <c:v>8118.6</c:v>
                </c:pt>
                <c:pt idx="6907">
                  <c:v>8681.4</c:v>
                </c:pt>
                <c:pt idx="6908">
                  <c:v>9160.2000000000007</c:v>
                </c:pt>
                <c:pt idx="6909">
                  <c:v>9836.4</c:v>
                </c:pt>
                <c:pt idx="6910">
                  <c:v>10248</c:v>
                </c:pt>
                <c:pt idx="6911">
                  <c:v>10290</c:v>
                </c:pt>
                <c:pt idx="6912">
                  <c:v>10311</c:v>
                </c:pt>
                <c:pt idx="6913">
                  <c:v>10059</c:v>
                </c:pt>
                <c:pt idx="6914">
                  <c:v>10033.800000000001</c:v>
                </c:pt>
                <c:pt idx="6915">
                  <c:v>9567.6</c:v>
                </c:pt>
                <c:pt idx="6916">
                  <c:v>9189.6</c:v>
                </c:pt>
                <c:pt idx="6917">
                  <c:v>9046.8000000000011</c:v>
                </c:pt>
                <c:pt idx="6918">
                  <c:v>8790.6</c:v>
                </c:pt>
                <c:pt idx="6919">
                  <c:v>8496.6</c:v>
                </c:pt>
                <c:pt idx="6920">
                  <c:v>8484</c:v>
                </c:pt>
                <c:pt idx="6921">
                  <c:v>8719.2000000000007</c:v>
                </c:pt>
                <c:pt idx="6922">
                  <c:v>8534.4</c:v>
                </c:pt>
                <c:pt idx="6923">
                  <c:v>8467.2000000000007</c:v>
                </c:pt>
                <c:pt idx="6924">
                  <c:v>8059.8</c:v>
                </c:pt>
                <c:pt idx="6925">
                  <c:v>7652.4000000000005</c:v>
                </c:pt>
                <c:pt idx="6926">
                  <c:v>7161</c:v>
                </c:pt>
                <c:pt idx="6927">
                  <c:v>6606.6</c:v>
                </c:pt>
                <c:pt idx="6928">
                  <c:v>6640.2000000000007</c:v>
                </c:pt>
                <c:pt idx="6929">
                  <c:v>6795.6</c:v>
                </c:pt>
                <c:pt idx="6930">
                  <c:v>6879.6</c:v>
                </c:pt>
                <c:pt idx="6931">
                  <c:v>6774.6</c:v>
                </c:pt>
                <c:pt idx="6932">
                  <c:v>7043.4000000000005</c:v>
                </c:pt>
                <c:pt idx="6933">
                  <c:v>7114.8</c:v>
                </c:pt>
                <c:pt idx="6934">
                  <c:v>7085.4000000000005</c:v>
                </c:pt>
                <c:pt idx="6935">
                  <c:v>6766.2000000000007</c:v>
                </c:pt>
                <c:pt idx="6936">
                  <c:v>7186.2000000000007</c:v>
                </c:pt>
                <c:pt idx="6937">
                  <c:v>7093.8</c:v>
                </c:pt>
                <c:pt idx="6938">
                  <c:v>7219.8</c:v>
                </c:pt>
                <c:pt idx="6939">
                  <c:v>7030.8</c:v>
                </c:pt>
                <c:pt idx="6940">
                  <c:v>7081.2000000000007</c:v>
                </c:pt>
                <c:pt idx="6941">
                  <c:v>6846</c:v>
                </c:pt>
                <c:pt idx="6942">
                  <c:v>6833.4000000000005</c:v>
                </c:pt>
                <c:pt idx="6943">
                  <c:v>6850.2000000000007</c:v>
                </c:pt>
                <c:pt idx="6944">
                  <c:v>6690.6</c:v>
                </c:pt>
                <c:pt idx="6945">
                  <c:v>6808.2000000000007</c:v>
                </c:pt>
                <c:pt idx="6946">
                  <c:v>6594</c:v>
                </c:pt>
                <c:pt idx="6947">
                  <c:v>6577.2000000000007</c:v>
                </c:pt>
                <c:pt idx="6948">
                  <c:v>6291.6</c:v>
                </c:pt>
                <c:pt idx="6949">
                  <c:v>6043.8</c:v>
                </c:pt>
                <c:pt idx="6950">
                  <c:v>5544</c:v>
                </c:pt>
                <c:pt idx="6951">
                  <c:v>5405.4000000000005</c:v>
                </c:pt>
                <c:pt idx="6952">
                  <c:v>5502</c:v>
                </c:pt>
                <c:pt idx="6953">
                  <c:v>5787.6</c:v>
                </c:pt>
                <c:pt idx="6954">
                  <c:v>6018.6</c:v>
                </c:pt>
                <c:pt idx="6955">
                  <c:v>5959.8</c:v>
                </c:pt>
                <c:pt idx="6956">
                  <c:v>5993.4000000000005</c:v>
                </c:pt>
                <c:pt idx="6957">
                  <c:v>5901</c:v>
                </c:pt>
                <c:pt idx="6958">
                  <c:v>6350.4000000000005</c:v>
                </c:pt>
                <c:pt idx="6959">
                  <c:v>6514.2000000000007</c:v>
                </c:pt>
                <c:pt idx="6960">
                  <c:v>6438.6</c:v>
                </c:pt>
                <c:pt idx="6961">
                  <c:v>6413.4000000000005</c:v>
                </c:pt>
                <c:pt idx="6962">
                  <c:v>5934.6</c:v>
                </c:pt>
                <c:pt idx="6963">
                  <c:v>5628</c:v>
                </c:pt>
                <c:pt idx="6964">
                  <c:v>5682.6</c:v>
                </c:pt>
                <c:pt idx="6965">
                  <c:v>5632.2</c:v>
                </c:pt>
                <c:pt idx="6966">
                  <c:v>5321.4000000000005</c:v>
                </c:pt>
                <c:pt idx="6967">
                  <c:v>5266.8</c:v>
                </c:pt>
                <c:pt idx="6968">
                  <c:v>5317.2</c:v>
                </c:pt>
                <c:pt idx="6969">
                  <c:v>5367.6</c:v>
                </c:pt>
                <c:pt idx="6970">
                  <c:v>4998</c:v>
                </c:pt>
                <c:pt idx="6971">
                  <c:v>4645.2</c:v>
                </c:pt>
                <c:pt idx="6972">
                  <c:v>4166.4000000000005</c:v>
                </c:pt>
                <c:pt idx="6973">
                  <c:v>3515.4</c:v>
                </c:pt>
                <c:pt idx="6974">
                  <c:v>2734.2000000000003</c:v>
                </c:pt>
                <c:pt idx="6975">
                  <c:v>2322.6</c:v>
                </c:pt>
                <c:pt idx="6976">
                  <c:v>1957.2</c:v>
                </c:pt>
                <c:pt idx="6977">
                  <c:v>1936.2</c:v>
                </c:pt>
                <c:pt idx="6978">
                  <c:v>1692.6000000000001</c:v>
                </c:pt>
                <c:pt idx="6979">
                  <c:v>1864.8000000000002</c:v>
                </c:pt>
                <c:pt idx="6980">
                  <c:v>2074.8000000000002</c:v>
                </c:pt>
                <c:pt idx="6981">
                  <c:v>2347.8000000000002</c:v>
                </c:pt>
                <c:pt idx="6982">
                  <c:v>2528.4</c:v>
                </c:pt>
                <c:pt idx="6983">
                  <c:v>2473.8000000000002</c:v>
                </c:pt>
                <c:pt idx="6984">
                  <c:v>2473.8000000000002</c:v>
                </c:pt>
                <c:pt idx="6985">
                  <c:v>2255.4</c:v>
                </c:pt>
                <c:pt idx="6986">
                  <c:v>2604</c:v>
                </c:pt>
                <c:pt idx="6987">
                  <c:v>2427.6</c:v>
                </c:pt>
                <c:pt idx="6988">
                  <c:v>2137.8000000000002</c:v>
                </c:pt>
                <c:pt idx="6989">
                  <c:v>1961.4</c:v>
                </c:pt>
                <c:pt idx="6990">
                  <c:v>1776.6000000000001</c:v>
                </c:pt>
                <c:pt idx="6991">
                  <c:v>1600.2</c:v>
                </c:pt>
                <c:pt idx="6992">
                  <c:v>1503.6000000000001</c:v>
                </c:pt>
                <c:pt idx="6993">
                  <c:v>1407</c:v>
                </c:pt>
                <c:pt idx="6994">
                  <c:v>1276.8</c:v>
                </c:pt>
                <c:pt idx="6995">
                  <c:v>1062.6000000000001</c:v>
                </c:pt>
                <c:pt idx="6996">
                  <c:v>852.6</c:v>
                </c:pt>
                <c:pt idx="6997">
                  <c:v>672</c:v>
                </c:pt>
                <c:pt idx="6998">
                  <c:v>617.4</c:v>
                </c:pt>
                <c:pt idx="6999">
                  <c:v>621.6</c:v>
                </c:pt>
                <c:pt idx="7000">
                  <c:v>579.6</c:v>
                </c:pt>
                <c:pt idx="7001">
                  <c:v>625.80000000000007</c:v>
                </c:pt>
                <c:pt idx="7002">
                  <c:v>693</c:v>
                </c:pt>
                <c:pt idx="7003">
                  <c:v>756</c:v>
                </c:pt>
                <c:pt idx="7004">
                  <c:v>793.80000000000007</c:v>
                </c:pt>
                <c:pt idx="7005">
                  <c:v>949.2</c:v>
                </c:pt>
                <c:pt idx="7006">
                  <c:v>1260</c:v>
                </c:pt>
                <c:pt idx="7007">
                  <c:v>1474.2</c:v>
                </c:pt>
                <c:pt idx="7008">
                  <c:v>1365</c:v>
                </c:pt>
                <c:pt idx="7009">
                  <c:v>1285.2</c:v>
                </c:pt>
                <c:pt idx="7010">
                  <c:v>1285.2</c:v>
                </c:pt>
                <c:pt idx="7011">
                  <c:v>1234.8</c:v>
                </c:pt>
                <c:pt idx="7012">
                  <c:v>1071</c:v>
                </c:pt>
                <c:pt idx="7013">
                  <c:v>1024.8</c:v>
                </c:pt>
                <c:pt idx="7014">
                  <c:v>999.6</c:v>
                </c:pt>
                <c:pt idx="7015">
                  <c:v>966</c:v>
                </c:pt>
                <c:pt idx="7016">
                  <c:v>957.6</c:v>
                </c:pt>
                <c:pt idx="7017">
                  <c:v>987</c:v>
                </c:pt>
                <c:pt idx="7018">
                  <c:v>1062.6000000000001</c:v>
                </c:pt>
                <c:pt idx="7019">
                  <c:v>1033.2</c:v>
                </c:pt>
                <c:pt idx="7020">
                  <c:v>1003.8000000000001</c:v>
                </c:pt>
                <c:pt idx="7021">
                  <c:v>940.80000000000007</c:v>
                </c:pt>
                <c:pt idx="7022">
                  <c:v>1180.2</c:v>
                </c:pt>
                <c:pt idx="7023">
                  <c:v>1419.6000000000001</c:v>
                </c:pt>
                <c:pt idx="7024">
                  <c:v>1549.8</c:v>
                </c:pt>
                <c:pt idx="7025">
                  <c:v>1629.6000000000001</c:v>
                </c:pt>
                <c:pt idx="7026">
                  <c:v>1953</c:v>
                </c:pt>
                <c:pt idx="7027">
                  <c:v>2427.6</c:v>
                </c:pt>
                <c:pt idx="7028">
                  <c:v>2751</c:v>
                </c:pt>
                <c:pt idx="7029">
                  <c:v>3091.2000000000003</c:v>
                </c:pt>
                <c:pt idx="7030">
                  <c:v>3280.2000000000003</c:v>
                </c:pt>
                <c:pt idx="7031">
                  <c:v>3196.2000000000003</c:v>
                </c:pt>
                <c:pt idx="7032">
                  <c:v>3355.8</c:v>
                </c:pt>
                <c:pt idx="7033">
                  <c:v>3292.8</c:v>
                </c:pt>
                <c:pt idx="7034">
                  <c:v>3221.4</c:v>
                </c:pt>
                <c:pt idx="7035">
                  <c:v>3175.2000000000003</c:v>
                </c:pt>
                <c:pt idx="7036">
                  <c:v>3171</c:v>
                </c:pt>
                <c:pt idx="7037">
                  <c:v>2977.8</c:v>
                </c:pt>
                <c:pt idx="7038">
                  <c:v>2948.4</c:v>
                </c:pt>
                <c:pt idx="7039">
                  <c:v>2801.4</c:v>
                </c:pt>
                <c:pt idx="7040">
                  <c:v>2667</c:v>
                </c:pt>
                <c:pt idx="7041">
                  <c:v>2574.6</c:v>
                </c:pt>
                <c:pt idx="7042">
                  <c:v>2822.4</c:v>
                </c:pt>
                <c:pt idx="7043">
                  <c:v>3032.4</c:v>
                </c:pt>
                <c:pt idx="7044">
                  <c:v>3376.8</c:v>
                </c:pt>
                <c:pt idx="7045">
                  <c:v>4515</c:v>
                </c:pt>
                <c:pt idx="7046">
                  <c:v>5728.8</c:v>
                </c:pt>
                <c:pt idx="7047">
                  <c:v>6762</c:v>
                </c:pt>
                <c:pt idx="7048">
                  <c:v>7765.8</c:v>
                </c:pt>
                <c:pt idx="7049">
                  <c:v>8824.2000000000007</c:v>
                </c:pt>
                <c:pt idx="7050">
                  <c:v>9903.6</c:v>
                </c:pt>
                <c:pt idx="7051">
                  <c:v>10588.2</c:v>
                </c:pt>
                <c:pt idx="7052">
                  <c:v>11361</c:v>
                </c:pt>
                <c:pt idx="7053">
                  <c:v>12028.800000000001</c:v>
                </c:pt>
                <c:pt idx="7054">
                  <c:v>12751.2</c:v>
                </c:pt>
                <c:pt idx="7055">
                  <c:v>13251</c:v>
                </c:pt>
                <c:pt idx="7056">
                  <c:v>13549.2</c:v>
                </c:pt>
                <c:pt idx="7057">
                  <c:v>13427.400000000001</c:v>
                </c:pt>
                <c:pt idx="7058">
                  <c:v>13557.6</c:v>
                </c:pt>
                <c:pt idx="7059">
                  <c:v>13364.400000000001</c:v>
                </c:pt>
                <c:pt idx="7060">
                  <c:v>12919.2</c:v>
                </c:pt>
                <c:pt idx="7061">
                  <c:v>12713.4</c:v>
                </c:pt>
                <c:pt idx="7062">
                  <c:v>12457.2</c:v>
                </c:pt>
                <c:pt idx="7063">
                  <c:v>12159</c:v>
                </c:pt>
                <c:pt idx="7064">
                  <c:v>12083.4</c:v>
                </c:pt>
                <c:pt idx="7065">
                  <c:v>12049.800000000001</c:v>
                </c:pt>
                <c:pt idx="7066">
                  <c:v>11722.2</c:v>
                </c:pt>
                <c:pt idx="7067">
                  <c:v>11772.6</c:v>
                </c:pt>
                <c:pt idx="7068">
                  <c:v>12096</c:v>
                </c:pt>
                <c:pt idx="7069">
                  <c:v>12616.800000000001</c:v>
                </c:pt>
                <c:pt idx="7070">
                  <c:v>12973.800000000001</c:v>
                </c:pt>
                <c:pt idx="7071">
                  <c:v>13024.2</c:v>
                </c:pt>
                <c:pt idx="7072">
                  <c:v>13217.400000000001</c:v>
                </c:pt>
                <c:pt idx="7073">
                  <c:v>13864.2</c:v>
                </c:pt>
                <c:pt idx="7074">
                  <c:v>14002.800000000001</c:v>
                </c:pt>
                <c:pt idx="7075">
                  <c:v>13645.800000000001</c:v>
                </c:pt>
                <c:pt idx="7076">
                  <c:v>13482</c:v>
                </c:pt>
                <c:pt idx="7077">
                  <c:v>13368.6</c:v>
                </c:pt>
                <c:pt idx="7078">
                  <c:v>13171.2</c:v>
                </c:pt>
                <c:pt idx="7079">
                  <c:v>12902.400000000001</c:v>
                </c:pt>
                <c:pt idx="7080">
                  <c:v>12671.4</c:v>
                </c:pt>
                <c:pt idx="7081">
                  <c:v>12755.4</c:v>
                </c:pt>
                <c:pt idx="7082">
                  <c:v>13486.2</c:v>
                </c:pt>
                <c:pt idx="7083">
                  <c:v>13633.2</c:v>
                </c:pt>
                <c:pt idx="7084">
                  <c:v>14002.800000000001</c:v>
                </c:pt>
                <c:pt idx="7085">
                  <c:v>14334.6</c:v>
                </c:pt>
                <c:pt idx="7086">
                  <c:v>14632.800000000001</c:v>
                </c:pt>
                <c:pt idx="7087">
                  <c:v>15015</c:v>
                </c:pt>
                <c:pt idx="7088">
                  <c:v>15388.800000000001</c:v>
                </c:pt>
                <c:pt idx="7089">
                  <c:v>15548.400000000001</c:v>
                </c:pt>
                <c:pt idx="7090">
                  <c:v>15787.800000000001</c:v>
                </c:pt>
                <c:pt idx="7091">
                  <c:v>15708</c:v>
                </c:pt>
                <c:pt idx="7092">
                  <c:v>15808.800000000001</c:v>
                </c:pt>
                <c:pt idx="7093">
                  <c:v>15796.2</c:v>
                </c:pt>
                <c:pt idx="7094">
                  <c:v>15477</c:v>
                </c:pt>
                <c:pt idx="7095">
                  <c:v>14914.2</c:v>
                </c:pt>
                <c:pt idx="7096">
                  <c:v>13906.2</c:v>
                </c:pt>
                <c:pt idx="7097">
                  <c:v>12595.800000000001</c:v>
                </c:pt>
                <c:pt idx="7098">
                  <c:v>11314.800000000001</c:v>
                </c:pt>
                <c:pt idx="7099">
                  <c:v>9815.4</c:v>
                </c:pt>
                <c:pt idx="7100">
                  <c:v>8156.4000000000005</c:v>
                </c:pt>
                <c:pt idx="7101">
                  <c:v>7677.6</c:v>
                </c:pt>
                <c:pt idx="7102">
                  <c:v>6854.4000000000005</c:v>
                </c:pt>
                <c:pt idx="7103">
                  <c:v>6069</c:v>
                </c:pt>
                <c:pt idx="7104">
                  <c:v>5086.2</c:v>
                </c:pt>
                <c:pt idx="7105">
                  <c:v>4670.4000000000005</c:v>
                </c:pt>
                <c:pt idx="7106">
                  <c:v>4456.2</c:v>
                </c:pt>
                <c:pt idx="7107">
                  <c:v>4418.4000000000005</c:v>
                </c:pt>
                <c:pt idx="7108">
                  <c:v>4561.2</c:v>
                </c:pt>
                <c:pt idx="7109">
                  <c:v>5098.8</c:v>
                </c:pt>
                <c:pt idx="7110">
                  <c:v>5896.8</c:v>
                </c:pt>
                <c:pt idx="7111">
                  <c:v>6577.2000000000007</c:v>
                </c:pt>
                <c:pt idx="7112">
                  <c:v>7287</c:v>
                </c:pt>
                <c:pt idx="7113">
                  <c:v>7686</c:v>
                </c:pt>
                <c:pt idx="7114">
                  <c:v>7950.6</c:v>
                </c:pt>
                <c:pt idx="7115">
                  <c:v>8148</c:v>
                </c:pt>
                <c:pt idx="7116">
                  <c:v>7803.6</c:v>
                </c:pt>
                <c:pt idx="7117">
                  <c:v>7623</c:v>
                </c:pt>
                <c:pt idx="7118">
                  <c:v>8001</c:v>
                </c:pt>
                <c:pt idx="7119">
                  <c:v>7946.4000000000005</c:v>
                </c:pt>
                <c:pt idx="7120">
                  <c:v>8043</c:v>
                </c:pt>
                <c:pt idx="7121">
                  <c:v>8307.6</c:v>
                </c:pt>
                <c:pt idx="7122">
                  <c:v>8849.4</c:v>
                </c:pt>
                <c:pt idx="7123">
                  <c:v>9429</c:v>
                </c:pt>
                <c:pt idx="7124">
                  <c:v>9756.6</c:v>
                </c:pt>
                <c:pt idx="7125">
                  <c:v>10298.4</c:v>
                </c:pt>
                <c:pt idx="7126">
                  <c:v>11167.800000000001</c:v>
                </c:pt>
                <c:pt idx="7127">
                  <c:v>11844</c:v>
                </c:pt>
                <c:pt idx="7128">
                  <c:v>12385.800000000001</c:v>
                </c:pt>
                <c:pt idx="7129">
                  <c:v>12675.6</c:v>
                </c:pt>
                <c:pt idx="7130">
                  <c:v>13120.800000000001</c:v>
                </c:pt>
                <c:pt idx="7131">
                  <c:v>13188</c:v>
                </c:pt>
                <c:pt idx="7132">
                  <c:v>12213.6</c:v>
                </c:pt>
                <c:pt idx="7133">
                  <c:v>12889.800000000001</c:v>
                </c:pt>
                <c:pt idx="7134">
                  <c:v>12658.800000000001</c:v>
                </c:pt>
                <c:pt idx="7135">
                  <c:v>12335.4</c:v>
                </c:pt>
                <c:pt idx="7136">
                  <c:v>11944.800000000001</c:v>
                </c:pt>
                <c:pt idx="7137">
                  <c:v>11277</c:v>
                </c:pt>
                <c:pt idx="7138">
                  <c:v>11491.2</c:v>
                </c:pt>
                <c:pt idx="7139">
                  <c:v>11449.2</c:v>
                </c:pt>
                <c:pt idx="7140">
                  <c:v>11583.6</c:v>
                </c:pt>
                <c:pt idx="7141">
                  <c:v>11814.6</c:v>
                </c:pt>
                <c:pt idx="7142">
                  <c:v>12163.2</c:v>
                </c:pt>
                <c:pt idx="7143">
                  <c:v>12213.6</c:v>
                </c:pt>
                <c:pt idx="7144">
                  <c:v>12457.2</c:v>
                </c:pt>
                <c:pt idx="7145">
                  <c:v>12889.800000000001</c:v>
                </c:pt>
                <c:pt idx="7146">
                  <c:v>13435.800000000001</c:v>
                </c:pt>
                <c:pt idx="7147">
                  <c:v>13776</c:v>
                </c:pt>
                <c:pt idx="7148">
                  <c:v>13990.2</c:v>
                </c:pt>
                <c:pt idx="7149">
                  <c:v>14464.800000000001</c:v>
                </c:pt>
                <c:pt idx="7150">
                  <c:v>14473.2</c:v>
                </c:pt>
                <c:pt idx="7151">
                  <c:v>14242.2</c:v>
                </c:pt>
                <c:pt idx="7152">
                  <c:v>13876.800000000001</c:v>
                </c:pt>
                <c:pt idx="7153">
                  <c:v>13297.2</c:v>
                </c:pt>
                <c:pt idx="7154">
                  <c:v>12490.800000000001</c:v>
                </c:pt>
                <c:pt idx="7155">
                  <c:v>11873.4</c:v>
                </c:pt>
                <c:pt idx="7156">
                  <c:v>11134.2</c:v>
                </c:pt>
                <c:pt idx="7157">
                  <c:v>10092.6</c:v>
                </c:pt>
                <c:pt idx="7158">
                  <c:v>9101.4</c:v>
                </c:pt>
                <c:pt idx="7159">
                  <c:v>8051.4000000000005</c:v>
                </c:pt>
                <c:pt idx="7160">
                  <c:v>7144.2000000000007</c:v>
                </c:pt>
                <c:pt idx="7161">
                  <c:v>6468</c:v>
                </c:pt>
                <c:pt idx="7162">
                  <c:v>5590.2</c:v>
                </c:pt>
                <c:pt idx="7163">
                  <c:v>4796.4000000000005</c:v>
                </c:pt>
                <c:pt idx="7164">
                  <c:v>4090.8</c:v>
                </c:pt>
                <c:pt idx="7165">
                  <c:v>3817.8</c:v>
                </c:pt>
                <c:pt idx="7166">
                  <c:v>3679.2000000000003</c:v>
                </c:pt>
                <c:pt idx="7167">
                  <c:v>3809.4</c:v>
                </c:pt>
                <c:pt idx="7168">
                  <c:v>4473</c:v>
                </c:pt>
                <c:pt idx="7169">
                  <c:v>5199.6000000000004</c:v>
                </c:pt>
                <c:pt idx="7170">
                  <c:v>5913.6</c:v>
                </c:pt>
                <c:pt idx="7171">
                  <c:v>7291.2000000000007</c:v>
                </c:pt>
                <c:pt idx="7172">
                  <c:v>8416.8000000000011</c:v>
                </c:pt>
                <c:pt idx="7173">
                  <c:v>8723.4</c:v>
                </c:pt>
                <c:pt idx="7174">
                  <c:v>9088.8000000000011</c:v>
                </c:pt>
                <c:pt idx="7175">
                  <c:v>8967</c:v>
                </c:pt>
                <c:pt idx="7176">
                  <c:v>8975.4</c:v>
                </c:pt>
                <c:pt idx="7177">
                  <c:v>9164.4</c:v>
                </c:pt>
                <c:pt idx="7178">
                  <c:v>9030</c:v>
                </c:pt>
                <c:pt idx="7179">
                  <c:v>8803.2000000000007</c:v>
                </c:pt>
                <c:pt idx="7180">
                  <c:v>8421</c:v>
                </c:pt>
                <c:pt idx="7181">
                  <c:v>7925.4000000000005</c:v>
                </c:pt>
                <c:pt idx="7182">
                  <c:v>7400.4000000000005</c:v>
                </c:pt>
                <c:pt idx="7183">
                  <c:v>7182</c:v>
                </c:pt>
                <c:pt idx="7184">
                  <c:v>6610.8</c:v>
                </c:pt>
                <c:pt idx="7185">
                  <c:v>6090</c:v>
                </c:pt>
                <c:pt idx="7186">
                  <c:v>5128.2</c:v>
                </c:pt>
                <c:pt idx="7187">
                  <c:v>4145.4000000000005</c:v>
                </c:pt>
                <c:pt idx="7188">
                  <c:v>3977.4</c:v>
                </c:pt>
                <c:pt idx="7189">
                  <c:v>3129</c:v>
                </c:pt>
                <c:pt idx="7190">
                  <c:v>2406.6</c:v>
                </c:pt>
                <c:pt idx="7191">
                  <c:v>1856.4</c:v>
                </c:pt>
                <c:pt idx="7192">
                  <c:v>1642.2</c:v>
                </c:pt>
                <c:pt idx="7193">
                  <c:v>1633.8000000000002</c:v>
                </c:pt>
                <c:pt idx="7194">
                  <c:v>1730.4</c:v>
                </c:pt>
                <c:pt idx="7195">
                  <c:v>2028.6000000000001</c:v>
                </c:pt>
                <c:pt idx="7196">
                  <c:v>2436</c:v>
                </c:pt>
                <c:pt idx="7197">
                  <c:v>2843.4</c:v>
                </c:pt>
                <c:pt idx="7198">
                  <c:v>3271.8</c:v>
                </c:pt>
                <c:pt idx="7199">
                  <c:v>3712.8</c:v>
                </c:pt>
                <c:pt idx="7200">
                  <c:v>4284</c:v>
                </c:pt>
                <c:pt idx="7201">
                  <c:v>5136.6000000000004</c:v>
                </c:pt>
                <c:pt idx="7202">
                  <c:v>5758.2</c:v>
                </c:pt>
                <c:pt idx="7203">
                  <c:v>6241.2</c:v>
                </c:pt>
                <c:pt idx="7204">
                  <c:v>6833.4000000000005</c:v>
                </c:pt>
                <c:pt idx="7205">
                  <c:v>7350</c:v>
                </c:pt>
                <c:pt idx="7206">
                  <c:v>7933.8</c:v>
                </c:pt>
                <c:pt idx="7207">
                  <c:v>8038.8</c:v>
                </c:pt>
                <c:pt idx="7208">
                  <c:v>8097.6</c:v>
                </c:pt>
                <c:pt idx="7209">
                  <c:v>7728</c:v>
                </c:pt>
                <c:pt idx="7210">
                  <c:v>7669.2000000000007</c:v>
                </c:pt>
                <c:pt idx="7211">
                  <c:v>7576.8</c:v>
                </c:pt>
                <c:pt idx="7212">
                  <c:v>7161</c:v>
                </c:pt>
                <c:pt idx="7213">
                  <c:v>6560.4000000000005</c:v>
                </c:pt>
                <c:pt idx="7214">
                  <c:v>5695.2</c:v>
                </c:pt>
                <c:pt idx="7215">
                  <c:v>5292</c:v>
                </c:pt>
                <c:pt idx="7216">
                  <c:v>5460</c:v>
                </c:pt>
                <c:pt idx="7217">
                  <c:v>5409.6</c:v>
                </c:pt>
                <c:pt idx="7218">
                  <c:v>5510.4000000000005</c:v>
                </c:pt>
                <c:pt idx="7219">
                  <c:v>5829.6</c:v>
                </c:pt>
                <c:pt idx="7220">
                  <c:v>5993.4000000000005</c:v>
                </c:pt>
                <c:pt idx="7221">
                  <c:v>6018.6</c:v>
                </c:pt>
                <c:pt idx="7222">
                  <c:v>5972.4000000000005</c:v>
                </c:pt>
                <c:pt idx="7223">
                  <c:v>5796</c:v>
                </c:pt>
                <c:pt idx="7224">
                  <c:v>5623.8</c:v>
                </c:pt>
                <c:pt idx="7225">
                  <c:v>5187</c:v>
                </c:pt>
                <c:pt idx="7226">
                  <c:v>4968.6000000000004</c:v>
                </c:pt>
                <c:pt idx="7227">
                  <c:v>4573.8</c:v>
                </c:pt>
                <c:pt idx="7228">
                  <c:v>4195.8</c:v>
                </c:pt>
                <c:pt idx="7229">
                  <c:v>3754.8</c:v>
                </c:pt>
                <c:pt idx="7230">
                  <c:v>3427.2000000000003</c:v>
                </c:pt>
                <c:pt idx="7231">
                  <c:v>3364.2000000000003</c:v>
                </c:pt>
                <c:pt idx="7232">
                  <c:v>3208.8</c:v>
                </c:pt>
                <c:pt idx="7233">
                  <c:v>3078.6</c:v>
                </c:pt>
                <c:pt idx="7234">
                  <c:v>2772</c:v>
                </c:pt>
                <c:pt idx="7235">
                  <c:v>2364.6</c:v>
                </c:pt>
                <c:pt idx="7236">
                  <c:v>2079</c:v>
                </c:pt>
                <c:pt idx="7237">
                  <c:v>1797.6000000000001</c:v>
                </c:pt>
                <c:pt idx="7238">
                  <c:v>1545.6000000000001</c:v>
                </c:pt>
                <c:pt idx="7239">
                  <c:v>1310.4000000000001</c:v>
                </c:pt>
                <c:pt idx="7240">
                  <c:v>1306.2</c:v>
                </c:pt>
                <c:pt idx="7241">
                  <c:v>1318.8</c:v>
                </c:pt>
                <c:pt idx="7242">
                  <c:v>1537.2</c:v>
                </c:pt>
                <c:pt idx="7243">
                  <c:v>1852.2</c:v>
                </c:pt>
                <c:pt idx="7244">
                  <c:v>2066.4</c:v>
                </c:pt>
                <c:pt idx="7245">
                  <c:v>2280.6</c:v>
                </c:pt>
                <c:pt idx="7246">
                  <c:v>2310</c:v>
                </c:pt>
                <c:pt idx="7247">
                  <c:v>2343.6</c:v>
                </c:pt>
                <c:pt idx="7248">
                  <c:v>2293.2000000000003</c:v>
                </c:pt>
                <c:pt idx="7249">
                  <c:v>2184</c:v>
                </c:pt>
                <c:pt idx="7250">
                  <c:v>2142</c:v>
                </c:pt>
                <c:pt idx="7251">
                  <c:v>2028.6000000000001</c:v>
                </c:pt>
                <c:pt idx="7252">
                  <c:v>1881.6000000000001</c:v>
                </c:pt>
                <c:pt idx="7253">
                  <c:v>2175.6</c:v>
                </c:pt>
                <c:pt idx="7254">
                  <c:v>2457</c:v>
                </c:pt>
                <c:pt idx="7255">
                  <c:v>2604</c:v>
                </c:pt>
                <c:pt idx="7256">
                  <c:v>2877</c:v>
                </c:pt>
                <c:pt idx="7257">
                  <c:v>3070.2000000000003</c:v>
                </c:pt>
                <c:pt idx="7258">
                  <c:v>3141.6</c:v>
                </c:pt>
                <c:pt idx="7259">
                  <c:v>3082.8</c:v>
                </c:pt>
                <c:pt idx="7260">
                  <c:v>3082.8</c:v>
                </c:pt>
                <c:pt idx="7261">
                  <c:v>2944.2000000000003</c:v>
                </c:pt>
                <c:pt idx="7262">
                  <c:v>2948.4</c:v>
                </c:pt>
                <c:pt idx="7263">
                  <c:v>3099.6</c:v>
                </c:pt>
                <c:pt idx="7264">
                  <c:v>3406.2000000000003</c:v>
                </c:pt>
                <c:pt idx="7265">
                  <c:v>3893.4</c:v>
                </c:pt>
                <c:pt idx="7266">
                  <c:v>4162.2</c:v>
                </c:pt>
                <c:pt idx="7267">
                  <c:v>4439.4000000000005</c:v>
                </c:pt>
                <c:pt idx="7268">
                  <c:v>4825.8</c:v>
                </c:pt>
                <c:pt idx="7269">
                  <c:v>5590.2</c:v>
                </c:pt>
                <c:pt idx="7270">
                  <c:v>6085.8</c:v>
                </c:pt>
                <c:pt idx="7271">
                  <c:v>6560.4000000000005</c:v>
                </c:pt>
                <c:pt idx="7272">
                  <c:v>6988.8</c:v>
                </c:pt>
                <c:pt idx="7273">
                  <c:v>7156.8</c:v>
                </c:pt>
                <c:pt idx="7274">
                  <c:v>7644</c:v>
                </c:pt>
                <c:pt idx="7275">
                  <c:v>7723.8</c:v>
                </c:pt>
                <c:pt idx="7276">
                  <c:v>8038.8</c:v>
                </c:pt>
                <c:pt idx="7277">
                  <c:v>8064</c:v>
                </c:pt>
                <c:pt idx="7278">
                  <c:v>7946.4000000000005</c:v>
                </c:pt>
                <c:pt idx="7279">
                  <c:v>7812</c:v>
                </c:pt>
                <c:pt idx="7280">
                  <c:v>7648.2000000000007</c:v>
                </c:pt>
                <c:pt idx="7281">
                  <c:v>7442.4000000000005</c:v>
                </c:pt>
                <c:pt idx="7282">
                  <c:v>7261.8</c:v>
                </c:pt>
                <c:pt idx="7283">
                  <c:v>6867</c:v>
                </c:pt>
                <c:pt idx="7284">
                  <c:v>6417.6</c:v>
                </c:pt>
                <c:pt idx="7285">
                  <c:v>6258</c:v>
                </c:pt>
                <c:pt idx="7286">
                  <c:v>5674.2</c:v>
                </c:pt>
                <c:pt idx="7287">
                  <c:v>5409.6</c:v>
                </c:pt>
                <c:pt idx="7288">
                  <c:v>5699.4000000000005</c:v>
                </c:pt>
                <c:pt idx="7289">
                  <c:v>6300</c:v>
                </c:pt>
                <c:pt idx="7290">
                  <c:v>6900.6</c:v>
                </c:pt>
                <c:pt idx="7291">
                  <c:v>7581</c:v>
                </c:pt>
                <c:pt idx="7292">
                  <c:v>8223.6</c:v>
                </c:pt>
                <c:pt idx="7293">
                  <c:v>9618</c:v>
                </c:pt>
                <c:pt idx="7294">
                  <c:v>10479</c:v>
                </c:pt>
                <c:pt idx="7295">
                  <c:v>11361</c:v>
                </c:pt>
                <c:pt idx="7296">
                  <c:v>11877.6</c:v>
                </c:pt>
                <c:pt idx="7297">
                  <c:v>12209.4</c:v>
                </c:pt>
                <c:pt idx="7298">
                  <c:v>13171.2</c:v>
                </c:pt>
                <c:pt idx="7299">
                  <c:v>13099.800000000001</c:v>
                </c:pt>
                <c:pt idx="7300">
                  <c:v>12915</c:v>
                </c:pt>
                <c:pt idx="7301">
                  <c:v>12684</c:v>
                </c:pt>
                <c:pt idx="7302">
                  <c:v>12398.4</c:v>
                </c:pt>
                <c:pt idx="7303">
                  <c:v>12196.800000000001</c:v>
                </c:pt>
                <c:pt idx="7304">
                  <c:v>11810.4</c:v>
                </c:pt>
                <c:pt idx="7305">
                  <c:v>11335.800000000001</c:v>
                </c:pt>
                <c:pt idx="7306">
                  <c:v>11268.6</c:v>
                </c:pt>
                <c:pt idx="7307">
                  <c:v>11369.4</c:v>
                </c:pt>
                <c:pt idx="7308">
                  <c:v>11440.800000000001</c:v>
                </c:pt>
                <c:pt idx="7309">
                  <c:v>11411.4</c:v>
                </c:pt>
                <c:pt idx="7310">
                  <c:v>11579.4</c:v>
                </c:pt>
                <c:pt idx="7311">
                  <c:v>11508</c:v>
                </c:pt>
                <c:pt idx="7312">
                  <c:v>11583.6</c:v>
                </c:pt>
                <c:pt idx="7313">
                  <c:v>11457.6</c:v>
                </c:pt>
                <c:pt idx="7314">
                  <c:v>11403</c:v>
                </c:pt>
                <c:pt idx="7315">
                  <c:v>11516.4</c:v>
                </c:pt>
                <c:pt idx="7316">
                  <c:v>11587.800000000001</c:v>
                </c:pt>
                <c:pt idx="7317">
                  <c:v>11831.4</c:v>
                </c:pt>
                <c:pt idx="7318">
                  <c:v>11928</c:v>
                </c:pt>
                <c:pt idx="7319">
                  <c:v>11886</c:v>
                </c:pt>
                <c:pt idx="7320">
                  <c:v>11978.4</c:v>
                </c:pt>
                <c:pt idx="7321">
                  <c:v>12453</c:v>
                </c:pt>
                <c:pt idx="7322">
                  <c:v>12738.6</c:v>
                </c:pt>
                <c:pt idx="7323">
                  <c:v>13032.6</c:v>
                </c:pt>
                <c:pt idx="7324">
                  <c:v>13200.6</c:v>
                </c:pt>
                <c:pt idx="7325">
                  <c:v>13448.400000000001</c:v>
                </c:pt>
                <c:pt idx="7326">
                  <c:v>13666.800000000001</c:v>
                </c:pt>
                <c:pt idx="7327">
                  <c:v>13616.400000000001</c:v>
                </c:pt>
                <c:pt idx="7328">
                  <c:v>13503</c:v>
                </c:pt>
                <c:pt idx="7329">
                  <c:v>12952.800000000001</c:v>
                </c:pt>
                <c:pt idx="7330">
                  <c:v>12604.2</c:v>
                </c:pt>
                <c:pt idx="7331">
                  <c:v>12280.800000000001</c:v>
                </c:pt>
                <c:pt idx="7332">
                  <c:v>12541.2</c:v>
                </c:pt>
                <c:pt idx="7333">
                  <c:v>12117</c:v>
                </c:pt>
                <c:pt idx="7334">
                  <c:v>12243</c:v>
                </c:pt>
                <c:pt idx="7335">
                  <c:v>12285</c:v>
                </c:pt>
                <c:pt idx="7336">
                  <c:v>12243</c:v>
                </c:pt>
                <c:pt idx="7337">
                  <c:v>12142.2</c:v>
                </c:pt>
                <c:pt idx="7338">
                  <c:v>12352.2</c:v>
                </c:pt>
                <c:pt idx="7339">
                  <c:v>12268.2</c:v>
                </c:pt>
                <c:pt idx="7340">
                  <c:v>11797.800000000001</c:v>
                </c:pt>
                <c:pt idx="7341">
                  <c:v>11625.6</c:v>
                </c:pt>
                <c:pt idx="7342">
                  <c:v>10920</c:v>
                </c:pt>
                <c:pt idx="7343">
                  <c:v>10353</c:v>
                </c:pt>
                <c:pt idx="7344">
                  <c:v>9823.8000000000011</c:v>
                </c:pt>
                <c:pt idx="7345">
                  <c:v>8925</c:v>
                </c:pt>
                <c:pt idx="7346">
                  <c:v>9164.4</c:v>
                </c:pt>
                <c:pt idx="7347">
                  <c:v>8912.4</c:v>
                </c:pt>
                <c:pt idx="7348">
                  <c:v>8479.8000000000011</c:v>
                </c:pt>
                <c:pt idx="7349">
                  <c:v>8076.6</c:v>
                </c:pt>
                <c:pt idx="7350">
                  <c:v>7908.6</c:v>
                </c:pt>
                <c:pt idx="7351">
                  <c:v>7350</c:v>
                </c:pt>
                <c:pt idx="7352">
                  <c:v>6665.4000000000005</c:v>
                </c:pt>
                <c:pt idx="7353">
                  <c:v>6468</c:v>
                </c:pt>
                <c:pt idx="7354">
                  <c:v>6098.4000000000005</c:v>
                </c:pt>
                <c:pt idx="7355">
                  <c:v>5455.8</c:v>
                </c:pt>
                <c:pt idx="7356">
                  <c:v>5077.8</c:v>
                </c:pt>
                <c:pt idx="7357">
                  <c:v>5430.6</c:v>
                </c:pt>
                <c:pt idx="7358">
                  <c:v>5313</c:v>
                </c:pt>
                <c:pt idx="7359">
                  <c:v>5392.8</c:v>
                </c:pt>
                <c:pt idx="7360">
                  <c:v>5422.2</c:v>
                </c:pt>
                <c:pt idx="7361">
                  <c:v>5565</c:v>
                </c:pt>
                <c:pt idx="7362">
                  <c:v>5691</c:v>
                </c:pt>
                <c:pt idx="7363">
                  <c:v>6069</c:v>
                </c:pt>
                <c:pt idx="7364">
                  <c:v>6678</c:v>
                </c:pt>
                <c:pt idx="7365">
                  <c:v>7102.2000000000007</c:v>
                </c:pt>
                <c:pt idx="7366">
                  <c:v>7190.4000000000005</c:v>
                </c:pt>
                <c:pt idx="7367">
                  <c:v>7341.6</c:v>
                </c:pt>
                <c:pt idx="7368">
                  <c:v>7564.2000000000007</c:v>
                </c:pt>
                <c:pt idx="7369">
                  <c:v>7597.8</c:v>
                </c:pt>
                <c:pt idx="7370">
                  <c:v>8043</c:v>
                </c:pt>
                <c:pt idx="7371">
                  <c:v>7908.6</c:v>
                </c:pt>
                <c:pt idx="7372">
                  <c:v>7854</c:v>
                </c:pt>
                <c:pt idx="7373">
                  <c:v>7732.2000000000007</c:v>
                </c:pt>
                <c:pt idx="7374">
                  <c:v>7471.8</c:v>
                </c:pt>
                <c:pt idx="7375">
                  <c:v>6820.8</c:v>
                </c:pt>
                <c:pt idx="7376">
                  <c:v>6568.8</c:v>
                </c:pt>
                <c:pt idx="7377">
                  <c:v>5926.2</c:v>
                </c:pt>
                <c:pt idx="7378">
                  <c:v>6132</c:v>
                </c:pt>
                <c:pt idx="7379">
                  <c:v>5867.4000000000005</c:v>
                </c:pt>
                <c:pt idx="7380">
                  <c:v>5712</c:v>
                </c:pt>
                <c:pt idx="7381">
                  <c:v>5321.4000000000005</c:v>
                </c:pt>
                <c:pt idx="7382">
                  <c:v>5115.6000000000004</c:v>
                </c:pt>
                <c:pt idx="7383">
                  <c:v>5002.2</c:v>
                </c:pt>
                <c:pt idx="7384">
                  <c:v>5363.4000000000005</c:v>
                </c:pt>
                <c:pt idx="7385">
                  <c:v>5178.6000000000004</c:v>
                </c:pt>
                <c:pt idx="7386">
                  <c:v>5224.8</c:v>
                </c:pt>
                <c:pt idx="7387">
                  <c:v>5111.4000000000005</c:v>
                </c:pt>
                <c:pt idx="7388">
                  <c:v>4918.2</c:v>
                </c:pt>
                <c:pt idx="7389">
                  <c:v>4628.4000000000005</c:v>
                </c:pt>
                <c:pt idx="7390">
                  <c:v>4414.2</c:v>
                </c:pt>
                <c:pt idx="7391">
                  <c:v>4036.2000000000003</c:v>
                </c:pt>
                <c:pt idx="7392">
                  <c:v>3549</c:v>
                </c:pt>
                <c:pt idx="7393">
                  <c:v>2931.6</c:v>
                </c:pt>
                <c:pt idx="7394">
                  <c:v>2692.2000000000003</c:v>
                </c:pt>
                <c:pt idx="7395">
                  <c:v>2524.2000000000003</c:v>
                </c:pt>
                <c:pt idx="7396">
                  <c:v>2562</c:v>
                </c:pt>
                <c:pt idx="7397">
                  <c:v>2226</c:v>
                </c:pt>
                <c:pt idx="7398">
                  <c:v>2011.8000000000002</c:v>
                </c:pt>
                <c:pt idx="7399">
                  <c:v>2125.2000000000003</c:v>
                </c:pt>
                <c:pt idx="7400">
                  <c:v>2213.4</c:v>
                </c:pt>
                <c:pt idx="7401">
                  <c:v>2385.6</c:v>
                </c:pt>
                <c:pt idx="7402">
                  <c:v>2709</c:v>
                </c:pt>
                <c:pt idx="7403">
                  <c:v>2826.6</c:v>
                </c:pt>
                <c:pt idx="7404">
                  <c:v>2742.6</c:v>
                </c:pt>
                <c:pt idx="7405">
                  <c:v>2814</c:v>
                </c:pt>
                <c:pt idx="7406">
                  <c:v>2977.8</c:v>
                </c:pt>
                <c:pt idx="7407">
                  <c:v>2835</c:v>
                </c:pt>
                <c:pt idx="7408">
                  <c:v>2515.8000000000002</c:v>
                </c:pt>
                <c:pt idx="7409">
                  <c:v>2242.8000000000002</c:v>
                </c:pt>
                <c:pt idx="7410">
                  <c:v>1923.6000000000001</c:v>
                </c:pt>
                <c:pt idx="7411">
                  <c:v>1843.8000000000002</c:v>
                </c:pt>
                <c:pt idx="7412">
                  <c:v>1780.8000000000002</c:v>
                </c:pt>
                <c:pt idx="7413">
                  <c:v>1650.6000000000001</c:v>
                </c:pt>
                <c:pt idx="7414">
                  <c:v>1596</c:v>
                </c:pt>
                <c:pt idx="7415">
                  <c:v>1520.4</c:v>
                </c:pt>
                <c:pt idx="7416">
                  <c:v>1453.2</c:v>
                </c:pt>
                <c:pt idx="7417">
                  <c:v>1348.2</c:v>
                </c:pt>
                <c:pt idx="7418">
                  <c:v>1222.2</c:v>
                </c:pt>
                <c:pt idx="7419">
                  <c:v>1218</c:v>
                </c:pt>
                <c:pt idx="7420">
                  <c:v>1503.6000000000001</c:v>
                </c:pt>
                <c:pt idx="7421">
                  <c:v>1495.2</c:v>
                </c:pt>
                <c:pt idx="7422">
                  <c:v>1327.2</c:v>
                </c:pt>
                <c:pt idx="7423">
                  <c:v>1390.2</c:v>
                </c:pt>
                <c:pt idx="7424">
                  <c:v>1503.6000000000001</c:v>
                </c:pt>
                <c:pt idx="7425">
                  <c:v>1545.6000000000001</c:v>
                </c:pt>
                <c:pt idx="7426">
                  <c:v>1684.2</c:v>
                </c:pt>
                <c:pt idx="7427">
                  <c:v>1566.6000000000001</c:v>
                </c:pt>
                <c:pt idx="7428">
                  <c:v>1524.6000000000001</c:v>
                </c:pt>
                <c:pt idx="7429">
                  <c:v>1470</c:v>
                </c:pt>
                <c:pt idx="7430">
                  <c:v>1608.6000000000001</c:v>
                </c:pt>
                <c:pt idx="7431">
                  <c:v>1705.2</c:v>
                </c:pt>
                <c:pt idx="7432">
                  <c:v>1764</c:v>
                </c:pt>
                <c:pt idx="7433">
                  <c:v>2146.2000000000003</c:v>
                </c:pt>
                <c:pt idx="7434">
                  <c:v>2427.6</c:v>
                </c:pt>
                <c:pt idx="7435">
                  <c:v>2662.8</c:v>
                </c:pt>
                <c:pt idx="7436">
                  <c:v>3053.4</c:v>
                </c:pt>
                <c:pt idx="7437">
                  <c:v>3557.4</c:v>
                </c:pt>
                <c:pt idx="7438">
                  <c:v>4296.6000000000004</c:v>
                </c:pt>
                <c:pt idx="7439">
                  <c:v>4447.8</c:v>
                </c:pt>
                <c:pt idx="7440">
                  <c:v>4846.8</c:v>
                </c:pt>
                <c:pt idx="7441">
                  <c:v>5250</c:v>
                </c:pt>
                <c:pt idx="7442">
                  <c:v>5817</c:v>
                </c:pt>
                <c:pt idx="7443">
                  <c:v>5922</c:v>
                </c:pt>
                <c:pt idx="7444">
                  <c:v>6400.8</c:v>
                </c:pt>
                <c:pt idx="7445">
                  <c:v>6867</c:v>
                </c:pt>
                <c:pt idx="7446">
                  <c:v>7119</c:v>
                </c:pt>
                <c:pt idx="7447">
                  <c:v>7463.4000000000005</c:v>
                </c:pt>
                <c:pt idx="7448">
                  <c:v>8181.6</c:v>
                </c:pt>
                <c:pt idx="7449">
                  <c:v>8677.2000000000007</c:v>
                </c:pt>
                <c:pt idx="7450">
                  <c:v>8807.4</c:v>
                </c:pt>
                <c:pt idx="7451">
                  <c:v>8572.2000000000007</c:v>
                </c:pt>
                <c:pt idx="7452">
                  <c:v>8740.2000000000007</c:v>
                </c:pt>
                <c:pt idx="7453">
                  <c:v>8534.4</c:v>
                </c:pt>
                <c:pt idx="7454">
                  <c:v>8152.2000000000007</c:v>
                </c:pt>
                <c:pt idx="7455">
                  <c:v>7585.2000000000007</c:v>
                </c:pt>
                <c:pt idx="7456">
                  <c:v>7450.8</c:v>
                </c:pt>
                <c:pt idx="7457">
                  <c:v>6921.6</c:v>
                </c:pt>
                <c:pt idx="7458">
                  <c:v>6510</c:v>
                </c:pt>
                <c:pt idx="7459">
                  <c:v>6094.2</c:v>
                </c:pt>
                <c:pt idx="7460">
                  <c:v>5447.4000000000005</c:v>
                </c:pt>
                <c:pt idx="7461">
                  <c:v>5775</c:v>
                </c:pt>
                <c:pt idx="7462">
                  <c:v>5909.4000000000005</c:v>
                </c:pt>
                <c:pt idx="7463">
                  <c:v>6027</c:v>
                </c:pt>
                <c:pt idx="7464">
                  <c:v>6434.4000000000005</c:v>
                </c:pt>
                <c:pt idx="7465">
                  <c:v>6762</c:v>
                </c:pt>
                <c:pt idx="7466">
                  <c:v>7954.8</c:v>
                </c:pt>
                <c:pt idx="7467">
                  <c:v>8962.8000000000011</c:v>
                </c:pt>
                <c:pt idx="7468">
                  <c:v>9475.2000000000007</c:v>
                </c:pt>
                <c:pt idx="7469">
                  <c:v>9840.6</c:v>
                </c:pt>
                <c:pt idx="7470">
                  <c:v>10344.6</c:v>
                </c:pt>
                <c:pt idx="7471">
                  <c:v>11104.800000000001</c:v>
                </c:pt>
                <c:pt idx="7472">
                  <c:v>11982.6</c:v>
                </c:pt>
                <c:pt idx="7473">
                  <c:v>12310.2</c:v>
                </c:pt>
                <c:pt idx="7474">
                  <c:v>12600</c:v>
                </c:pt>
                <c:pt idx="7475">
                  <c:v>12595.800000000001</c:v>
                </c:pt>
                <c:pt idx="7476">
                  <c:v>12012</c:v>
                </c:pt>
                <c:pt idx="7477">
                  <c:v>11348.4</c:v>
                </c:pt>
                <c:pt idx="7478">
                  <c:v>10710</c:v>
                </c:pt>
                <c:pt idx="7479">
                  <c:v>9790.2000000000007</c:v>
                </c:pt>
                <c:pt idx="7480">
                  <c:v>8811.6</c:v>
                </c:pt>
                <c:pt idx="7481">
                  <c:v>7480.2000000000007</c:v>
                </c:pt>
                <c:pt idx="7482">
                  <c:v>6804</c:v>
                </c:pt>
                <c:pt idx="7483">
                  <c:v>5422.2</c:v>
                </c:pt>
                <c:pt idx="7484">
                  <c:v>4662</c:v>
                </c:pt>
                <c:pt idx="7485">
                  <c:v>3880.8</c:v>
                </c:pt>
                <c:pt idx="7486">
                  <c:v>3595.2000000000003</c:v>
                </c:pt>
                <c:pt idx="7487">
                  <c:v>3738</c:v>
                </c:pt>
                <c:pt idx="7488">
                  <c:v>4237.8</c:v>
                </c:pt>
                <c:pt idx="7489">
                  <c:v>5397</c:v>
                </c:pt>
                <c:pt idx="7490">
                  <c:v>7665</c:v>
                </c:pt>
                <c:pt idx="7491">
                  <c:v>9714.6</c:v>
                </c:pt>
                <c:pt idx="7492">
                  <c:v>11671.800000000001</c:v>
                </c:pt>
                <c:pt idx="7493">
                  <c:v>13524</c:v>
                </c:pt>
                <c:pt idx="7494">
                  <c:v>14523.6</c:v>
                </c:pt>
                <c:pt idx="7495">
                  <c:v>15036</c:v>
                </c:pt>
                <c:pt idx="7496">
                  <c:v>15027.6</c:v>
                </c:pt>
                <c:pt idx="7497">
                  <c:v>14855.400000000001</c:v>
                </c:pt>
                <c:pt idx="7498">
                  <c:v>14809.2</c:v>
                </c:pt>
                <c:pt idx="7499">
                  <c:v>14586.6</c:v>
                </c:pt>
                <c:pt idx="7500">
                  <c:v>13956.6</c:v>
                </c:pt>
                <c:pt idx="7501">
                  <c:v>13662.6</c:v>
                </c:pt>
                <c:pt idx="7502">
                  <c:v>13511.400000000001</c:v>
                </c:pt>
                <c:pt idx="7503">
                  <c:v>13045.2</c:v>
                </c:pt>
                <c:pt idx="7504">
                  <c:v>12873</c:v>
                </c:pt>
                <c:pt idx="7505">
                  <c:v>12705</c:v>
                </c:pt>
                <c:pt idx="7506">
                  <c:v>12768</c:v>
                </c:pt>
                <c:pt idx="7507">
                  <c:v>12679.800000000001</c:v>
                </c:pt>
                <c:pt idx="7508">
                  <c:v>12684</c:v>
                </c:pt>
                <c:pt idx="7509">
                  <c:v>12877.2</c:v>
                </c:pt>
                <c:pt idx="7510">
                  <c:v>12952.800000000001</c:v>
                </c:pt>
                <c:pt idx="7511">
                  <c:v>12814.2</c:v>
                </c:pt>
                <c:pt idx="7512">
                  <c:v>12516</c:v>
                </c:pt>
                <c:pt idx="7513">
                  <c:v>12398.4</c:v>
                </c:pt>
                <c:pt idx="7514">
                  <c:v>12465.6</c:v>
                </c:pt>
                <c:pt idx="7515">
                  <c:v>12209.4</c:v>
                </c:pt>
                <c:pt idx="7516">
                  <c:v>11722.2</c:v>
                </c:pt>
                <c:pt idx="7517">
                  <c:v>11201.4</c:v>
                </c:pt>
                <c:pt idx="7518">
                  <c:v>10701.6</c:v>
                </c:pt>
                <c:pt idx="7519">
                  <c:v>10080</c:v>
                </c:pt>
                <c:pt idx="7520">
                  <c:v>9685.2000000000007</c:v>
                </c:pt>
                <c:pt idx="7521">
                  <c:v>9378.6</c:v>
                </c:pt>
                <c:pt idx="7522">
                  <c:v>9130.8000000000011</c:v>
                </c:pt>
                <c:pt idx="7523">
                  <c:v>9185.4</c:v>
                </c:pt>
                <c:pt idx="7524">
                  <c:v>9248.4</c:v>
                </c:pt>
                <c:pt idx="7525">
                  <c:v>9080.4</c:v>
                </c:pt>
                <c:pt idx="7526">
                  <c:v>8941.8000000000011</c:v>
                </c:pt>
                <c:pt idx="7527">
                  <c:v>8538.6</c:v>
                </c:pt>
                <c:pt idx="7528">
                  <c:v>8681.4</c:v>
                </c:pt>
                <c:pt idx="7529">
                  <c:v>9298.8000000000011</c:v>
                </c:pt>
                <c:pt idx="7530">
                  <c:v>9920.4</c:v>
                </c:pt>
                <c:pt idx="7531">
                  <c:v>10365.6</c:v>
                </c:pt>
                <c:pt idx="7532">
                  <c:v>11054.4</c:v>
                </c:pt>
                <c:pt idx="7533">
                  <c:v>11390.4</c:v>
                </c:pt>
                <c:pt idx="7534">
                  <c:v>11180.4</c:v>
                </c:pt>
                <c:pt idx="7535">
                  <c:v>11083.800000000001</c:v>
                </c:pt>
                <c:pt idx="7536">
                  <c:v>11197.2</c:v>
                </c:pt>
                <c:pt idx="7537">
                  <c:v>11398.800000000001</c:v>
                </c:pt>
                <c:pt idx="7538">
                  <c:v>12007.800000000001</c:v>
                </c:pt>
                <c:pt idx="7539">
                  <c:v>11869.2</c:v>
                </c:pt>
                <c:pt idx="7540">
                  <c:v>11659.2</c:v>
                </c:pt>
                <c:pt idx="7541">
                  <c:v>11692.800000000001</c:v>
                </c:pt>
                <c:pt idx="7542">
                  <c:v>11734.800000000001</c:v>
                </c:pt>
                <c:pt idx="7543">
                  <c:v>11516.4</c:v>
                </c:pt>
                <c:pt idx="7544">
                  <c:v>11545.800000000001</c:v>
                </c:pt>
                <c:pt idx="7545">
                  <c:v>11361</c:v>
                </c:pt>
                <c:pt idx="7546">
                  <c:v>11545.800000000001</c:v>
                </c:pt>
                <c:pt idx="7547">
                  <c:v>11495.4</c:v>
                </c:pt>
                <c:pt idx="7548">
                  <c:v>10945.2</c:v>
                </c:pt>
                <c:pt idx="7549">
                  <c:v>10672.2</c:v>
                </c:pt>
                <c:pt idx="7550">
                  <c:v>10374</c:v>
                </c:pt>
                <c:pt idx="7551">
                  <c:v>9735.6</c:v>
                </c:pt>
                <c:pt idx="7552">
                  <c:v>9223.2000000000007</c:v>
                </c:pt>
                <c:pt idx="7553">
                  <c:v>8677.2000000000007</c:v>
                </c:pt>
                <c:pt idx="7554">
                  <c:v>8185.8</c:v>
                </c:pt>
                <c:pt idx="7555">
                  <c:v>7854</c:v>
                </c:pt>
                <c:pt idx="7556">
                  <c:v>7572.6</c:v>
                </c:pt>
                <c:pt idx="7557">
                  <c:v>7299.6</c:v>
                </c:pt>
                <c:pt idx="7558">
                  <c:v>6871.2000000000007</c:v>
                </c:pt>
                <c:pt idx="7559">
                  <c:v>6833.4000000000005</c:v>
                </c:pt>
                <c:pt idx="7560">
                  <c:v>6946.8</c:v>
                </c:pt>
                <c:pt idx="7561">
                  <c:v>6871.2000000000007</c:v>
                </c:pt>
                <c:pt idx="7562">
                  <c:v>6392.4000000000005</c:v>
                </c:pt>
                <c:pt idx="7563">
                  <c:v>6417.6</c:v>
                </c:pt>
                <c:pt idx="7564">
                  <c:v>6455.4000000000005</c:v>
                </c:pt>
                <c:pt idx="7565">
                  <c:v>6552</c:v>
                </c:pt>
                <c:pt idx="7566">
                  <c:v>6917.4000000000005</c:v>
                </c:pt>
                <c:pt idx="7567">
                  <c:v>7576.8</c:v>
                </c:pt>
                <c:pt idx="7568">
                  <c:v>8198.4</c:v>
                </c:pt>
                <c:pt idx="7569">
                  <c:v>8677.2000000000007</c:v>
                </c:pt>
                <c:pt idx="7570">
                  <c:v>9067.8000000000011</c:v>
                </c:pt>
                <c:pt idx="7571">
                  <c:v>9441.6</c:v>
                </c:pt>
                <c:pt idx="7572">
                  <c:v>9811.2000000000007</c:v>
                </c:pt>
                <c:pt idx="7573">
                  <c:v>10059</c:v>
                </c:pt>
                <c:pt idx="7574">
                  <c:v>10302.6</c:v>
                </c:pt>
                <c:pt idx="7575">
                  <c:v>10483.200000000001</c:v>
                </c:pt>
                <c:pt idx="7576">
                  <c:v>10651.2</c:v>
                </c:pt>
                <c:pt idx="7577">
                  <c:v>10705.800000000001</c:v>
                </c:pt>
                <c:pt idx="7578">
                  <c:v>10403.4</c:v>
                </c:pt>
                <c:pt idx="7579">
                  <c:v>9693.6</c:v>
                </c:pt>
                <c:pt idx="7580">
                  <c:v>8748.6</c:v>
                </c:pt>
                <c:pt idx="7581">
                  <c:v>7921.2000000000007</c:v>
                </c:pt>
                <c:pt idx="7582">
                  <c:v>7072.8</c:v>
                </c:pt>
                <c:pt idx="7583">
                  <c:v>6283.2</c:v>
                </c:pt>
                <c:pt idx="7584">
                  <c:v>5485.2</c:v>
                </c:pt>
                <c:pt idx="7585">
                  <c:v>4758.6000000000004</c:v>
                </c:pt>
                <c:pt idx="7586">
                  <c:v>4216.8</c:v>
                </c:pt>
                <c:pt idx="7587">
                  <c:v>4166.4000000000005</c:v>
                </c:pt>
                <c:pt idx="7588">
                  <c:v>4422.6000000000004</c:v>
                </c:pt>
                <c:pt idx="7589">
                  <c:v>4960.2</c:v>
                </c:pt>
                <c:pt idx="7590">
                  <c:v>5821.2</c:v>
                </c:pt>
                <c:pt idx="7591">
                  <c:v>7253.4000000000005</c:v>
                </c:pt>
                <c:pt idx="7592">
                  <c:v>8988</c:v>
                </c:pt>
                <c:pt idx="7593">
                  <c:v>10563</c:v>
                </c:pt>
                <c:pt idx="7594">
                  <c:v>11894.4</c:v>
                </c:pt>
                <c:pt idx="7595">
                  <c:v>12999</c:v>
                </c:pt>
                <c:pt idx="7596">
                  <c:v>14028</c:v>
                </c:pt>
                <c:pt idx="7597">
                  <c:v>14679</c:v>
                </c:pt>
                <c:pt idx="7598">
                  <c:v>15170.400000000001</c:v>
                </c:pt>
                <c:pt idx="7599">
                  <c:v>15162</c:v>
                </c:pt>
                <c:pt idx="7600">
                  <c:v>14725.2</c:v>
                </c:pt>
                <c:pt idx="7601">
                  <c:v>14137.2</c:v>
                </c:pt>
                <c:pt idx="7602">
                  <c:v>13696.2</c:v>
                </c:pt>
                <c:pt idx="7603">
                  <c:v>13322.400000000001</c:v>
                </c:pt>
                <c:pt idx="7604">
                  <c:v>12398.4</c:v>
                </c:pt>
                <c:pt idx="7605">
                  <c:v>11235</c:v>
                </c:pt>
                <c:pt idx="7606">
                  <c:v>10491.6</c:v>
                </c:pt>
                <c:pt idx="7607">
                  <c:v>10063.200000000001</c:v>
                </c:pt>
                <c:pt idx="7608">
                  <c:v>9819.6</c:v>
                </c:pt>
                <c:pt idx="7609">
                  <c:v>9634.8000000000011</c:v>
                </c:pt>
                <c:pt idx="7610">
                  <c:v>9408</c:v>
                </c:pt>
                <c:pt idx="7611">
                  <c:v>9298.8000000000011</c:v>
                </c:pt>
                <c:pt idx="7612">
                  <c:v>9450</c:v>
                </c:pt>
                <c:pt idx="7613">
                  <c:v>9412.2000000000007</c:v>
                </c:pt>
                <c:pt idx="7614">
                  <c:v>9214.8000000000011</c:v>
                </c:pt>
                <c:pt idx="7615">
                  <c:v>8916.6</c:v>
                </c:pt>
                <c:pt idx="7616">
                  <c:v>8815.8000000000011</c:v>
                </c:pt>
                <c:pt idx="7617">
                  <c:v>8685.6</c:v>
                </c:pt>
                <c:pt idx="7618">
                  <c:v>8719.2000000000007</c:v>
                </c:pt>
                <c:pt idx="7619">
                  <c:v>8967</c:v>
                </c:pt>
                <c:pt idx="7620">
                  <c:v>9063.6</c:v>
                </c:pt>
                <c:pt idx="7621">
                  <c:v>9366</c:v>
                </c:pt>
                <c:pt idx="7622">
                  <c:v>9664.2000000000007</c:v>
                </c:pt>
                <c:pt idx="7623">
                  <c:v>10105.200000000001</c:v>
                </c:pt>
                <c:pt idx="7624">
                  <c:v>10596.6</c:v>
                </c:pt>
                <c:pt idx="7625">
                  <c:v>10936.800000000001</c:v>
                </c:pt>
                <c:pt idx="7626">
                  <c:v>11109</c:v>
                </c:pt>
                <c:pt idx="7627">
                  <c:v>11260.2</c:v>
                </c:pt>
                <c:pt idx="7628">
                  <c:v>11340</c:v>
                </c:pt>
                <c:pt idx="7629">
                  <c:v>11407.2</c:v>
                </c:pt>
                <c:pt idx="7630">
                  <c:v>11419.800000000001</c:v>
                </c:pt>
                <c:pt idx="7631">
                  <c:v>11075.4</c:v>
                </c:pt>
                <c:pt idx="7632">
                  <c:v>10651.2</c:v>
                </c:pt>
                <c:pt idx="7633">
                  <c:v>10134.6</c:v>
                </c:pt>
                <c:pt idx="7634">
                  <c:v>9861.6</c:v>
                </c:pt>
                <c:pt idx="7635">
                  <c:v>9462.6</c:v>
                </c:pt>
                <c:pt idx="7636">
                  <c:v>8996.4</c:v>
                </c:pt>
                <c:pt idx="7637">
                  <c:v>8374.8000000000011</c:v>
                </c:pt>
                <c:pt idx="7638">
                  <c:v>7795.2000000000007</c:v>
                </c:pt>
                <c:pt idx="7639">
                  <c:v>6946.8</c:v>
                </c:pt>
                <c:pt idx="7640">
                  <c:v>6098.4000000000005</c:v>
                </c:pt>
                <c:pt idx="7641">
                  <c:v>5363.4000000000005</c:v>
                </c:pt>
                <c:pt idx="7642">
                  <c:v>4720.8</c:v>
                </c:pt>
                <c:pt idx="7643">
                  <c:v>4179</c:v>
                </c:pt>
                <c:pt idx="7644">
                  <c:v>3742.2000000000003</c:v>
                </c:pt>
                <c:pt idx="7645">
                  <c:v>3330.6000000000004</c:v>
                </c:pt>
                <c:pt idx="7646">
                  <c:v>2902.2000000000003</c:v>
                </c:pt>
                <c:pt idx="7647">
                  <c:v>2578.8000000000002</c:v>
                </c:pt>
                <c:pt idx="7648">
                  <c:v>2427.6</c:v>
                </c:pt>
                <c:pt idx="7649">
                  <c:v>2318.4</c:v>
                </c:pt>
                <c:pt idx="7650">
                  <c:v>2289</c:v>
                </c:pt>
                <c:pt idx="7651">
                  <c:v>2377.2000000000003</c:v>
                </c:pt>
                <c:pt idx="7652">
                  <c:v>2469.6</c:v>
                </c:pt>
                <c:pt idx="7653">
                  <c:v>2440.2000000000003</c:v>
                </c:pt>
                <c:pt idx="7654">
                  <c:v>2293.2000000000003</c:v>
                </c:pt>
                <c:pt idx="7655">
                  <c:v>2158.8000000000002</c:v>
                </c:pt>
                <c:pt idx="7656">
                  <c:v>1902.6000000000001</c:v>
                </c:pt>
                <c:pt idx="7657">
                  <c:v>1701</c:v>
                </c:pt>
                <c:pt idx="7658">
                  <c:v>1927.8000000000002</c:v>
                </c:pt>
                <c:pt idx="7659">
                  <c:v>1726.2</c:v>
                </c:pt>
                <c:pt idx="7660">
                  <c:v>1533</c:v>
                </c:pt>
                <c:pt idx="7661">
                  <c:v>1390.2</c:v>
                </c:pt>
                <c:pt idx="7662">
                  <c:v>1344</c:v>
                </c:pt>
                <c:pt idx="7663">
                  <c:v>1541.4</c:v>
                </c:pt>
                <c:pt idx="7664">
                  <c:v>1990.8000000000002</c:v>
                </c:pt>
                <c:pt idx="7665">
                  <c:v>2570.4</c:v>
                </c:pt>
                <c:pt idx="7666">
                  <c:v>3339</c:v>
                </c:pt>
                <c:pt idx="7667">
                  <c:v>4384.8</c:v>
                </c:pt>
                <c:pt idx="7668">
                  <c:v>5304.6</c:v>
                </c:pt>
                <c:pt idx="7669">
                  <c:v>6027</c:v>
                </c:pt>
                <c:pt idx="7670">
                  <c:v>6799.8</c:v>
                </c:pt>
                <c:pt idx="7671">
                  <c:v>7543.2000000000007</c:v>
                </c:pt>
                <c:pt idx="7672">
                  <c:v>8328.6</c:v>
                </c:pt>
                <c:pt idx="7673">
                  <c:v>9399.6</c:v>
                </c:pt>
                <c:pt idx="7674">
                  <c:v>9920.4</c:v>
                </c:pt>
                <c:pt idx="7675">
                  <c:v>11172</c:v>
                </c:pt>
                <c:pt idx="7676">
                  <c:v>11592</c:v>
                </c:pt>
                <c:pt idx="7677">
                  <c:v>11877.6</c:v>
                </c:pt>
                <c:pt idx="7678">
                  <c:v>12709.2</c:v>
                </c:pt>
                <c:pt idx="7679">
                  <c:v>12003.6</c:v>
                </c:pt>
                <c:pt idx="7680">
                  <c:v>11684.4</c:v>
                </c:pt>
                <c:pt idx="7681">
                  <c:v>11390.4</c:v>
                </c:pt>
                <c:pt idx="7682">
                  <c:v>10483.200000000001</c:v>
                </c:pt>
                <c:pt idx="7683">
                  <c:v>10441.200000000001</c:v>
                </c:pt>
                <c:pt idx="7684">
                  <c:v>10357.200000000001</c:v>
                </c:pt>
                <c:pt idx="7685">
                  <c:v>10130.4</c:v>
                </c:pt>
                <c:pt idx="7686">
                  <c:v>9697.8000000000011</c:v>
                </c:pt>
                <c:pt idx="7687">
                  <c:v>9563.4</c:v>
                </c:pt>
                <c:pt idx="7688">
                  <c:v>9349.2000000000007</c:v>
                </c:pt>
                <c:pt idx="7689">
                  <c:v>8866.2000000000007</c:v>
                </c:pt>
                <c:pt idx="7690">
                  <c:v>8555.4</c:v>
                </c:pt>
                <c:pt idx="7691">
                  <c:v>7980</c:v>
                </c:pt>
                <c:pt idx="7692">
                  <c:v>7786.8</c:v>
                </c:pt>
                <c:pt idx="7693">
                  <c:v>7539</c:v>
                </c:pt>
                <c:pt idx="7694">
                  <c:v>7329</c:v>
                </c:pt>
                <c:pt idx="7695">
                  <c:v>7442.4000000000005</c:v>
                </c:pt>
                <c:pt idx="7696">
                  <c:v>7371</c:v>
                </c:pt>
                <c:pt idx="7697">
                  <c:v>7261.8</c:v>
                </c:pt>
                <c:pt idx="7698">
                  <c:v>7177.8</c:v>
                </c:pt>
                <c:pt idx="7699">
                  <c:v>7207.2000000000007</c:v>
                </c:pt>
                <c:pt idx="7700">
                  <c:v>7165.2000000000007</c:v>
                </c:pt>
                <c:pt idx="7701">
                  <c:v>7291.2000000000007</c:v>
                </c:pt>
                <c:pt idx="7702">
                  <c:v>7085.4000000000005</c:v>
                </c:pt>
                <c:pt idx="7703">
                  <c:v>6598.2000000000007</c:v>
                </c:pt>
                <c:pt idx="7704">
                  <c:v>6056.4000000000005</c:v>
                </c:pt>
                <c:pt idx="7705">
                  <c:v>5434.8</c:v>
                </c:pt>
                <c:pt idx="7706">
                  <c:v>4662</c:v>
                </c:pt>
                <c:pt idx="7707">
                  <c:v>4191.6000000000004</c:v>
                </c:pt>
                <c:pt idx="7708">
                  <c:v>3767.4</c:v>
                </c:pt>
                <c:pt idx="7709">
                  <c:v>3536.4</c:v>
                </c:pt>
                <c:pt idx="7710">
                  <c:v>3423</c:v>
                </c:pt>
                <c:pt idx="7711">
                  <c:v>3309.6000000000004</c:v>
                </c:pt>
                <c:pt idx="7712">
                  <c:v>3297</c:v>
                </c:pt>
                <c:pt idx="7713">
                  <c:v>3213</c:v>
                </c:pt>
                <c:pt idx="7714">
                  <c:v>3368.4</c:v>
                </c:pt>
                <c:pt idx="7715">
                  <c:v>3662.4</c:v>
                </c:pt>
                <c:pt idx="7716">
                  <c:v>4032</c:v>
                </c:pt>
                <c:pt idx="7717">
                  <c:v>4317.6000000000004</c:v>
                </c:pt>
                <c:pt idx="7718">
                  <c:v>4989.6000000000004</c:v>
                </c:pt>
                <c:pt idx="7719">
                  <c:v>5527.2</c:v>
                </c:pt>
                <c:pt idx="7720">
                  <c:v>6001.8</c:v>
                </c:pt>
                <c:pt idx="7721">
                  <c:v>6497.4000000000005</c:v>
                </c:pt>
                <c:pt idx="7722">
                  <c:v>6875.4000000000005</c:v>
                </c:pt>
                <c:pt idx="7723">
                  <c:v>6833.4000000000005</c:v>
                </c:pt>
                <c:pt idx="7724">
                  <c:v>6615</c:v>
                </c:pt>
                <c:pt idx="7725">
                  <c:v>6266.4000000000005</c:v>
                </c:pt>
                <c:pt idx="7726">
                  <c:v>5762.4000000000005</c:v>
                </c:pt>
                <c:pt idx="7727">
                  <c:v>5380.2</c:v>
                </c:pt>
                <c:pt idx="7728">
                  <c:v>5178.6000000000004</c:v>
                </c:pt>
                <c:pt idx="7729">
                  <c:v>5233.2</c:v>
                </c:pt>
                <c:pt idx="7730">
                  <c:v>5464.2</c:v>
                </c:pt>
                <c:pt idx="7731">
                  <c:v>5678.4000000000005</c:v>
                </c:pt>
                <c:pt idx="7732">
                  <c:v>6241.2</c:v>
                </c:pt>
                <c:pt idx="7733">
                  <c:v>6455.4000000000005</c:v>
                </c:pt>
                <c:pt idx="7734">
                  <c:v>6644.4000000000005</c:v>
                </c:pt>
                <c:pt idx="7735">
                  <c:v>6925.8</c:v>
                </c:pt>
                <c:pt idx="7736">
                  <c:v>7030.8</c:v>
                </c:pt>
                <c:pt idx="7737">
                  <c:v>7127.4000000000005</c:v>
                </c:pt>
                <c:pt idx="7738">
                  <c:v>7190.4000000000005</c:v>
                </c:pt>
                <c:pt idx="7739">
                  <c:v>7207.2000000000007</c:v>
                </c:pt>
                <c:pt idx="7740">
                  <c:v>6896.4000000000005</c:v>
                </c:pt>
                <c:pt idx="7741">
                  <c:v>6337.8</c:v>
                </c:pt>
                <c:pt idx="7742">
                  <c:v>5875.8</c:v>
                </c:pt>
                <c:pt idx="7743">
                  <c:v>5766.6</c:v>
                </c:pt>
                <c:pt idx="7744">
                  <c:v>5661.6</c:v>
                </c:pt>
                <c:pt idx="7745">
                  <c:v>5518.8</c:v>
                </c:pt>
                <c:pt idx="7746">
                  <c:v>6102.6</c:v>
                </c:pt>
                <c:pt idx="7747">
                  <c:v>6132</c:v>
                </c:pt>
                <c:pt idx="7748">
                  <c:v>5934.6</c:v>
                </c:pt>
                <c:pt idx="7749">
                  <c:v>5707.8</c:v>
                </c:pt>
                <c:pt idx="7750">
                  <c:v>5481</c:v>
                </c:pt>
                <c:pt idx="7751">
                  <c:v>5203.8</c:v>
                </c:pt>
                <c:pt idx="7752">
                  <c:v>5023.2</c:v>
                </c:pt>
                <c:pt idx="7753">
                  <c:v>4905.6000000000004</c:v>
                </c:pt>
                <c:pt idx="7754">
                  <c:v>5602.8</c:v>
                </c:pt>
                <c:pt idx="7755">
                  <c:v>5430.6</c:v>
                </c:pt>
                <c:pt idx="7756">
                  <c:v>4960.2</c:v>
                </c:pt>
                <c:pt idx="7757">
                  <c:v>4767</c:v>
                </c:pt>
                <c:pt idx="7758">
                  <c:v>4557</c:v>
                </c:pt>
                <c:pt idx="7759">
                  <c:v>4300.8</c:v>
                </c:pt>
                <c:pt idx="7760">
                  <c:v>3981.6000000000004</c:v>
                </c:pt>
                <c:pt idx="7761">
                  <c:v>3754.8</c:v>
                </c:pt>
                <c:pt idx="7762">
                  <c:v>3704.4</c:v>
                </c:pt>
                <c:pt idx="7763">
                  <c:v>3591</c:v>
                </c:pt>
                <c:pt idx="7764">
                  <c:v>3494.4</c:v>
                </c:pt>
                <c:pt idx="7765">
                  <c:v>3339</c:v>
                </c:pt>
                <c:pt idx="7766">
                  <c:v>3519.6000000000004</c:v>
                </c:pt>
                <c:pt idx="7767">
                  <c:v>3574.2000000000003</c:v>
                </c:pt>
                <c:pt idx="7768">
                  <c:v>3746.4</c:v>
                </c:pt>
                <c:pt idx="7769">
                  <c:v>4048.8</c:v>
                </c:pt>
                <c:pt idx="7770">
                  <c:v>4405.8</c:v>
                </c:pt>
                <c:pt idx="7771">
                  <c:v>4788</c:v>
                </c:pt>
                <c:pt idx="7772">
                  <c:v>5250</c:v>
                </c:pt>
                <c:pt idx="7773">
                  <c:v>5535.6</c:v>
                </c:pt>
                <c:pt idx="7774">
                  <c:v>6111</c:v>
                </c:pt>
                <c:pt idx="7775">
                  <c:v>6447</c:v>
                </c:pt>
                <c:pt idx="7776">
                  <c:v>6825</c:v>
                </c:pt>
                <c:pt idx="7777">
                  <c:v>7203</c:v>
                </c:pt>
                <c:pt idx="7778">
                  <c:v>7639.8</c:v>
                </c:pt>
                <c:pt idx="7779">
                  <c:v>7963.2000000000007</c:v>
                </c:pt>
                <c:pt idx="7780">
                  <c:v>8240.4</c:v>
                </c:pt>
                <c:pt idx="7781">
                  <c:v>8517.6</c:v>
                </c:pt>
                <c:pt idx="7782">
                  <c:v>8807.4</c:v>
                </c:pt>
                <c:pt idx="7783">
                  <c:v>8941.8000000000011</c:v>
                </c:pt>
                <c:pt idx="7784">
                  <c:v>9004.8000000000011</c:v>
                </c:pt>
                <c:pt idx="7785">
                  <c:v>9265.2000000000007</c:v>
                </c:pt>
                <c:pt idx="7786">
                  <c:v>9160.2000000000007</c:v>
                </c:pt>
                <c:pt idx="7787">
                  <c:v>8950.2000000000007</c:v>
                </c:pt>
                <c:pt idx="7788">
                  <c:v>9055.2000000000007</c:v>
                </c:pt>
                <c:pt idx="7789">
                  <c:v>8920.8000000000011</c:v>
                </c:pt>
                <c:pt idx="7790">
                  <c:v>8694</c:v>
                </c:pt>
                <c:pt idx="7791">
                  <c:v>8639.4</c:v>
                </c:pt>
                <c:pt idx="7792">
                  <c:v>8996.4</c:v>
                </c:pt>
                <c:pt idx="7793">
                  <c:v>9420.6</c:v>
                </c:pt>
                <c:pt idx="7794">
                  <c:v>9668.4</c:v>
                </c:pt>
                <c:pt idx="7795">
                  <c:v>9954</c:v>
                </c:pt>
                <c:pt idx="7796">
                  <c:v>9979.2000000000007</c:v>
                </c:pt>
                <c:pt idx="7797">
                  <c:v>10365.6</c:v>
                </c:pt>
                <c:pt idx="7798">
                  <c:v>10395</c:v>
                </c:pt>
                <c:pt idx="7799">
                  <c:v>10420.200000000001</c:v>
                </c:pt>
                <c:pt idx="7800">
                  <c:v>10521</c:v>
                </c:pt>
                <c:pt idx="7801">
                  <c:v>10861.2</c:v>
                </c:pt>
                <c:pt idx="7802">
                  <c:v>11860.800000000001</c:v>
                </c:pt>
                <c:pt idx="7803">
                  <c:v>12180</c:v>
                </c:pt>
                <c:pt idx="7804">
                  <c:v>12356.4</c:v>
                </c:pt>
                <c:pt idx="7805">
                  <c:v>12465.6</c:v>
                </c:pt>
                <c:pt idx="7806">
                  <c:v>12469.800000000001</c:v>
                </c:pt>
                <c:pt idx="7807">
                  <c:v>12461.4</c:v>
                </c:pt>
                <c:pt idx="7808">
                  <c:v>12280.800000000001</c:v>
                </c:pt>
                <c:pt idx="7809">
                  <c:v>12314.4</c:v>
                </c:pt>
                <c:pt idx="7810">
                  <c:v>12213.6</c:v>
                </c:pt>
                <c:pt idx="7811">
                  <c:v>11814.6</c:v>
                </c:pt>
                <c:pt idx="7812">
                  <c:v>11310.6</c:v>
                </c:pt>
                <c:pt idx="7813">
                  <c:v>10701.6</c:v>
                </c:pt>
                <c:pt idx="7814">
                  <c:v>10059</c:v>
                </c:pt>
                <c:pt idx="7815">
                  <c:v>9811.2000000000007</c:v>
                </c:pt>
                <c:pt idx="7816">
                  <c:v>9366</c:v>
                </c:pt>
                <c:pt idx="7817">
                  <c:v>8891.4</c:v>
                </c:pt>
                <c:pt idx="7818">
                  <c:v>8618.4</c:v>
                </c:pt>
                <c:pt idx="7819">
                  <c:v>8278.2000000000007</c:v>
                </c:pt>
                <c:pt idx="7820">
                  <c:v>7610.4000000000005</c:v>
                </c:pt>
                <c:pt idx="7821">
                  <c:v>7240.8</c:v>
                </c:pt>
                <c:pt idx="7822">
                  <c:v>6594</c:v>
                </c:pt>
                <c:pt idx="7823">
                  <c:v>6148.8</c:v>
                </c:pt>
                <c:pt idx="7824">
                  <c:v>5850.6</c:v>
                </c:pt>
                <c:pt idx="7825">
                  <c:v>5539.8</c:v>
                </c:pt>
                <c:pt idx="7826">
                  <c:v>4783.8</c:v>
                </c:pt>
                <c:pt idx="7827">
                  <c:v>4670.4000000000005</c:v>
                </c:pt>
                <c:pt idx="7828">
                  <c:v>4288.2</c:v>
                </c:pt>
                <c:pt idx="7829">
                  <c:v>4149.6000000000004</c:v>
                </c:pt>
                <c:pt idx="7830">
                  <c:v>3990</c:v>
                </c:pt>
                <c:pt idx="7831">
                  <c:v>3717</c:v>
                </c:pt>
                <c:pt idx="7832">
                  <c:v>3519.6000000000004</c:v>
                </c:pt>
                <c:pt idx="7833">
                  <c:v>3465</c:v>
                </c:pt>
                <c:pt idx="7834">
                  <c:v>3049.2000000000003</c:v>
                </c:pt>
                <c:pt idx="7835">
                  <c:v>2658.6</c:v>
                </c:pt>
                <c:pt idx="7836">
                  <c:v>2465.4</c:v>
                </c:pt>
                <c:pt idx="7837">
                  <c:v>2335.2000000000003</c:v>
                </c:pt>
                <c:pt idx="7838">
                  <c:v>2373</c:v>
                </c:pt>
                <c:pt idx="7839">
                  <c:v>2574.6</c:v>
                </c:pt>
                <c:pt idx="7840">
                  <c:v>2982</c:v>
                </c:pt>
                <c:pt idx="7841">
                  <c:v>3490.2000000000003</c:v>
                </c:pt>
                <c:pt idx="7842">
                  <c:v>4170.6000000000004</c:v>
                </c:pt>
                <c:pt idx="7843">
                  <c:v>4918.2</c:v>
                </c:pt>
                <c:pt idx="7844">
                  <c:v>5569.2</c:v>
                </c:pt>
                <c:pt idx="7845">
                  <c:v>6308.4000000000005</c:v>
                </c:pt>
                <c:pt idx="7846">
                  <c:v>7291.2000000000007</c:v>
                </c:pt>
                <c:pt idx="7847">
                  <c:v>8055.6</c:v>
                </c:pt>
                <c:pt idx="7848">
                  <c:v>8908.2000000000007</c:v>
                </c:pt>
                <c:pt idx="7849">
                  <c:v>9807</c:v>
                </c:pt>
                <c:pt idx="7850">
                  <c:v>11025</c:v>
                </c:pt>
                <c:pt idx="7851">
                  <c:v>11697</c:v>
                </c:pt>
                <c:pt idx="7852">
                  <c:v>12222</c:v>
                </c:pt>
                <c:pt idx="7853">
                  <c:v>12583.2</c:v>
                </c:pt>
                <c:pt idx="7854">
                  <c:v>12973.800000000001</c:v>
                </c:pt>
                <c:pt idx="7855">
                  <c:v>13305.6</c:v>
                </c:pt>
                <c:pt idx="7856">
                  <c:v>13398</c:v>
                </c:pt>
                <c:pt idx="7857">
                  <c:v>13406.400000000001</c:v>
                </c:pt>
                <c:pt idx="7858">
                  <c:v>13414.800000000001</c:v>
                </c:pt>
                <c:pt idx="7859">
                  <c:v>13498.800000000001</c:v>
                </c:pt>
                <c:pt idx="7860">
                  <c:v>13402.2</c:v>
                </c:pt>
                <c:pt idx="7861">
                  <c:v>13330.800000000001</c:v>
                </c:pt>
                <c:pt idx="7862">
                  <c:v>13246.800000000001</c:v>
                </c:pt>
                <c:pt idx="7863">
                  <c:v>13188</c:v>
                </c:pt>
                <c:pt idx="7864">
                  <c:v>13141.800000000001</c:v>
                </c:pt>
                <c:pt idx="7865">
                  <c:v>13116.6</c:v>
                </c:pt>
                <c:pt idx="7866">
                  <c:v>13099.800000000001</c:v>
                </c:pt>
                <c:pt idx="7867">
                  <c:v>12965.400000000001</c:v>
                </c:pt>
                <c:pt idx="7868">
                  <c:v>12801.6</c:v>
                </c:pt>
                <c:pt idx="7869">
                  <c:v>12784.800000000001</c:v>
                </c:pt>
                <c:pt idx="7870">
                  <c:v>12721.800000000001</c:v>
                </c:pt>
                <c:pt idx="7871">
                  <c:v>12511.800000000001</c:v>
                </c:pt>
                <c:pt idx="7872">
                  <c:v>12457.2</c:v>
                </c:pt>
                <c:pt idx="7873">
                  <c:v>12406.800000000001</c:v>
                </c:pt>
                <c:pt idx="7874">
                  <c:v>11772.6</c:v>
                </c:pt>
                <c:pt idx="7875">
                  <c:v>11436.6</c:v>
                </c:pt>
                <c:pt idx="7876">
                  <c:v>10949.4</c:v>
                </c:pt>
                <c:pt idx="7877">
                  <c:v>10453.800000000001</c:v>
                </c:pt>
                <c:pt idx="7878">
                  <c:v>9865.8000000000011</c:v>
                </c:pt>
                <c:pt idx="7879">
                  <c:v>9420.6</c:v>
                </c:pt>
                <c:pt idx="7880">
                  <c:v>8979.6</c:v>
                </c:pt>
                <c:pt idx="7881">
                  <c:v>8576.4</c:v>
                </c:pt>
                <c:pt idx="7882">
                  <c:v>8265.6</c:v>
                </c:pt>
                <c:pt idx="7883">
                  <c:v>7602</c:v>
                </c:pt>
                <c:pt idx="7884">
                  <c:v>7123.2000000000007</c:v>
                </c:pt>
                <c:pt idx="7885">
                  <c:v>6631.8</c:v>
                </c:pt>
                <c:pt idx="7886">
                  <c:v>6052.2</c:v>
                </c:pt>
                <c:pt idx="7887">
                  <c:v>5728.8</c:v>
                </c:pt>
                <c:pt idx="7888">
                  <c:v>5203.8</c:v>
                </c:pt>
                <c:pt idx="7889">
                  <c:v>4893</c:v>
                </c:pt>
                <c:pt idx="7890">
                  <c:v>4666.2</c:v>
                </c:pt>
                <c:pt idx="7891">
                  <c:v>4531.8</c:v>
                </c:pt>
                <c:pt idx="7892">
                  <c:v>4397.4000000000005</c:v>
                </c:pt>
                <c:pt idx="7893">
                  <c:v>4435.2</c:v>
                </c:pt>
                <c:pt idx="7894">
                  <c:v>4418.4000000000005</c:v>
                </c:pt>
                <c:pt idx="7895">
                  <c:v>4884.6000000000004</c:v>
                </c:pt>
                <c:pt idx="7896">
                  <c:v>5304.6</c:v>
                </c:pt>
                <c:pt idx="7897">
                  <c:v>5716.2</c:v>
                </c:pt>
                <c:pt idx="7898">
                  <c:v>5791.8</c:v>
                </c:pt>
                <c:pt idx="7899">
                  <c:v>5968.2</c:v>
                </c:pt>
                <c:pt idx="7900">
                  <c:v>5871.6</c:v>
                </c:pt>
                <c:pt idx="7901">
                  <c:v>5880</c:v>
                </c:pt>
                <c:pt idx="7902">
                  <c:v>5964</c:v>
                </c:pt>
                <c:pt idx="7903">
                  <c:v>6123.6</c:v>
                </c:pt>
                <c:pt idx="7904">
                  <c:v>6350.4000000000005</c:v>
                </c:pt>
                <c:pt idx="7905">
                  <c:v>6274.8</c:v>
                </c:pt>
                <c:pt idx="7906">
                  <c:v>6333.6</c:v>
                </c:pt>
                <c:pt idx="7907">
                  <c:v>6409.2</c:v>
                </c:pt>
                <c:pt idx="7908">
                  <c:v>6539.4000000000005</c:v>
                </c:pt>
                <c:pt idx="7909">
                  <c:v>6312.6</c:v>
                </c:pt>
                <c:pt idx="7910">
                  <c:v>6308.4000000000005</c:v>
                </c:pt>
                <c:pt idx="7911">
                  <c:v>6085.8</c:v>
                </c:pt>
                <c:pt idx="7912">
                  <c:v>6749.4000000000005</c:v>
                </c:pt>
                <c:pt idx="7913">
                  <c:v>7560</c:v>
                </c:pt>
                <c:pt idx="7914">
                  <c:v>8757</c:v>
                </c:pt>
                <c:pt idx="7915">
                  <c:v>10042.200000000001</c:v>
                </c:pt>
                <c:pt idx="7916">
                  <c:v>11369.4</c:v>
                </c:pt>
                <c:pt idx="7917">
                  <c:v>12692.4</c:v>
                </c:pt>
                <c:pt idx="7918">
                  <c:v>13851.6</c:v>
                </c:pt>
                <c:pt idx="7919">
                  <c:v>14884.800000000001</c:v>
                </c:pt>
                <c:pt idx="7920">
                  <c:v>15855</c:v>
                </c:pt>
                <c:pt idx="7921">
                  <c:v>16258.2</c:v>
                </c:pt>
                <c:pt idx="7922">
                  <c:v>16997.400000000001</c:v>
                </c:pt>
                <c:pt idx="7923">
                  <c:v>17694.600000000002</c:v>
                </c:pt>
                <c:pt idx="7924">
                  <c:v>17795.400000000001</c:v>
                </c:pt>
                <c:pt idx="7925">
                  <c:v>17984.400000000001</c:v>
                </c:pt>
                <c:pt idx="7926">
                  <c:v>18047.400000000001</c:v>
                </c:pt>
                <c:pt idx="7927">
                  <c:v>17976</c:v>
                </c:pt>
                <c:pt idx="7928">
                  <c:v>17875.2</c:v>
                </c:pt>
                <c:pt idx="7929">
                  <c:v>17661</c:v>
                </c:pt>
                <c:pt idx="7930">
                  <c:v>17467.8</c:v>
                </c:pt>
                <c:pt idx="7931">
                  <c:v>17505.600000000002</c:v>
                </c:pt>
                <c:pt idx="7932">
                  <c:v>17535</c:v>
                </c:pt>
                <c:pt idx="7933">
                  <c:v>17690.400000000001</c:v>
                </c:pt>
                <c:pt idx="7934">
                  <c:v>17787</c:v>
                </c:pt>
                <c:pt idx="7935">
                  <c:v>17740.8</c:v>
                </c:pt>
                <c:pt idx="7936">
                  <c:v>17850</c:v>
                </c:pt>
                <c:pt idx="7937">
                  <c:v>18001.2</c:v>
                </c:pt>
                <c:pt idx="7938">
                  <c:v>18030.600000000002</c:v>
                </c:pt>
                <c:pt idx="7939">
                  <c:v>18320.400000000001</c:v>
                </c:pt>
                <c:pt idx="7940">
                  <c:v>18618.600000000002</c:v>
                </c:pt>
                <c:pt idx="7941">
                  <c:v>18912.600000000002</c:v>
                </c:pt>
                <c:pt idx="7942">
                  <c:v>19038.600000000002</c:v>
                </c:pt>
                <c:pt idx="7943">
                  <c:v>19147.8</c:v>
                </c:pt>
                <c:pt idx="7944">
                  <c:v>19164.600000000002</c:v>
                </c:pt>
                <c:pt idx="7945">
                  <c:v>18946.2</c:v>
                </c:pt>
                <c:pt idx="7946">
                  <c:v>19152</c:v>
                </c:pt>
                <c:pt idx="7947">
                  <c:v>18845.400000000001</c:v>
                </c:pt>
                <c:pt idx="7948">
                  <c:v>18379.2</c:v>
                </c:pt>
                <c:pt idx="7949">
                  <c:v>17732.400000000001</c:v>
                </c:pt>
                <c:pt idx="7950">
                  <c:v>16951.2</c:v>
                </c:pt>
                <c:pt idx="7951">
                  <c:v>16212</c:v>
                </c:pt>
                <c:pt idx="7952">
                  <c:v>15586.2</c:v>
                </c:pt>
                <c:pt idx="7953">
                  <c:v>14905.800000000001</c:v>
                </c:pt>
                <c:pt idx="7954">
                  <c:v>13868.400000000001</c:v>
                </c:pt>
                <c:pt idx="7955">
                  <c:v>12927.6</c:v>
                </c:pt>
                <c:pt idx="7956">
                  <c:v>11928</c:v>
                </c:pt>
                <c:pt idx="7957">
                  <c:v>10844.4</c:v>
                </c:pt>
                <c:pt idx="7958">
                  <c:v>10269</c:v>
                </c:pt>
                <c:pt idx="7959">
                  <c:v>9693.6</c:v>
                </c:pt>
                <c:pt idx="7960">
                  <c:v>9445.8000000000011</c:v>
                </c:pt>
                <c:pt idx="7961">
                  <c:v>9261</c:v>
                </c:pt>
                <c:pt idx="7962">
                  <c:v>9282</c:v>
                </c:pt>
                <c:pt idx="7963">
                  <c:v>9265.2000000000007</c:v>
                </c:pt>
                <c:pt idx="7964">
                  <c:v>9202.2000000000007</c:v>
                </c:pt>
                <c:pt idx="7965">
                  <c:v>9718.8000000000011</c:v>
                </c:pt>
                <c:pt idx="7966">
                  <c:v>10508.4</c:v>
                </c:pt>
                <c:pt idx="7967">
                  <c:v>11218.2</c:v>
                </c:pt>
                <c:pt idx="7968">
                  <c:v>12045.6</c:v>
                </c:pt>
                <c:pt idx="7969">
                  <c:v>12927.6</c:v>
                </c:pt>
                <c:pt idx="7970">
                  <c:v>13792.800000000001</c:v>
                </c:pt>
                <c:pt idx="7971">
                  <c:v>14548.800000000001</c:v>
                </c:pt>
                <c:pt idx="7972">
                  <c:v>15535.800000000001</c:v>
                </c:pt>
                <c:pt idx="7973">
                  <c:v>16522.8</c:v>
                </c:pt>
                <c:pt idx="7974">
                  <c:v>17526.600000000002</c:v>
                </c:pt>
                <c:pt idx="7975">
                  <c:v>18459</c:v>
                </c:pt>
                <c:pt idx="7976">
                  <c:v>18942</c:v>
                </c:pt>
                <c:pt idx="7977">
                  <c:v>19395.600000000002</c:v>
                </c:pt>
                <c:pt idx="7978">
                  <c:v>19630.8</c:v>
                </c:pt>
                <c:pt idx="7979">
                  <c:v>19815.600000000002</c:v>
                </c:pt>
                <c:pt idx="7980">
                  <c:v>19635</c:v>
                </c:pt>
                <c:pt idx="7981">
                  <c:v>19479.600000000002</c:v>
                </c:pt>
                <c:pt idx="7982">
                  <c:v>19257</c:v>
                </c:pt>
                <c:pt idx="7983">
                  <c:v>18761.400000000001</c:v>
                </c:pt>
                <c:pt idx="7984">
                  <c:v>18240.600000000002</c:v>
                </c:pt>
                <c:pt idx="7985">
                  <c:v>17640</c:v>
                </c:pt>
                <c:pt idx="7986">
                  <c:v>17077.2</c:v>
                </c:pt>
                <c:pt idx="7987">
                  <c:v>16275</c:v>
                </c:pt>
                <c:pt idx="7988">
                  <c:v>15149.400000000001</c:v>
                </c:pt>
                <c:pt idx="7989">
                  <c:v>14494.2</c:v>
                </c:pt>
                <c:pt idx="7990">
                  <c:v>14183.400000000001</c:v>
                </c:pt>
                <c:pt idx="7991">
                  <c:v>13990.2</c:v>
                </c:pt>
                <c:pt idx="7992">
                  <c:v>13465.2</c:v>
                </c:pt>
                <c:pt idx="7993">
                  <c:v>13435.800000000001</c:v>
                </c:pt>
                <c:pt idx="7994">
                  <c:v>13780.2</c:v>
                </c:pt>
                <c:pt idx="7995">
                  <c:v>13440</c:v>
                </c:pt>
                <c:pt idx="7996">
                  <c:v>13351.800000000001</c:v>
                </c:pt>
                <c:pt idx="7997">
                  <c:v>13490.400000000001</c:v>
                </c:pt>
                <c:pt idx="7998">
                  <c:v>13524</c:v>
                </c:pt>
                <c:pt idx="7999">
                  <c:v>13591.2</c:v>
                </c:pt>
                <c:pt idx="8000">
                  <c:v>13557.6</c:v>
                </c:pt>
                <c:pt idx="8001">
                  <c:v>13448.400000000001</c:v>
                </c:pt>
                <c:pt idx="8002">
                  <c:v>13389.6</c:v>
                </c:pt>
                <c:pt idx="8003">
                  <c:v>13284.6</c:v>
                </c:pt>
                <c:pt idx="8004">
                  <c:v>13494.6</c:v>
                </c:pt>
                <c:pt idx="8005">
                  <c:v>13843.2</c:v>
                </c:pt>
                <c:pt idx="8006">
                  <c:v>13645.800000000001</c:v>
                </c:pt>
                <c:pt idx="8007">
                  <c:v>13822.2</c:v>
                </c:pt>
                <c:pt idx="8008">
                  <c:v>14246.400000000001</c:v>
                </c:pt>
                <c:pt idx="8009">
                  <c:v>14343</c:v>
                </c:pt>
                <c:pt idx="8010">
                  <c:v>14456.400000000001</c:v>
                </c:pt>
                <c:pt idx="8011">
                  <c:v>14956.2</c:v>
                </c:pt>
                <c:pt idx="8012">
                  <c:v>14884.800000000001</c:v>
                </c:pt>
                <c:pt idx="8013">
                  <c:v>14637</c:v>
                </c:pt>
                <c:pt idx="8014">
                  <c:v>14322</c:v>
                </c:pt>
                <c:pt idx="8015">
                  <c:v>13973.400000000001</c:v>
                </c:pt>
                <c:pt idx="8016">
                  <c:v>13906.2</c:v>
                </c:pt>
                <c:pt idx="8017">
                  <c:v>13910.400000000001</c:v>
                </c:pt>
                <c:pt idx="8018">
                  <c:v>14851.2</c:v>
                </c:pt>
                <c:pt idx="8019">
                  <c:v>14905.800000000001</c:v>
                </c:pt>
                <c:pt idx="8020">
                  <c:v>15552.6</c:v>
                </c:pt>
                <c:pt idx="8021">
                  <c:v>15918</c:v>
                </c:pt>
                <c:pt idx="8022">
                  <c:v>16329.6</c:v>
                </c:pt>
                <c:pt idx="8023">
                  <c:v>16619.400000000001</c:v>
                </c:pt>
                <c:pt idx="8024">
                  <c:v>16968</c:v>
                </c:pt>
                <c:pt idx="8025">
                  <c:v>17089.8</c:v>
                </c:pt>
                <c:pt idx="8026">
                  <c:v>16997.400000000001</c:v>
                </c:pt>
                <c:pt idx="8027">
                  <c:v>17081.400000000001</c:v>
                </c:pt>
                <c:pt idx="8028">
                  <c:v>17165.400000000001</c:v>
                </c:pt>
                <c:pt idx="8029">
                  <c:v>17199</c:v>
                </c:pt>
                <c:pt idx="8030">
                  <c:v>17161.2</c:v>
                </c:pt>
                <c:pt idx="8031">
                  <c:v>16921.8</c:v>
                </c:pt>
                <c:pt idx="8032">
                  <c:v>16573.2</c:v>
                </c:pt>
                <c:pt idx="8033">
                  <c:v>16342.2</c:v>
                </c:pt>
                <c:pt idx="8034">
                  <c:v>15871.800000000001</c:v>
                </c:pt>
                <c:pt idx="8035">
                  <c:v>15678.6</c:v>
                </c:pt>
                <c:pt idx="8036">
                  <c:v>15170.400000000001</c:v>
                </c:pt>
                <c:pt idx="8037">
                  <c:v>14905.800000000001</c:v>
                </c:pt>
                <c:pt idx="8038">
                  <c:v>14393.400000000001</c:v>
                </c:pt>
                <c:pt idx="8039">
                  <c:v>13851.6</c:v>
                </c:pt>
                <c:pt idx="8040">
                  <c:v>13221.6</c:v>
                </c:pt>
                <c:pt idx="8041">
                  <c:v>12537</c:v>
                </c:pt>
                <c:pt idx="8042">
                  <c:v>12373.2</c:v>
                </c:pt>
                <c:pt idx="8043">
                  <c:v>11629.800000000001</c:v>
                </c:pt>
                <c:pt idx="8044">
                  <c:v>10655.4</c:v>
                </c:pt>
                <c:pt idx="8045">
                  <c:v>9878.4</c:v>
                </c:pt>
                <c:pt idx="8046">
                  <c:v>8954.4</c:v>
                </c:pt>
                <c:pt idx="8047">
                  <c:v>8009.4000000000005</c:v>
                </c:pt>
                <c:pt idx="8048">
                  <c:v>6997.2000000000007</c:v>
                </c:pt>
                <c:pt idx="8049">
                  <c:v>6493.2000000000007</c:v>
                </c:pt>
                <c:pt idx="8050">
                  <c:v>5745.6</c:v>
                </c:pt>
                <c:pt idx="8051">
                  <c:v>5119.8</c:v>
                </c:pt>
                <c:pt idx="8052">
                  <c:v>4838.4000000000005</c:v>
                </c:pt>
                <c:pt idx="8053">
                  <c:v>5107.2</c:v>
                </c:pt>
                <c:pt idx="8054">
                  <c:v>6270.6</c:v>
                </c:pt>
                <c:pt idx="8055">
                  <c:v>7203</c:v>
                </c:pt>
                <c:pt idx="8056">
                  <c:v>8597.4</c:v>
                </c:pt>
                <c:pt idx="8057">
                  <c:v>10726.800000000001</c:v>
                </c:pt>
                <c:pt idx="8058">
                  <c:v>12138</c:v>
                </c:pt>
                <c:pt idx="8059">
                  <c:v>13120.800000000001</c:v>
                </c:pt>
                <c:pt idx="8060">
                  <c:v>13700.400000000001</c:v>
                </c:pt>
                <c:pt idx="8061">
                  <c:v>14427</c:v>
                </c:pt>
                <c:pt idx="8062">
                  <c:v>14968.800000000001</c:v>
                </c:pt>
                <c:pt idx="8063">
                  <c:v>15208.2</c:v>
                </c:pt>
                <c:pt idx="8064">
                  <c:v>15103.2</c:v>
                </c:pt>
                <c:pt idx="8065">
                  <c:v>15380.400000000001</c:v>
                </c:pt>
                <c:pt idx="8066">
                  <c:v>14637</c:v>
                </c:pt>
                <c:pt idx="8067">
                  <c:v>14506.800000000001</c:v>
                </c:pt>
                <c:pt idx="8068">
                  <c:v>13742.400000000001</c:v>
                </c:pt>
                <c:pt idx="8069">
                  <c:v>12931.800000000001</c:v>
                </c:pt>
                <c:pt idx="8070">
                  <c:v>12310.2</c:v>
                </c:pt>
                <c:pt idx="8071">
                  <c:v>11793.6</c:v>
                </c:pt>
                <c:pt idx="8072">
                  <c:v>11386.2</c:v>
                </c:pt>
                <c:pt idx="8073">
                  <c:v>10907.4</c:v>
                </c:pt>
                <c:pt idx="8074">
                  <c:v>10105.200000000001</c:v>
                </c:pt>
                <c:pt idx="8075">
                  <c:v>10105.200000000001</c:v>
                </c:pt>
                <c:pt idx="8076">
                  <c:v>10525.2</c:v>
                </c:pt>
                <c:pt idx="8077">
                  <c:v>10827.6</c:v>
                </c:pt>
                <c:pt idx="8078">
                  <c:v>10689</c:v>
                </c:pt>
                <c:pt idx="8079">
                  <c:v>10584</c:v>
                </c:pt>
                <c:pt idx="8080">
                  <c:v>10395</c:v>
                </c:pt>
                <c:pt idx="8081">
                  <c:v>10432.800000000001</c:v>
                </c:pt>
                <c:pt idx="8082">
                  <c:v>10239.6</c:v>
                </c:pt>
                <c:pt idx="8083">
                  <c:v>10311</c:v>
                </c:pt>
                <c:pt idx="8084">
                  <c:v>10332</c:v>
                </c:pt>
                <c:pt idx="8085">
                  <c:v>10579.800000000001</c:v>
                </c:pt>
                <c:pt idx="8086">
                  <c:v>10575.6</c:v>
                </c:pt>
                <c:pt idx="8087">
                  <c:v>10529.4</c:v>
                </c:pt>
                <c:pt idx="8088">
                  <c:v>10781.4</c:v>
                </c:pt>
                <c:pt idx="8089">
                  <c:v>11201.4</c:v>
                </c:pt>
                <c:pt idx="8090">
                  <c:v>12402.6</c:v>
                </c:pt>
                <c:pt idx="8091">
                  <c:v>13389.6</c:v>
                </c:pt>
                <c:pt idx="8092">
                  <c:v>13944</c:v>
                </c:pt>
                <c:pt idx="8093">
                  <c:v>14456.400000000001</c:v>
                </c:pt>
                <c:pt idx="8094">
                  <c:v>14590.800000000001</c:v>
                </c:pt>
                <c:pt idx="8095">
                  <c:v>15334.2</c:v>
                </c:pt>
                <c:pt idx="8096">
                  <c:v>15661.800000000001</c:v>
                </c:pt>
                <c:pt idx="8097">
                  <c:v>15750</c:v>
                </c:pt>
                <c:pt idx="8098">
                  <c:v>15472.800000000001</c:v>
                </c:pt>
                <c:pt idx="8099">
                  <c:v>15170.400000000001</c:v>
                </c:pt>
                <c:pt idx="8100">
                  <c:v>15162</c:v>
                </c:pt>
                <c:pt idx="8101">
                  <c:v>14443.800000000001</c:v>
                </c:pt>
                <c:pt idx="8102">
                  <c:v>14876.400000000001</c:v>
                </c:pt>
                <c:pt idx="8103">
                  <c:v>15061.2</c:v>
                </c:pt>
                <c:pt idx="8104">
                  <c:v>14989.800000000001</c:v>
                </c:pt>
                <c:pt idx="8105">
                  <c:v>15548.400000000001</c:v>
                </c:pt>
                <c:pt idx="8106">
                  <c:v>16459.8</c:v>
                </c:pt>
                <c:pt idx="8107">
                  <c:v>17047.8</c:v>
                </c:pt>
                <c:pt idx="8108">
                  <c:v>17388</c:v>
                </c:pt>
                <c:pt idx="8109">
                  <c:v>17732.400000000001</c:v>
                </c:pt>
                <c:pt idx="8110">
                  <c:v>17820.600000000002</c:v>
                </c:pt>
                <c:pt idx="8111">
                  <c:v>17955</c:v>
                </c:pt>
                <c:pt idx="8112">
                  <c:v>17207.400000000001</c:v>
                </c:pt>
                <c:pt idx="8113">
                  <c:v>16317</c:v>
                </c:pt>
                <c:pt idx="8114">
                  <c:v>15985.2</c:v>
                </c:pt>
                <c:pt idx="8115">
                  <c:v>15208.2</c:v>
                </c:pt>
                <c:pt idx="8116">
                  <c:v>15670.2</c:v>
                </c:pt>
                <c:pt idx="8117">
                  <c:v>16224.6</c:v>
                </c:pt>
                <c:pt idx="8118">
                  <c:v>17598</c:v>
                </c:pt>
                <c:pt idx="8119">
                  <c:v>18337.2</c:v>
                </c:pt>
                <c:pt idx="8120">
                  <c:v>19122.600000000002</c:v>
                </c:pt>
                <c:pt idx="8121">
                  <c:v>20420.400000000001</c:v>
                </c:pt>
                <c:pt idx="8122">
                  <c:v>20882.400000000001</c:v>
                </c:pt>
                <c:pt idx="8123">
                  <c:v>21533.4</c:v>
                </c:pt>
                <c:pt idx="8124">
                  <c:v>21680.400000000001</c:v>
                </c:pt>
                <c:pt idx="8125">
                  <c:v>21751.8</c:v>
                </c:pt>
                <c:pt idx="8126">
                  <c:v>21672</c:v>
                </c:pt>
                <c:pt idx="8127">
                  <c:v>21655.200000000001</c:v>
                </c:pt>
                <c:pt idx="8128">
                  <c:v>21415.8</c:v>
                </c:pt>
                <c:pt idx="8129">
                  <c:v>21063</c:v>
                </c:pt>
                <c:pt idx="8130">
                  <c:v>20861.400000000001</c:v>
                </c:pt>
                <c:pt idx="8131">
                  <c:v>20802.600000000002</c:v>
                </c:pt>
                <c:pt idx="8132">
                  <c:v>20785.8</c:v>
                </c:pt>
                <c:pt idx="8133">
                  <c:v>20340.600000000002</c:v>
                </c:pt>
                <c:pt idx="8134">
                  <c:v>20239.8</c:v>
                </c:pt>
                <c:pt idx="8135">
                  <c:v>20386.8</c:v>
                </c:pt>
                <c:pt idx="8136">
                  <c:v>20580</c:v>
                </c:pt>
                <c:pt idx="8137">
                  <c:v>20651.400000000001</c:v>
                </c:pt>
                <c:pt idx="8138">
                  <c:v>20697.600000000002</c:v>
                </c:pt>
                <c:pt idx="8139">
                  <c:v>20651.400000000001</c:v>
                </c:pt>
                <c:pt idx="8140">
                  <c:v>20491.8</c:v>
                </c:pt>
                <c:pt idx="8141">
                  <c:v>20433</c:v>
                </c:pt>
                <c:pt idx="8142">
                  <c:v>20735.400000000001</c:v>
                </c:pt>
                <c:pt idx="8143">
                  <c:v>20483.400000000001</c:v>
                </c:pt>
                <c:pt idx="8144">
                  <c:v>20361.600000000002</c:v>
                </c:pt>
                <c:pt idx="8145">
                  <c:v>20281.8</c:v>
                </c:pt>
                <c:pt idx="8146">
                  <c:v>20281.8</c:v>
                </c:pt>
                <c:pt idx="8147">
                  <c:v>20155.8</c:v>
                </c:pt>
                <c:pt idx="8148">
                  <c:v>20269.2</c:v>
                </c:pt>
                <c:pt idx="8149">
                  <c:v>20391</c:v>
                </c:pt>
                <c:pt idx="8150">
                  <c:v>20130.600000000002</c:v>
                </c:pt>
                <c:pt idx="8151">
                  <c:v>20084.400000000001</c:v>
                </c:pt>
                <c:pt idx="8152">
                  <c:v>20113.8</c:v>
                </c:pt>
                <c:pt idx="8153">
                  <c:v>20613.600000000002</c:v>
                </c:pt>
                <c:pt idx="8154">
                  <c:v>20538</c:v>
                </c:pt>
                <c:pt idx="8155">
                  <c:v>20647.2</c:v>
                </c:pt>
                <c:pt idx="8156">
                  <c:v>20869.8</c:v>
                </c:pt>
                <c:pt idx="8157">
                  <c:v>21420</c:v>
                </c:pt>
                <c:pt idx="8158">
                  <c:v>21323.4</c:v>
                </c:pt>
                <c:pt idx="8159">
                  <c:v>21193.200000000001</c:v>
                </c:pt>
                <c:pt idx="8160">
                  <c:v>21201.600000000002</c:v>
                </c:pt>
                <c:pt idx="8161">
                  <c:v>21117.600000000002</c:v>
                </c:pt>
                <c:pt idx="8162">
                  <c:v>20895</c:v>
                </c:pt>
                <c:pt idx="8163">
                  <c:v>21100.799999999999</c:v>
                </c:pt>
                <c:pt idx="8164">
                  <c:v>21390.600000000002</c:v>
                </c:pt>
                <c:pt idx="8165">
                  <c:v>21558.600000000002</c:v>
                </c:pt>
                <c:pt idx="8166">
                  <c:v>21567</c:v>
                </c:pt>
                <c:pt idx="8167">
                  <c:v>21289.8</c:v>
                </c:pt>
                <c:pt idx="8168">
                  <c:v>20844.600000000002</c:v>
                </c:pt>
                <c:pt idx="8169">
                  <c:v>20076</c:v>
                </c:pt>
                <c:pt idx="8170">
                  <c:v>18866.400000000001</c:v>
                </c:pt>
                <c:pt idx="8171">
                  <c:v>17988.600000000002</c:v>
                </c:pt>
                <c:pt idx="8172">
                  <c:v>17039.400000000001</c:v>
                </c:pt>
                <c:pt idx="8173">
                  <c:v>16048.2</c:v>
                </c:pt>
                <c:pt idx="8174">
                  <c:v>14855.400000000001</c:v>
                </c:pt>
                <c:pt idx="8175">
                  <c:v>13939.800000000001</c:v>
                </c:pt>
                <c:pt idx="8176">
                  <c:v>13158.6</c:v>
                </c:pt>
                <c:pt idx="8177">
                  <c:v>12448.800000000001</c:v>
                </c:pt>
                <c:pt idx="8178">
                  <c:v>11848.2</c:v>
                </c:pt>
                <c:pt idx="8179">
                  <c:v>11281.2</c:v>
                </c:pt>
                <c:pt idx="8180">
                  <c:v>10689</c:v>
                </c:pt>
                <c:pt idx="8181">
                  <c:v>10470.6</c:v>
                </c:pt>
                <c:pt idx="8182">
                  <c:v>10143</c:v>
                </c:pt>
                <c:pt idx="8183">
                  <c:v>9836.4</c:v>
                </c:pt>
                <c:pt idx="8184">
                  <c:v>9710.4</c:v>
                </c:pt>
                <c:pt idx="8185">
                  <c:v>9798.6</c:v>
                </c:pt>
                <c:pt idx="8186">
                  <c:v>9651.6</c:v>
                </c:pt>
                <c:pt idx="8187">
                  <c:v>9479.4</c:v>
                </c:pt>
                <c:pt idx="8188">
                  <c:v>9366</c:v>
                </c:pt>
                <c:pt idx="8189">
                  <c:v>9366</c:v>
                </c:pt>
                <c:pt idx="8190">
                  <c:v>8925</c:v>
                </c:pt>
                <c:pt idx="8191">
                  <c:v>8370.6</c:v>
                </c:pt>
                <c:pt idx="8192">
                  <c:v>7908.6</c:v>
                </c:pt>
                <c:pt idx="8193">
                  <c:v>7715.4000000000005</c:v>
                </c:pt>
                <c:pt idx="8194">
                  <c:v>7723.8</c:v>
                </c:pt>
                <c:pt idx="8195">
                  <c:v>7715.4000000000005</c:v>
                </c:pt>
                <c:pt idx="8196">
                  <c:v>8215.2000000000007</c:v>
                </c:pt>
                <c:pt idx="8197">
                  <c:v>8400</c:v>
                </c:pt>
                <c:pt idx="8198">
                  <c:v>8605.8000000000011</c:v>
                </c:pt>
                <c:pt idx="8199">
                  <c:v>9025.8000000000011</c:v>
                </c:pt>
                <c:pt idx="8200">
                  <c:v>9471</c:v>
                </c:pt>
                <c:pt idx="8201">
                  <c:v>10054.800000000001</c:v>
                </c:pt>
                <c:pt idx="8202">
                  <c:v>11155.2</c:v>
                </c:pt>
                <c:pt idx="8203">
                  <c:v>11781</c:v>
                </c:pt>
                <c:pt idx="8204">
                  <c:v>12222</c:v>
                </c:pt>
                <c:pt idx="8205">
                  <c:v>12726</c:v>
                </c:pt>
                <c:pt idx="8206">
                  <c:v>12944.400000000001</c:v>
                </c:pt>
                <c:pt idx="8207">
                  <c:v>13196.400000000001</c:v>
                </c:pt>
                <c:pt idx="8208">
                  <c:v>13293</c:v>
                </c:pt>
                <c:pt idx="8209">
                  <c:v>13225.800000000001</c:v>
                </c:pt>
                <c:pt idx="8210">
                  <c:v>13587</c:v>
                </c:pt>
                <c:pt idx="8211">
                  <c:v>13406.400000000001</c:v>
                </c:pt>
                <c:pt idx="8212">
                  <c:v>13204.800000000001</c:v>
                </c:pt>
                <c:pt idx="8213">
                  <c:v>13091.400000000001</c:v>
                </c:pt>
                <c:pt idx="8214">
                  <c:v>12843.6</c:v>
                </c:pt>
                <c:pt idx="8215">
                  <c:v>12713.4</c:v>
                </c:pt>
                <c:pt idx="8216">
                  <c:v>12747</c:v>
                </c:pt>
                <c:pt idx="8217">
                  <c:v>12919.2</c:v>
                </c:pt>
                <c:pt idx="8218">
                  <c:v>12952.800000000001</c:v>
                </c:pt>
                <c:pt idx="8219">
                  <c:v>12822.6</c:v>
                </c:pt>
                <c:pt idx="8220">
                  <c:v>13070.400000000001</c:v>
                </c:pt>
                <c:pt idx="8221">
                  <c:v>13385.400000000001</c:v>
                </c:pt>
                <c:pt idx="8222">
                  <c:v>14137.2</c:v>
                </c:pt>
                <c:pt idx="8223">
                  <c:v>14842.800000000001</c:v>
                </c:pt>
                <c:pt idx="8224">
                  <c:v>15258.6</c:v>
                </c:pt>
                <c:pt idx="8225">
                  <c:v>16107</c:v>
                </c:pt>
                <c:pt idx="8226">
                  <c:v>16527</c:v>
                </c:pt>
                <c:pt idx="8227">
                  <c:v>16212</c:v>
                </c:pt>
                <c:pt idx="8228">
                  <c:v>16363.2</c:v>
                </c:pt>
                <c:pt idx="8229">
                  <c:v>16422</c:v>
                </c:pt>
                <c:pt idx="8230">
                  <c:v>16375.800000000001</c:v>
                </c:pt>
                <c:pt idx="8231">
                  <c:v>16422</c:v>
                </c:pt>
                <c:pt idx="8232">
                  <c:v>16653</c:v>
                </c:pt>
                <c:pt idx="8233">
                  <c:v>16980.600000000002</c:v>
                </c:pt>
                <c:pt idx="8234">
                  <c:v>17732.400000000001</c:v>
                </c:pt>
                <c:pt idx="8235">
                  <c:v>17879.400000000001</c:v>
                </c:pt>
                <c:pt idx="8236">
                  <c:v>18043.2</c:v>
                </c:pt>
                <c:pt idx="8237">
                  <c:v>18274.2</c:v>
                </c:pt>
                <c:pt idx="8238">
                  <c:v>18454.8</c:v>
                </c:pt>
                <c:pt idx="8239">
                  <c:v>18866.400000000001</c:v>
                </c:pt>
                <c:pt idx="8240">
                  <c:v>18853.8</c:v>
                </c:pt>
                <c:pt idx="8241">
                  <c:v>18883.2</c:v>
                </c:pt>
                <c:pt idx="8242">
                  <c:v>18744.600000000002</c:v>
                </c:pt>
                <c:pt idx="8243">
                  <c:v>18866.400000000001</c:v>
                </c:pt>
                <c:pt idx="8244">
                  <c:v>18853.8</c:v>
                </c:pt>
                <c:pt idx="8245">
                  <c:v>18786.600000000002</c:v>
                </c:pt>
                <c:pt idx="8246">
                  <c:v>18732</c:v>
                </c:pt>
                <c:pt idx="8247">
                  <c:v>18585</c:v>
                </c:pt>
                <c:pt idx="8248">
                  <c:v>18261.600000000002</c:v>
                </c:pt>
                <c:pt idx="8249">
                  <c:v>18337.2</c:v>
                </c:pt>
                <c:pt idx="8250">
                  <c:v>18530.400000000001</c:v>
                </c:pt>
                <c:pt idx="8251">
                  <c:v>18564</c:v>
                </c:pt>
                <c:pt idx="8252">
                  <c:v>18265.8</c:v>
                </c:pt>
                <c:pt idx="8253">
                  <c:v>17925.600000000002</c:v>
                </c:pt>
                <c:pt idx="8254">
                  <c:v>17467.8</c:v>
                </c:pt>
                <c:pt idx="8255">
                  <c:v>17010</c:v>
                </c:pt>
                <c:pt idx="8256">
                  <c:v>16493.400000000001</c:v>
                </c:pt>
                <c:pt idx="8257">
                  <c:v>16153.2</c:v>
                </c:pt>
                <c:pt idx="8258">
                  <c:v>15976.800000000001</c:v>
                </c:pt>
                <c:pt idx="8259">
                  <c:v>15603</c:v>
                </c:pt>
                <c:pt idx="8260">
                  <c:v>15010.800000000001</c:v>
                </c:pt>
                <c:pt idx="8261">
                  <c:v>15002.400000000001</c:v>
                </c:pt>
                <c:pt idx="8262">
                  <c:v>14607.6</c:v>
                </c:pt>
                <c:pt idx="8263">
                  <c:v>14338.800000000001</c:v>
                </c:pt>
                <c:pt idx="8264">
                  <c:v>13662.6</c:v>
                </c:pt>
                <c:pt idx="8265">
                  <c:v>12994.800000000001</c:v>
                </c:pt>
                <c:pt idx="8266">
                  <c:v>12604.2</c:v>
                </c:pt>
                <c:pt idx="8267">
                  <c:v>12117</c:v>
                </c:pt>
                <c:pt idx="8268">
                  <c:v>11839.800000000001</c:v>
                </c:pt>
                <c:pt idx="8269">
                  <c:v>11520.6</c:v>
                </c:pt>
                <c:pt idx="8270">
                  <c:v>10978.800000000001</c:v>
                </c:pt>
                <c:pt idx="8271">
                  <c:v>10672.2</c:v>
                </c:pt>
                <c:pt idx="8272">
                  <c:v>10827.6</c:v>
                </c:pt>
                <c:pt idx="8273">
                  <c:v>10802.4</c:v>
                </c:pt>
                <c:pt idx="8274">
                  <c:v>10999.800000000001</c:v>
                </c:pt>
                <c:pt idx="8275">
                  <c:v>11596.2</c:v>
                </c:pt>
                <c:pt idx="8276">
                  <c:v>11915.4</c:v>
                </c:pt>
                <c:pt idx="8277">
                  <c:v>11932.2</c:v>
                </c:pt>
                <c:pt idx="8278">
                  <c:v>11705.4</c:v>
                </c:pt>
                <c:pt idx="8279">
                  <c:v>11776.800000000001</c:v>
                </c:pt>
                <c:pt idx="8280">
                  <c:v>11869.2</c:v>
                </c:pt>
                <c:pt idx="8281">
                  <c:v>11978.4</c:v>
                </c:pt>
                <c:pt idx="8282">
                  <c:v>12516</c:v>
                </c:pt>
                <c:pt idx="8283">
                  <c:v>12184.2</c:v>
                </c:pt>
                <c:pt idx="8284">
                  <c:v>12419.4</c:v>
                </c:pt>
                <c:pt idx="8285">
                  <c:v>12230.4</c:v>
                </c:pt>
                <c:pt idx="8286">
                  <c:v>11760</c:v>
                </c:pt>
                <c:pt idx="8287">
                  <c:v>11331.6</c:v>
                </c:pt>
                <c:pt idx="8288">
                  <c:v>11058.6</c:v>
                </c:pt>
                <c:pt idx="8289">
                  <c:v>11587.800000000001</c:v>
                </c:pt>
                <c:pt idx="8290">
                  <c:v>11646.6</c:v>
                </c:pt>
                <c:pt idx="8291">
                  <c:v>11877.6</c:v>
                </c:pt>
                <c:pt idx="8292">
                  <c:v>11961.6</c:v>
                </c:pt>
                <c:pt idx="8293">
                  <c:v>12482.4</c:v>
                </c:pt>
                <c:pt idx="8294">
                  <c:v>12789</c:v>
                </c:pt>
                <c:pt idx="8295">
                  <c:v>12923.400000000001</c:v>
                </c:pt>
                <c:pt idx="8296">
                  <c:v>13003.2</c:v>
                </c:pt>
                <c:pt idx="8297">
                  <c:v>13116.6</c:v>
                </c:pt>
                <c:pt idx="8298">
                  <c:v>13330.800000000001</c:v>
                </c:pt>
                <c:pt idx="8299">
                  <c:v>12553.800000000001</c:v>
                </c:pt>
                <c:pt idx="8300">
                  <c:v>11440.800000000001</c:v>
                </c:pt>
                <c:pt idx="8301">
                  <c:v>11193</c:v>
                </c:pt>
                <c:pt idx="8302">
                  <c:v>10294.200000000001</c:v>
                </c:pt>
                <c:pt idx="8303">
                  <c:v>9508.8000000000011</c:v>
                </c:pt>
                <c:pt idx="8304">
                  <c:v>9009</c:v>
                </c:pt>
                <c:pt idx="8305">
                  <c:v>8295</c:v>
                </c:pt>
                <c:pt idx="8306">
                  <c:v>6564.6</c:v>
                </c:pt>
                <c:pt idx="8307">
                  <c:v>5846.4000000000005</c:v>
                </c:pt>
                <c:pt idx="8308">
                  <c:v>5128.2</c:v>
                </c:pt>
                <c:pt idx="8309">
                  <c:v>4435.2</c:v>
                </c:pt>
                <c:pt idx="8310">
                  <c:v>4053</c:v>
                </c:pt>
                <c:pt idx="8311">
                  <c:v>3754.8</c:v>
                </c:pt>
                <c:pt idx="8312">
                  <c:v>3586.8</c:v>
                </c:pt>
                <c:pt idx="8313">
                  <c:v>3561.6000000000004</c:v>
                </c:pt>
                <c:pt idx="8314">
                  <c:v>3725.4</c:v>
                </c:pt>
                <c:pt idx="8315">
                  <c:v>3620.4</c:v>
                </c:pt>
                <c:pt idx="8316">
                  <c:v>3347.4</c:v>
                </c:pt>
                <c:pt idx="8317">
                  <c:v>3217.2000000000003</c:v>
                </c:pt>
                <c:pt idx="8318">
                  <c:v>3133.2000000000003</c:v>
                </c:pt>
                <c:pt idx="8319">
                  <c:v>3133.2000000000003</c:v>
                </c:pt>
                <c:pt idx="8320">
                  <c:v>3355.8</c:v>
                </c:pt>
                <c:pt idx="8321">
                  <c:v>3507</c:v>
                </c:pt>
                <c:pt idx="8322">
                  <c:v>3855.6000000000004</c:v>
                </c:pt>
                <c:pt idx="8323">
                  <c:v>3918.6000000000004</c:v>
                </c:pt>
                <c:pt idx="8324">
                  <c:v>4103.4000000000005</c:v>
                </c:pt>
                <c:pt idx="8325">
                  <c:v>4242</c:v>
                </c:pt>
                <c:pt idx="8326">
                  <c:v>4338.6000000000004</c:v>
                </c:pt>
                <c:pt idx="8327">
                  <c:v>4515</c:v>
                </c:pt>
                <c:pt idx="8328">
                  <c:v>4552.8</c:v>
                </c:pt>
                <c:pt idx="8329">
                  <c:v>4662</c:v>
                </c:pt>
                <c:pt idx="8330">
                  <c:v>5376</c:v>
                </c:pt>
                <c:pt idx="8331">
                  <c:v>5733</c:v>
                </c:pt>
                <c:pt idx="8332">
                  <c:v>5964</c:v>
                </c:pt>
                <c:pt idx="8333">
                  <c:v>6274.8</c:v>
                </c:pt>
                <c:pt idx="8334">
                  <c:v>6405</c:v>
                </c:pt>
                <c:pt idx="8335">
                  <c:v>6560.4000000000005</c:v>
                </c:pt>
                <c:pt idx="8336">
                  <c:v>6547.8</c:v>
                </c:pt>
                <c:pt idx="8337">
                  <c:v>6673.8</c:v>
                </c:pt>
                <c:pt idx="8338">
                  <c:v>6115.2</c:v>
                </c:pt>
                <c:pt idx="8339">
                  <c:v>5594.4000000000005</c:v>
                </c:pt>
                <c:pt idx="8340">
                  <c:v>5010.6000000000004</c:v>
                </c:pt>
                <c:pt idx="8341">
                  <c:v>4695.6000000000004</c:v>
                </c:pt>
                <c:pt idx="8342">
                  <c:v>3763.2000000000003</c:v>
                </c:pt>
                <c:pt idx="8343">
                  <c:v>3040.8</c:v>
                </c:pt>
                <c:pt idx="8344">
                  <c:v>2562</c:v>
                </c:pt>
                <c:pt idx="8345">
                  <c:v>2238.6</c:v>
                </c:pt>
                <c:pt idx="8346">
                  <c:v>2200.8000000000002</c:v>
                </c:pt>
                <c:pt idx="8347">
                  <c:v>2549.4</c:v>
                </c:pt>
                <c:pt idx="8348">
                  <c:v>3288.6000000000004</c:v>
                </c:pt>
                <c:pt idx="8349">
                  <c:v>3952.2000000000003</c:v>
                </c:pt>
                <c:pt idx="8350">
                  <c:v>4901.4000000000005</c:v>
                </c:pt>
                <c:pt idx="8351">
                  <c:v>6119.4000000000005</c:v>
                </c:pt>
                <c:pt idx="8352">
                  <c:v>7047.6</c:v>
                </c:pt>
                <c:pt idx="8353">
                  <c:v>7854</c:v>
                </c:pt>
                <c:pt idx="8354">
                  <c:v>8089.2000000000007</c:v>
                </c:pt>
                <c:pt idx="8355">
                  <c:v>8521.8000000000011</c:v>
                </c:pt>
                <c:pt idx="8356">
                  <c:v>8681.4</c:v>
                </c:pt>
                <c:pt idx="8357">
                  <c:v>9462.6</c:v>
                </c:pt>
                <c:pt idx="8358">
                  <c:v>9382.8000000000011</c:v>
                </c:pt>
                <c:pt idx="8359">
                  <c:v>9370.2000000000007</c:v>
                </c:pt>
                <c:pt idx="8360">
                  <c:v>9298.8000000000011</c:v>
                </c:pt>
                <c:pt idx="8361">
                  <c:v>8878.8000000000011</c:v>
                </c:pt>
                <c:pt idx="8362">
                  <c:v>8597.4</c:v>
                </c:pt>
                <c:pt idx="8363">
                  <c:v>8349.6</c:v>
                </c:pt>
                <c:pt idx="8364">
                  <c:v>7774.2000000000007</c:v>
                </c:pt>
                <c:pt idx="8365">
                  <c:v>7098</c:v>
                </c:pt>
                <c:pt idx="8366">
                  <c:v>6720</c:v>
                </c:pt>
                <c:pt idx="8367">
                  <c:v>6552</c:v>
                </c:pt>
                <c:pt idx="8368">
                  <c:v>6350.4000000000005</c:v>
                </c:pt>
                <c:pt idx="8369">
                  <c:v>6178.2</c:v>
                </c:pt>
                <c:pt idx="8370">
                  <c:v>6388.2</c:v>
                </c:pt>
                <c:pt idx="8371">
                  <c:v>6144.6</c:v>
                </c:pt>
                <c:pt idx="8372">
                  <c:v>5964</c:v>
                </c:pt>
                <c:pt idx="8373">
                  <c:v>6245.4000000000005</c:v>
                </c:pt>
                <c:pt idx="8374">
                  <c:v>6417.6</c:v>
                </c:pt>
                <c:pt idx="8375">
                  <c:v>6186.6</c:v>
                </c:pt>
                <c:pt idx="8376">
                  <c:v>6665.4000000000005</c:v>
                </c:pt>
                <c:pt idx="8377">
                  <c:v>7299.6</c:v>
                </c:pt>
                <c:pt idx="8378">
                  <c:v>8311.8000000000011</c:v>
                </c:pt>
                <c:pt idx="8379">
                  <c:v>9076.2000000000007</c:v>
                </c:pt>
                <c:pt idx="8380">
                  <c:v>9458.4</c:v>
                </c:pt>
                <c:pt idx="8381">
                  <c:v>9882.6</c:v>
                </c:pt>
                <c:pt idx="8382">
                  <c:v>9987.6</c:v>
                </c:pt>
                <c:pt idx="8383">
                  <c:v>9798.6</c:v>
                </c:pt>
                <c:pt idx="8384">
                  <c:v>9798.6</c:v>
                </c:pt>
                <c:pt idx="8385">
                  <c:v>9151.8000000000011</c:v>
                </c:pt>
                <c:pt idx="8386">
                  <c:v>8437.8000000000011</c:v>
                </c:pt>
                <c:pt idx="8387">
                  <c:v>7917</c:v>
                </c:pt>
                <c:pt idx="8388">
                  <c:v>7375.2000000000007</c:v>
                </c:pt>
                <c:pt idx="8389">
                  <c:v>6736.8</c:v>
                </c:pt>
                <c:pt idx="8390">
                  <c:v>6321</c:v>
                </c:pt>
                <c:pt idx="8391">
                  <c:v>5678.4000000000005</c:v>
                </c:pt>
                <c:pt idx="8392">
                  <c:v>5002.2</c:v>
                </c:pt>
                <c:pt idx="8393">
                  <c:v>4540.2</c:v>
                </c:pt>
                <c:pt idx="8394">
                  <c:v>4149.6000000000004</c:v>
                </c:pt>
                <c:pt idx="8395">
                  <c:v>4128.6000000000004</c:v>
                </c:pt>
                <c:pt idx="8396">
                  <c:v>4179</c:v>
                </c:pt>
                <c:pt idx="8397">
                  <c:v>4242</c:v>
                </c:pt>
                <c:pt idx="8398">
                  <c:v>4557</c:v>
                </c:pt>
                <c:pt idx="8399">
                  <c:v>4897.2</c:v>
                </c:pt>
                <c:pt idx="8400">
                  <c:v>4720.8</c:v>
                </c:pt>
                <c:pt idx="8401">
                  <c:v>4897.2</c:v>
                </c:pt>
                <c:pt idx="8402">
                  <c:v>5846.4000000000005</c:v>
                </c:pt>
                <c:pt idx="8403">
                  <c:v>5972.4000000000005</c:v>
                </c:pt>
                <c:pt idx="8404">
                  <c:v>6094.2</c:v>
                </c:pt>
                <c:pt idx="8405">
                  <c:v>6295.8</c:v>
                </c:pt>
                <c:pt idx="8406">
                  <c:v>6052.2</c:v>
                </c:pt>
                <c:pt idx="8407">
                  <c:v>5846.4000000000005</c:v>
                </c:pt>
                <c:pt idx="8408">
                  <c:v>5649</c:v>
                </c:pt>
                <c:pt idx="8409">
                  <c:v>5556.6</c:v>
                </c:pt>
                <c:pt idx="8410">
                  <c:v>5401.2</c:v>
                </c:pt>
                <c:pt idx="8411">
                  <c:v>5413.8</c:v>
                </c:pt>
                <c:pt idx="8412">
                  <c:v>5426.4000000000005</c:v>
                </c:pt>
                <c:pt idx="8413">
                  <c:v>5355</c:v>
                </c:pt>
                <c:pt idx="8414">
                  <c:v>5384.4000000000005</c:v>
                </c:pt>
                <c:pt idx="8415">
                  <c:v>5384.4000000000005</c:v>
                </c:pt>
                <c:pt idx="8416">
                  <c:v>5418</c:v>
                </c:pt>
                <c:pt idx="8417">
                  <c:v>5426.4000000000005</c:v>
                </c:pt>
                <c:pt idx="8418">
                  <c:v>5451.6</c:v>
                </c:pt>
                <c:pt idx="8419">
                  <c:v>5338.2</c:v>
                </c:pt>
                <c:pt idx="8420">
                  <c:v>5187</c:v>
                </c:pt>
                <c:pt idx="8421">
                  <c:v>5153.4000000000005</c:v>
                </c:pt>
                <c:pt idx="8422">
                  <c:v>5481</c:v>
                </c:pt>
                <c:pt idx="8423">
                  <c:v>5888.4000000000005</c:v>
                </c:pt>
                <c:pt idx="8424">
                  <c:v>6371.4000000000005</c:v>
                </c:pt>
                <c:pt idx="8425">
                  <c:v>7009.8</c:v>
                </c:pt>
                <c:pt idx="8426">
                  <c:v>8538.6</c:v>
                </c:pt>
                <c:pt idx="8427">
                  <c:v>9399.6</c:v>
                </c:pt>
                <c:pt idx="8428">
                  <c:v>10529.4</c:v>
                </c:pt>
                <c:pt idx="8429">
                  <c:v>11587.800000000001</c:v>
                </c:pt>
                <c:pt idx="8430">
                  <c:v>12146.4</c:v>
                </c:pt>
                <c:pt idx="8431">
                  <c:v>12268.2</c:v>
                </c:pt>
                <c:pt idx="8432">
                  <c:v>11957.4</c:v>
                </c:pt>
                <c:pt idx="8433">
                  <c:v>11684.4</c:v>
                </c:pt>
                <c:pt idx="8434">
                  <c:v>11621.4</c:v>
                </c:pt>
                <c:pt idx="8435">
                  <c:v>11655</c:v>
                </c:pt>
                <c:pt idx="8436">
                  <c:v>11638.2</c:v>
                </c:pt>
                <c:pt idx="8437">
                  <c:v>11953.2</c:v>
                </c:pt>
                <c:pt idx="8438">
                  <c:v>12167.4</c:v>
                </c:pt>
                <c:pt idx="8439">
                  <c:v>12742.800000000001</c:v>
                </c:pt>
                <c:pt idx="8440">
                  <c:v>13696.2</c:v>
                </c:pt>
                <c:pt idx="8441">
                  <c:v>14347.2</c:v>
                </c:pt>
                <c:pt idx="8442">
                  <c:v>15325.800000000001</c:v>
                </c:pt>
                <c:pt idx="8443">
                  <c:v>15212.400000000001</c:v>
                </c:pt>
                <c:pt idx="8444">
                  <c:v>15947.400000000001</c:v>
                </c:pt>
                <c:pt idx="8445">
                  <c:v>16233</c:v>
                </c:pt>
                <c:pt idx="8446">
                  <c:v>16648.8</c:v>
                </c:pt>
                <c:pt idx="8447">
                  <c:v>16993.2</c:v>
                </c:pt>
                <c:pt idx="8448">
                  <c:v>17707.2</c:v>
                </c:pt>
                <c:pt idx="8449">
                  <c:v>18387.600000000002</c:v>
                </c:pt>
                <c:pt idx="8450">
                  <c:v>18795</c:v>
                </c:pt>
                <c:pt idx="8451">
                  <c:v>18887.400000000001</c:v>
                </c:pt>
                <c:pt idx="8452">
                  <c:v>18778.2</c:v>
                </c:pt>
                <c:pt idx="8453">
                  <c:v>18480</c:v>
                </c:pt>
                <c:pt idx="8454">
                  <c:v>18039</c:v>
                </c:pt>
                <c:pt idx="8455">
                  <c:v>17572.8</c:v>
                </c:pt>
                <c:pt idx="8456">
                  <c:v>17014.2</c:v>
                </c:pt>
                <c:pt idx="8457">
                  <c:v>16438.8</c:v>
                </c:pt>
                <c:pt idx="8458">
                  <c:v>15640.800000000001</c:v>
                </c:pt>
                <c:pt idx="8459">
                  <c:v>15124.2</c:v>
                </c:pt>
                <c:pt idx="8460">
                  <c:v>14044.800000000001</c:v>
                </c:pt>
                <c:pt idx="8461">
                  <c:v>13175.400000000001</c:v>
                </c:pt>
                <c:pt idx="8462">
                  <c:v>12461.4</c:v>
                </c:pt>
                <c:pt idx="8463">
                  <c:v>11461.800000000001</c:v>
                </c:pt>
                <c:pt idx="8464">
                  <c:v>10298.4</c:v>
                </c:pt>
                <c:pt idx="8465">
                  <c:v>9403.8000000000011</c:v>
                </c:pt>
                <c:pt idx="8466">
                  <c:v>9147.6</c:v>
                </c:pt>
                <c:pt idx="8467">
                  <c:v>9529.8000000000011</c:v>
                </c:pt>
                <c:pt idx="8468">
                  <c:v>10021.200000000001</c:v>
                </c:pt>
                <c:pt idx="8469">
                  <c:v>11188.800000000001</c:v>
                </c:pt>
                <c:pt idx="8470">
                  <c:v>12747</c:v>
                </c:pt>
                <c:pt idx="8471">
                  <c:v>14271.6</c:v>
                </c:pt>
                <c:pt idx="8472">
                  <c:v>15233.400000000001</c:v>
                </c:pt>
                <c:pt idx="8473">
                  <c:v>15934.800000000001</c:v>
                </c:pt>
                <c:pt idx="8474">
                  <c:v>16485</c:v>
                </c:pt>
                <c:pt idx="8475">
                  <c:v>17102.400000000001</c:v>
                </c:pt>
                <c:pt idx="8476">
                  <c:v>17123.400000000001</c:v>
                </c:pt>
                <c:pt idx="8477">
                  <c:v>17211.600000000002</c:v>
                </c:pt>
                <c:pt idx="8478">
                  <c:v>17304</c:v>
                </c:pt>
                <c:pt idx="8479">
                  <c:v>17455.2</c:v>
                </c:pt>
                <c:pt idx="8480">
                  <c:v>16980.600000000002</c:v>
                </c:pt>
                <c:pt idx="8481">
                  <c:v>17308.2</c:v>
                </c:pt>
                <c:pt idx="8482">
                  <c:v>17203.2</c:v>
                </c:pt>
                <c:pt idx="8483">
                  <c:v>17052</c:v>
                </c:pt>
                <c:pt idx="8484">
                  <c:v>17085.600000000002</c:v>
                </c:pt>
                <c:pt idx="8485">
                  <c:v>17119.2</c:v>
                </c:pt>
                <c:pt idx="8486">
                  <c:v>16888.2</c:v>
                </c:pt>
                <c:pt idx="8487">
                  <c:v>16812.600000000002</c:v>
                </c:pt>
                <c:pt idx="8488">
                  <c:v>16644.600000000002</c:v>
                </c:pt>
                <c:pt idx="8489">
                  <c:v>16514.400000000001</c:v>
                </c:pt>
                <c:pt idx="8490">
                  <c:v>16602.600000000002</c:v>
                </c:pt>
                <c:pt idx="8491">
                  <c:v>16136.400000000001</c:v>
                </c:pt>
                <c:pt idx="8492">
                  <c:v>15766.800000000001</c:v>
                </c:pt>
                <c:pt idx="8493">
                  <c:v>15678.6</c:v>
                </c:pt>
                <c:pt idx="8494">
                  <c:v>15804.6</c:v>
                </c:pt>
                <c:pt idx="8495">
                  <c:v>15754.2</c:v>
                </c:pt>
                <c:pt idx="8496">
                  <c:v>15892.800000000001</c:v>
                </c:pt>
                <c:pt idx="8497">
                  <c:v>16770.600000000002</c:v>
                </c:pt>
                <c:pt idx="8498">
                  <c:v>17207.400000000001</c:v>
                </c:pt>
                <c:pt idx="8499">
                  <c:v>18047.400000000001</c:v>
                </c:pt>
                <c:pt idx="8500">
                  <c:v>18177.600000000002</c:v>
                </c:pt>
                <c:pt idx="8501">
                  <c:v>17824.8</c:v>
                </c:pt>
                <c:pt idx="8502">
                  <c:v>17745</c:v>
                </c:pt>
                <c:pt idx="8503">
                  <c:v>18320.400000000001</c:v>
                </c:pt>
                <c:pt idx="8504">
                  <c:v>18454.8</c:v>
                </c:pt>
                <c:pt idx="8505">
                  <c:v>18425.400000000001</c:v>
                </c:pt>
                <c:pt idx="8506">
                  <c:v>18081</c:v>
                </c:pt>
                <c:pt idx="8507">
                  <c:v>18190.2</c:v>
                </c:pt>
                <c:pt idx="8508">
                  <c:v>18030.600000000002</c:v>
                </c:pt>
                <c:pt idx="8509">
                  <c:v>18181.8</c:v>
                </c:pt>
                <c:pt idx="8510">
                  <c:v>18249</c:v>
                </c:pt>
                <c:pt idx="8511">
                  <c:v>18001.2</c:v>
                </c:pt>
                <c:pt idx="8512">
                  <c:v>18181.8</c:v>
                </c:pt>
                <c:pt idx="8513">
                  <c:v>18366.600000000002</c:v>
                </c:pt>
                <c:pt idx="8514">
                  <c:v>18782.400000000001</c:v>
                </c:pt>
                <c:pt idx="8515">
                  <c:v>18895.8</c:v>
                </c:pt>
                <c:pt idx="8516">
                  <c:v>18971.400000000001</c:v>
                </c:pt>
                <c:pt idx="8517">
                  <c:v>19164.600000000002</c:v>
                </c:pt>
                <c:pt idx="8518">
                  <c:v>19110</c:v>
                </c:pt>
                <c:pt idx="8519">
                  <c:v>19105.8</c:v>
                </c:pt>
                <c:pt idx="8520">
                  <c:v>18681.600000000002</c:v>
                </c:pt>
                <c:pt idx="8521">
                  <c:v>18492.600000000002</c:v>
                </c:pt>
                <c:pt idx="8522">
                  <c:v>17089.8</c:v>
                </c:pt>
                <c:pt idx="8523">
                  <c:v>16888.2</c:v>
                </c:pt>
                <c:pt idx="8524">
                  <c:v>16791.600000000002</c:v>
                </c:pt>
                <c:pt idx="8525">
                  <c:v>16787.400000000001</c:v>
                </c:pt>
                <c:pt idx="8526">
                  <c:v>17236.8</c:v>
                </c:pt>
                <c:pt idx="8527">
                  <c:v>17719.8</c:v>
                </c:pt>
                <c:pt idx="8528">
                  <c:v>18312</c:v>
                </c:pt>
                <c:pt idx="8529">
                  <c:v>18484.2</c:v>
                </c:pt>
                <c:pt idx="8530">
                  <c:v>17803.8</c:v>
                </c:pt>
                <c:pt idx="8531">
                  <c:v>16846.2</c:v>
                </c:pt>
                <c:pt idx="8532">
                  <c:v>16191</c:v>
                </c:pt>
                <c:pt idx="8533">
                  <c:v>14733.6</c:v>
                </c:pt>
                <c:pt idx="8534">
                  <c:v>13427.400000000001</c:v>
                </c:pt>
                <c:pt idx="8535">
                  <c:v>12289.2</c:v>
                </c:pt>
                <c:pt idx="8536">
                  <c:v>11751.6</c:v>
                </c:pt>
                <c:pt idx="8537">
                  <c:v>11650.800000000001</c:v>
                </c:pt>
                <c:pt idx="8538">
                  <c:v>11806.2</c:v>
                </c:pt>
                <c:pt idx="8539">
                  <c:v>12213.6</c:v>
                </c:pt>
                <c:pt idx="8540">
                  <c:v>12024.6</c:v>
                </c:pt>
                <c:pt idx="8541">
                  <c:v>12793.2</c:v>
                </c:pt>
                <c:pt idx="8542">
                  <c:v>13906.2</c:v>
                </c:pt>
                <c:pt idx="8543">
                  <c:v>14439.6</c:v>
                </c:pt>
                <c:pt idx="8544">
                  <c:v>15031.800000000001</c:v>
                </c:pt>
                <c:pt idx="8545">
                  <c:v>15397.2</c:v>
                </c:pt>
                <c:pt idx="8546">
                  <c:v>15136.800000000001</c:v>
                </c:pt>
                <c:pt idx="8547">
                  <c:v>14876.400000000001</c:v>
                </c:pt>
                <c:pt idx="8548">
                  <c:v>14305.2</c:v>
                </c:pt>
                <c:pt idx="8549">
                  <c:v>14116.2</c:v>
                </c:pt>
                <c:pt idx="8550">
                  <c:v>13687.800000000001</c:v>
                </c:pt>
                <c:pt idx="8551">
                  <c:v>13251</c:v>
                </c:pt>
                <c:pt idx="8552">
                  <c:v>13116.6</c:v>
                </c:pt>
                <c:pt idx="8553">
                  <c:v>12961.2</c:v>
                </c:pt>
                <c:pt idx="8554">
                  <c:v>13099.800000000001</c:v>
                </c:pt>
                <c:pt idx="8555">
                  <c:v>13242.6</c:v>
                </c:pt>
                <c:pt idx="8556">
                  <c:v>13435.800000000001</c:v>
                </c:pt>
                <c:pt idx="8557">
                  <c:v>14280</c:v>
                </c:pt>
                <c:pt idx="8558">
                  <c:v>14674.800000000001</c:v>
                </c:pt>
                <c:pt idx="8559">
                  <c:v>14498.400000000001</c:v>
                </c:pt>
                <c:pt idx="8560">
                  <c:v>14842.800000000001</c:v>
                </c:pt>
                <c:pt idx="8561">
                  <c:v>15166.2</c:v>
                </c:pt>
                <c:pt idx="8562">
                  <c:v>15871.800000000001</c:v>
                </c:pt>
                <c:pt idx="8563">
                  <c:v>15825.6</c:v>
                </c:pt>
                <c:pt idx="8564">
                  <c:v>16623.600000000002</c:v>
                </c:pt>
                <c:pt idx="8565">
                  <c:v>16732.8</c:v>
                </c:pt>
                <c:pt idx="8566">
                  <c:v>16884</c:v>
                </c:pt>
                <c:pt idx="8567">
                  <c:v>17161.2</c:v>
                </c:pt>
                <c:pt idx="8568">
                  <c:v>17539.2</c:v>
                </c:pt>
                <c:pt idx="8569">
                  <c:v>17698.8</c:v>
                </c:pt>
                <c:pt idx="8570">
                  <c:v>18118.8</c:v>
                </c:pt>
                <c:pt idx="8571">
                  <c:v>18198.600000000002</c:v>
                </c:pt>
                <c:pt idx="8572">
                  <c:v>17929.8</c:v>
                </c:pt>
                <c:pt idx="8573">
                  <c:v>17463.600000000002</c:v>
                </c:pt>
                <c:pt idx="8574">
                  <c:v>16779</c:v>
                </c:pt>
                <c:pt idx="8575">
                  <c:v>15905.400000000001</c:v>
                </c:pt>
                <c:pt idx="8576">
                  <c:v>15598.800000000001</c:v>
                </c:pt>
                <c:pt idx="8577">
                  <c:v>15309</c:v>
                </c:pt>
                <c:pt idx="8578">
                  <c:v>14931</c:v>
                </c:pt>
                <c:pt idx="8579">
                  <c:v>14880.6</c:v>
                </c:pt>
                <c:pt idx="8580">
                  <c:v>15082.2</c:v>
                </c:pt>
                <c:pt idx="8581">
                  <c:v>15577.800000000001</c:v>
                </c:pt>
                <c:pt idx="8582">
                  <c:v>15871.800000000001</c:v>
                </c:pt>
                <c:pt idx="8583">
                  <c:v>16346.400000000001</c:v>
                </c:pt>
                <c:pt idx="8584">
                  <c:v>16926</c:v>
                </c:pt>
                <c:pt idx="8585">
                  <c:v>17375.400000000001</c:v>
                </c:pt>
                <c:pt idx="8586">
                  <c:v>17635.8</c:v>
                </c:pt>
                <c:pt idx="8587">
                  <c:v>18328.8</c:v>
                </c:pt>
                <c:pt idx="8588">
                  <c:v>19013.400000000001</c:v>
                </c:pt>
                <c:pt idx="8589">
                  <c:v>19580.400000000001</c:v>
                </c:pt>
                <c:pt idx="8590">
                  <c:v>20269.2</c:v>
                </c:pt>
                <c:pt idx="8591">
                  <c:v>20651.400000000001</c:v>
                </c:pt>
                <c:pt idx="8592">
                  <c:v>20823.600000000002</c:v>
                </c:pt>
                <c:pt idx="8593">
                  <c:v>21281.4</c:v>
                </c:pt>
                <c:pt idx="8594">
                  <c:v>21495.600000000002</c:v>
                </c:pt>
                <c:pt idx="8595">
                  <c:v>21621.600000000002</c:v>
                </c:pt>
                <c:pt idx="8596">
                  <c:v>21592.2</c:v>
                </c:pt>
                <c:pt idx="8597">
                  <c:v>21525</c:v>
                </c:pt>
                <c:pt idx="8598">
                  <c:v>21432.600000000002</c:v>
                </c:pt>
                <c:pt idx="8599">
                  <c:v>21390.600000000002</c:v>
                </c:pt>
                <c:pt idx="8600">
                  <c:v>21092.400000000001</c:v>
                </c:pt>
                <c:pt idx="8601">
                  <c:v>20739.600000000002</c:v>
                </c:pt>
                <c:pt idx="8602">
                  <c:v>20399.400000000001</c:v>
                </c:pt>
                <c:pt idx="8603">
                  <c:v>20588.400000000001</c:v>
                </c:pt>
                <c:pt idx="8604">
                  <c:v>20395.2</c:v>
                </c:pt>
                <c:pt idx="8605">
                  <c:v>20092.8</c:v>
                </c:pt>
                <c:pt idx="8606">
                  <c:v>20454</c:v>
                </c:pt>
                <c:pt idx="8607">
                  <c:v>20693.400000000001</c:v>
                </c:pt>
                <c:pt idx="8608">
                  <c:v>20626.2</c:v>
                </c:pt>
                <c:pt idx="8609">
                  <c:v>20517</c:v>
                </c:pt>
                <c:pt idx="8610">
                  <c:v>20437.2</c:v>
                </c:pt>
                <c:pt idx="8611">
                  <c:v>20122.2</c:v>
                </c:pt>
                <c:pt idx="8612">
                  <c:v>19929</c:v>
                </c:pt>
                <c:pt idx="8613">
                  <c:v>19588.8</c:v>
                </c:pt>
                <c:pt idx="8614">
                  <c:v>19593</c:v>
                </c:pt>
                <c:pt idx="8615">
                  <c:v>19601.400000000001</c:v>
                </c:pt>
                <c:pt idx="8616">
                  <c:v>19761</c:v>
                </c:pt>
                <c:pt idx="8617">
                  <c:v>19450.2</c:v>
                </c:pt>
                <c:pt idx="8618">
                  <c:v>18484.2</c:v>
                </c:pt>
                <c:pt idx="8619">
                  <c:v>17283</c:v>
                </c:pt>
                <c:pt idx="8620">
                  <c:v>16195.2</c:v>
                </c:pt>
                <c:pt idx="8621">
                  <c:v>15103.2</c:v>
                </c:pt>
                <c:pt idx="8622">
                  <c:v>13847.400000000001</c:v>
                </c:pt>
                <c:pt idx="8623">
                  <c:v>12881.4</c:v>
                </c:pt>
                <c:pt idx="8624">
                  <c:v>11974.2</c:v>
                </c:pt>
                <c:pt idx="8625">
                  <c:v>11411.4</c:v>
                </c:pt>
                <c:pt idx="8626">
                  <c:v>11088</c:v>
                </c:pt>
                <c:pt idx="8627">
                  <c:v>10785.6</c:v>
                </c:pt>
                <c:pt idx="8628">
                  <c:v>10848.6</c:v>
                </c:pt>
                <c:pt idx="8629">
                  <c:v>11046</c:v>
                </c:pt>
                <c:pt idx="8630">
                  <c:v>11100.6</c:v>
                </c:pt>
                <c:pt idx="8631">
                  <c:v>11159.4</c:v>
                </c:pt>
                <c:pt idx="8632">
                  <c:v>11306.4</c:v>
                </c:pt>
                <c:pt idx="8633">
                  <c:v>11587.800000000001</c:v>
                </c:pt>
                <c:pt idx="8634">
                  <c:v>11571</c:v>
                </c:pt>
                <c:pt idx="8635">
                  <c:v>11474.4</c:v>
                </c:pt>
                <c:pt idx="8636">
                  <c:v>11067</c:v>
                </c:pt>
                <c:pt idx="8637">
                  <c:v>11020.800000000001</c:v>
                </c:pt>
                <c:pt idx="8638">
                  <c:v>10878</c:v>
                </c:pt>
                <c:pt idx="8639">
                  <c:v>10764.6</c:v>
                </c:pt>
                <c:pt idx="8640">
                  <c:v>10852.800000000001</c:v>
                </c:pt>
                <c:pt idx="8641">
                  <c:v>10747.800000000001</c:v>
                </c:pt>
                <c:pt idx="8642">
                  <c:v>10705.800000000001</c:v>
                </c:pt>
                <c:pt idx="8643">
                  <c:v>10747.800000000001</c:v>
                </c:pt>
                <c:pt idx="8644">
                  <c:v>10386.6</c:v>
                </c:pt>
                <c:pt idx="8645">
                  <c:v>10298.4</c:v>
                </c:pt>
                <c:pt idx="8646">
                  <c:v>10466.4</c:v>
                </c:pt>
                <c:pt idx="8647">
                  <c:v>11050.2</c:v>
                </c:pt>
                <c:pt idx="8648">
                  <c:v>11571</c:v>
                </c:pt>
                <c:pt idx="8649">
                  <c:v>12776.4</c:v>
                </c:pt>
                <c:pt idx="8650">
                  <c:v>13192.2</c:v>
                </c:pt>
                <c:pt idx="8651">
                  <c:v>13381.2</c:v>
                </c:pt>
                <c:pt idx="8652">
                  <c:v>13410.6</c:v>
                </c:pt>
                <c:pt idx="8653">
                  <c:v>13687.800000000001</c:v>
                </c:pt>
                <c:pt idx="8654">
                  <c:v>13108.2</c:v>
                </c:pt>
                <c:pt idx="8655">
                  <c:v>12381.6</c:v>
                </c:pt>
                <c:pt idx="8656">
                  <c:v>11684.4</c:v>
                </c:pt>
                <c:pt idx="8657">
                  <c:v>10768.800000000001</c:v>
                </c:pt>
                <c:pt idx="8658">
                  <c:v>10050.6</c:v>
                </c:pt>
                <c:pt idx="8659">
                  <c:v>9282</c:v>
                </c:pt>
                <c:pt idx="8660">
                  <c:v>9660</c:v>
                </c:pt>
                <c:pt idx="8661">
                  <c:v>10147.200000000001</c:v>
                </c:pt>
                <c:pt idx="8662">
                  <c:v>10227</c:v>
                </c:pt>
                <c:pt idx="8663">
                  <c:v>10504.2</c:v>
                </c:pt>
                <c:pt idx="8664">
                  <c:v>10218.6</c:v>
                </c:pt>
                <c:pt idx="8665">
                  <c:v>9882.6</c:v>
                </c:pt>
                <c:pt idx="8666">
                  <c:v>8920.8000000000011</c:v>
                </c:pt>
                <c:pt idx="8667">
                  <c:v>8089.2000000000007</c:v>
                </c:pt>
                <c:pt idx="8668">
                  <c:v>7131.6</c:v>
                </c:pt>
                <c:pt idx="8669">
                  <c:v>6615</c:v>
                </c:pt>
                <c:pt idx="8670">
                  <c:v>6220.2</c:v>
                </c:pt>
                <c:pt idx="8671">
                  <c:v>5539.8</c:v>
                </c:pt>
                <c:pt idx="8672">
                  <c:v>5006.4000000000005</c:v>
                </c:pt>
                <c:pt idx="8673">
                  <c:v>4901.4000000000005</c:v>
                </c:pt>
                <c:pt idx="8674">
                  <c:v>4695.6000000000004</c:v>
                </c:pt>
                <c:pt idx="8675">
                  <c:v>4393.2</c:v>
                </c:pt>
                <c:pt idx="8676">
                  <c:v>4195.8</c:v>
                </c:pt>
                <c:pt idx="8677">
                  <c:v>4011</c:v>
                </c:pt>
                <c:pt idx="8678">
                  <c:v>3792.6000000000004</c:v>
                </c:pt>
                <c:pt idx="8679">
                  <c:v>3893.4</c:v>
                </c:pt>
                <c:pt idx="8680">
                  <c:v>4023.6000000000004</c:v>
                </c:pt>
                <c:pt idx="8681">
                  <c:v>4216.8</c:v>
                </c:pt>
                <c:pt idx="8682">
                  <c:v>4271.4000000000005</c:v>
                </c:pt>
                <c:pt idx="8683">
                  <c:v>4515</c:v>
                </c:pt>
                <c:pt idx="8684">
                  <c:v>4964.4000000000005</c:v>
                </c:pt>
                <c:pt idx="8685">
                  <c:v>5619.6</c:v>
                </c:pt>
                <c:pt idx="8686">
                  <c:v>6283.2</c:v>
                </c:pt>
                <c:pt idx="8687">
                  <c:v>6522.6</c:v>
                </c:pt>
                <c:pt idx="8688">
                  <c:v>7085.4000000000005</c:v>
                </c:pt>
                <c:pt idx="8689">
                  <c:v>7606.2000000000007</c:v>
                </c:pt>
                <c:pt idx="8690">
                  <c:v>7627.2000000000007</c:v>
                </c:pt>
                <c:pt idx="8691">
                  <c:v>8463</c:v>
                </c:pt>
                <c:pt idx="8692">
                  <c:v>9622.2000000000007</c:v>
                </c:pt>
                <c:pt idx="8693">
                  <c:v>11344.2</c:v>
                </c:pt>
                <c:pt idx="8694">
                  <c:v>11986.800000000001</c:v>
                </c:pt>
                <c:pt idx="8695">
                  <c:v>12528.6</c:v>
                </c:pt>
                <c:pt idx="8696">
                  <c:v>12923.400000000001</c:v>
                </c:pt>
                <c:pt idx="8697">
                  <c:v>13251</c:v>
                </c:pt>
                <c:pt idx="8698">
                  <c:v>13461</c:v>
                </c:pt>
                <c:pt idx="8699">
                  <c:v>13826.400000000001</c:v>
                </c:pt>
                <c:pt idx="8700">
                  <c:v>14368.2</c:v>
                </c:pt>
                <c:pt idx="8701">
                  <c:v>14595</c:v>
                </c:pt>
                <c:pt idx="8702">
                  <c:v>14733.6</c:v>
                </c:pt>
                <c:pt idx="8703">
                  <c:v>14889</c:v>
                </c:pt>
                <c:pt idx="8704">
                  <c:v>15073.800000000001</c:v>
                </c:pt>
                <c:pt idx="8705">
                  <c:v>15359.400000000001</c:v>
                </c:pt>
                <c:pt idx="8706">
                  <c:v>15817.2</c:v>
                </c:pt>
                <c:pt idx="8707">
                  <c:v>16186.800000000001</c:v>
                </c:pt>
                <c:pt idx="8708">
                  <c:v>16417.8</c:v>
                </c:pt>
                <c:pt idx="8709">
                  <c:v>16506</c:v>
                </c:pt>
                <c:pt idx="8710">
                  <c:v>16535.400000000001</c:v>
                </c:pt>
                <c:pt idx="8711">
                  <c:v>16585.8</c:v>
                </c:pt>
                <c:pt idx="8712">
                  <c:v>16510.2</c:v>
                </c:pt>
                <c:pt idx="8713">
                  <c:v>16191</c:v>
                </c:pt>
                <c:pt idx="8714">
                  <c:v>16816.8</c:v>
                </c:pt>
                <c:pt idx="8715">
                  <c:v>16674</c:v>
                </c:pt>
                <c:pt idx="8716">
                  <c:v>16728.600000000002</c:v>
                </c:pt>
                <c:pt idx="8717">
                  <c:v>16585.8</c:v>
                </c:pt>
                <c:pt idx="8718">
                  <c:v>16468.2</c:v>
                </c:pt>
                <c:pt idx="8719">
                  <c:v>16459.8</c:v>
                </c:pt>
                <c:pt idx="8720">
                  <c:v>16480.8</c:v>
                </c:pt>
                <c:pt idx="8721">
                  <c:v>16476.600000000002</c:v>
                </c:pt>
                <c:pt idx="8722">
                  <c:v>16543.8</c:v>
                </c:pt>
                <c:pt idx="8723">
                  <c:v>16585.8</c:v>
                </c:pt>
                <c:pt idx="8724">
                  <c:v>16661.400000000001</c:v>
                </c:pt>
                <c:pt idx="8725">
                  <c:v>16648.8</c:v>
                </c:pt>
                <c:pt idx="8726">
                  <c:v>16510.2</c:v>
                </c:pt>
                <c:pt idx="8727">
                  <c:v>16325.400000000001</c:v>
                </c:pt>
                <c:pt idx="8728">
                  <c:v>16056.6</c:v>
                </c:pt>
                <c:pt idx="8729">
                  <c:v>16149</c:v>
                </c:pt>
                <c:pt idx="8730">
                  <c:v>16228.800000000001</c:v>
                </c:pt>
                <c:pt idx="8731">
                  <c:v>16300.2</c:v>
                </c:pt>
                <c:pt idx="8732">
                  <c:v>16258.2</c:v>
                </c:pt>
                <c:pt idx="8733">
                  <c:v>16270.800000000001</c:v>
                </c:pt>
                <c:pt idx="8734">
                  <c:v>16426.2</c:v>
                </c:pt>
                <c:pt idx="8735">
                  <c:v>16539.600000000002</c:v>
                </c:pt>
                <c:pt idx="8736">
                  <c:v>16409.400000000001</c:v>
                </c:pt>
                <c:pt idx="8737">
                  <c:v>16291.8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EF7-42F6-82DB-396AF11325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30876704"/>
        <c:axId val="430877096"/>
      </c:lineChart>
      <c:dateAx>
        <c:axId val="430876704"/>
        <c:scaling>
          <c:orientation val="minMax"/>
        </c:scaling>
        <c:delete val="1"/>
        <c:axPos val="b"/>
        <c:majorTickMark val="none"/>
        <c:minorTickMark val="none"/>
        <c:tickLblPos val="nextTo"/>
        <c:crossAx val="430877096"/>
        <c:crosses val="autoZero"/>
        <c:auto val="0"/>
        <c:lblOffset val="100"/>
        <c:baseTimeUnit val="days"/>
      </c:dateAx>
      <c:valAx>
        <c:axId val="4308770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4308767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0205206991236538"/>
          <c:y val="0.95149988123924922"/>
          <c:w val="0.45227459688861771"/>
          <c:h val="4.850011876075072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sz="8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0F8046-85FC-4FD5-A4E3-9A0F96F0652E}" type="datetimeFigureOut">
              <a:rPr lang="en-GB" sz="800" smtClean="0"/>
              <a:t>23/03/2018</a:t>
            </a:fld>
            <a:endParaRPr lang="en-GB" sz="8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sz="8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E9B2A9-21C0-47F0-A298-245651CC1480}" type="slidenum">
              <a:rPr lang="en-GB" sz="800" smtClean="0"/>
              <a:t>‹#›</a:t>
            </a:fld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145887062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8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800"/>
            </a:lvl1pPr>
          </a:lstStyle>
          <a:p>
            <a:fld id="{ABFA111A-1A89-4AA2-9C46-2352FF1AE347}" type="datetimeFigureOut">
              <a:rPr lang="en-GB" smtClean="0"/>
              <a:pPr/>
              <a:t>23/03/2018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4913" y="860425"/>
            <a:ext cx="4448175" cy="3079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/>
            </a:lvl1pPr>
          </a:lstStyle>
          <a:p>
            <a:fld id="{88660AA7-B332-445C-B333-2DE9989610F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87896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660AA7-B332-445C-B333-2DE9989610F4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00000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60388" y="2348880"/>
            <a:ext cx="7201002" cy="2160240"/>
          </a:xfrm>
        </p:spPr>
        <p:txBody>
          <a:bodyPr anchor="t" anchorCtr="0"/>
          <a:lstStyle>
            <a:lvl1pPr algn="l">
              <a:defRPr sz="5000" b="1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0388" y="1484313"/>
            <a:ext cx="7201002" cy="721022"/>
          </a:xfrm>
        </p:spPr>
        <p:txBody>
          <a:bodyPr anchor="b" anchorCtr="0"/>
          <a:lstStyle>
            <a:lvl1pPr marL="0" indent="0" algn="l">
              <a:buNone/>
              <a:defRPr sz="200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dirty="0" smtClean="0"/>
              <a:t>7.12.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560388" y="4653136"/>
            <a:ext cx="7201002" cy="720552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r>
              <a:rPr lang="en-US" dirty="0" smtClean="0"/>
              <a:t>Name / Title / Dat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9345613" y="4509150"/>
            <a:ext cx="560387" cy="5760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7401340" y="5733320"/>
            <a:ext cx="504070" cy="50396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8761500" y="3933070"/>
            <a:ext cx="288032" cy="28803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7905410" y="5085230"/>
            <a:ext cx="2000590" cy="1152056"/>
            <a:chOff x="9929268" y="5441193"/>
            <a:chExt cx="2008400" cy="1156553"/>
          </a:xfrm>
        </p:grpSpPr>
        <p:sp>
          <p:nvSpPr>
            <p:cNvPr id="22" name="Rectangle 21"/>
            <p:cNvSpPr/>
            <p:nvPr userDrawn="1"/>
          </p:nvSpPr>
          <p:spPr>
            <a:xfrm>
              <a:off x="9929268" y="5441193"/>
              <a:ext cx="2008400" cy="115655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dirty="0"/>
            </a:p>
          </p:txBody>
        </p:sp>
        <p:sp>
          <p:nvSpPr>
            <p:cNvPr id="27" name="Freeform 6"/>
            <p:cNvSpPr>
              <a:spLocks noEditPoints="1"/>
            </p:cNvSpPr>
            <p:nvPr userDrawn="1"/>
          </p:nvSpPr>
          <p:spPr bwMode="auto">
            <a:xfrm>
              <a:off x="10200210" y="5659646"/>
              <a:ext cx="1440406" cy="801030"/>
            </a:xfrm>
            <a:custGeom>
              <a:avLst/>
              <a:gdLst>
                <a:gd name="T0" fmla="*/ 2140 w 2388"/>
                <a:gd name="T1" fmla="*/ 289 h 1328"/>
                <a:gd name="T2" fmla="*/ 2094 w 2388"/>
                <a:gd name="T3" fmla="*/ 208 h 1328"/>
                <a:gd name="T4" fmla="*/ 2013 w 2388"/>
                <a:gd name="T5" fmla="*/ 407 h 1328"/>
                <a:gd name="T6" fmla="*/ 2172 w 2388"/>
                <a:gd name="T7" fmla="*/ 566 h 1328"/>
                <a:gd name="T8" fmla="*/ 2243 w 2388"/>
                <a:gd name="T9" fmla="*/ 468 h 1328"/>
                <a:gd name="T10" fmla="*/ 2384 w 2388"/>
                <a:gd name="T11" fmla="*/ 328 h 1328"/>
                <a:gd name="T12" fmla="*/ 2254 w 2388"/>
                <a:gd name="T13" fmla="*/ 183 h 1328"/>
                <a:gd name="T14" fmla="*/ 1799 w 2388"/>
                <a:gd name="T15" fmla="*/ 285 h 1328"/>
                <a:gd name="T16" fmla="*/ 2000 w 2388"/>
                <a:gd name="T17" fmla="*/ 311 h 1328"/>
                <a:gd name="T18" fmla="*/ 1862 w 2388"/>
                <a:gd name="T19" fmla="*/ 178 h 1328"/>
                <a:gd name="T20" fmla="*/ 1343 w 2388"/>
                <a:gd name="T21" fmla="*/ 189 h 1328"/>
                <a:gd name="T22" fmla="*/ 1538 w 2388"/>
                <a:gd name="T23" fmla="*/ 558 h 1328"/>
                <a:gd name="T24" fmla="*/ 1013 w 2388"/>
                <a:gd name="T25" fmla="*/ 179 h 1328"/>
                <a:gd name="T26" fmla="*/ 916 w 2388"/>
                <a:gd name="T27" fmla="*/ 341 h 1328"/>
                <a:gd name="T28" fmla="*/ 1035 w 2388"/>
                <a:gd name="T29" fmla="*/ 302 h 1328"/>
                <a:gd name="T30" fmla="*/ 1141 w 2388"/>
                <a:gd name="T31" fmla="*/ 225 h 1328"/>
                <a:gd name="T32" fmla="*/ 762 w 2388"/>
                <a:gd name="T33" fmla="*/ 0 h 1328"/>
                <a:gd name="T34" fmla="*/ 483 w 2388"/>
                <a:gd name="T35" fmla="*/ 430 h 1328"/>
                <a:gd name="T36" fmla="*/ 330 w 2388"/>
                <a:gd name="T37" fmla="*/ 383 h 1328"/>
                <a:gd name="T38" fmla="*/ 353 w 2388"/>
                <a:gd name="T39" fmla="*/ 186 h 1328"/>
                <a:gd name="T40" fmla="*/ 210 w 2388"/>
                <a:gd name="T41" fmla="*/ 363 h 1328"/>
                <a:gd name="T42" fmla="*/ 325 w 2388"/>
                <a:gd name="T43" fmla="*/ 553 h 1328"/>
                <a:gd name="T44" fmla="*/ 565 w 2388"/>
                <a:gd name="T45" fmla="*/ 516 h 1328"/>
                <a:gd name="T46" fmla="*/ 608 w 2388"/>
                <a:gd name="T47" fmla="*/ 293 h 1328"/>
                <a:gd name="T48" fmla="*/ 417 w 2388"/>
                <a:gd name="T49" fmla="*/ 178 h 1328"/>
                <a:gd name="T50" fmla="*/ 104 w 2388"/>
                <a:gd name="T51" fmla="*/ 552 h 1328"/>
                <a:gd name="T52" fmla="*/ 2228 w 2388"/>
                <a:gd name="T53" fmla="*/ 867 h 1328"/>
                <a:gd name="T54" fmla="*/ 2167 w 2388"/>
                <a:gd name="T55" fmla="*/ 869 h 1328"/>
                <a:gd name="T56" fmla="*/ 2059 w 2388"/>
                <a:gd name="T57" fmla="*/ 835 h 1328"/>
                <a:gd name="T58" fmla="*/ 2029 w 2388"/>
                <a:gd name="T59" fmla="*/ 1062 h 1328"/>
                <a:gd name="T60" fmla="*/ 2228 w 2388"/>
                <a:gd name="T61" fmla="*/ 1168 h 1328"/>
                <a:gd name="T62" fmla="*/ 2192 w 2388"/>
                <a:gd name="T63" fmla="*/ 1066 h 1328"/>
                <a:gd name="T64" fmla="*/ 2371 w 2388"/>
                <a:gd name="T65" fmla="*/ 878 h 1328"/>
                <a:gd name="T66" fmla="*/ 1790 w 2388"/>
                <a:gd name="T67" fmla="*/ 1059 h 1328"/>
                <a:gd name="T68" fmla="*/ 1719 w 2388"/>
                <a:gd name="T69" fmla="*/ 922 h 1328"/>
                <a:gd name="T70" fmla="*/ 1868 w 2388"/>
                <a:gd name="T71" fmla="*/ 936 h 1328"/>
                <a:gd name="T72" fmla="*/ 1846 w 2388"/>
                <a:gd name="T73" fmla="*/ 1326 h 1328"/>
                <a:gd name="T74" fmla="*/ 1997 w 2388"/>
                <a:gd name="T75" fmla="*/ 1177 h 1328"/>
                <a:gd name="T76" fmla="*/ 1729 w 2388"/>
                <a:gd name="T77" fmla="*/ 777 h 1328"/>
                <a:gd name="T78" fmla="*/ 1586 w 2388"/>
                <a:gd name="T79" fmla="*/ 926 h 1328"/>
                <a:gd name="T80" fmla="*/ 1659 w 2388"/>
                <a:gd name="T81" fmla="*/ 1136 h 1328"/>
                <a:gd name="T82" fmla="*/ 1863 w 2388"/>
                <a:gd name="T83" fmla="*/ 1123 h 1328"/>
                <a:gd name="T84" fmla="*/ 1768 w 2388"/>
                <a:gd name="T85" fmla="*/ 1215 h 1328"/>
                <a:gd name="T86" fmla="*/ 1369 w 2388"/>
                <a:gd name="T87" fmla="*/ 790 h 1328"/>
                <a:gd name="T88" fmla="*/ 1331 w 2388"/>
                <a:gd name="T89" fmla="*/ 902 h 1328"/>
                <a:gd name="T90" fmla="*/ 1448 w 2388"/>
                <a:gd name="T91" fmla="*/ 934 h 1328"/>
                <a:gd name="T92" fmla="*/ 1505 w 2388"/>
                <a:gd name="T93" fmla="*/ 793 h 1328"/>
                <a:gd name="T94" fmla="*/ 869 w 2388"/>
                <a:gd name="T95" fmla="*/ 1000 h 1328"/>
                <a:gd name="T96" fmla="*/ 984 w 2388"/>
                <a:gd name="T97" fmla="*/ 892 h 1328"/>
                <a:gd name="T98" fmla="*/ 991 w 2388"/>
                <a:gd name="T99" fmla="*/ 1050 h 1328"/>
                <a:gd name="T100" fmla="*/ 1038 w 2388"/>
                <a:gd name="T101" fmla="*/ 1157 h 1328"/>
                <a:gd name="T102" fmla="*/ 881 w 2388"/>
                <a:gd name="T103" fmla="*/ 779 h 1328"/>
                <a:gd name="T104" fmla="*/ 744 w 2388"/>
                <a:gd name="T105" fmla="*/ 937 h 1328"/>
                <a:gd name="T106" fmla="*/ 833 w 2388"/>
                <a:gd name="T107" fmla="*/ 1149 h 1328"/>
                <a:gd name="T108" fmla="*/ 498 w 2388"/>
                <a:gd name="T109" fmla="*/ 898 h 1328"/>
                <a:gd name="T110" fmla="*/ 610 w 2388"/>
                <a:gd name="T111" fmla="*/ 962 h 1328"/>
                <a:gd name="T112" fmla="*/ 641 w 2388"/>
                <a:gd name="T113" fmla="*/ 782 h 1328"/>
                <a:gd name="T114" fmla="*/ 233 w 2388"/>
                <a:gd name="T115" fmla="*/ 1168 h 1328"/>
                <a:gd name="T116" fmla="*/ 193 w 2388"/>
                <a:gd name="T117" fmla="*/ 1055 h 1328"/>
                <a:gd name="T118" fmla="*/ 145 w 2388"/>
                <a:gd name="T119" fmla="*/ 921 h 1328"/>
                <a:gd name="T120" fmla="*/ 317 w 2388"/>
                <a:gd name="T121" fmla="*/ 797 h 1328"/>
                <a:gd name="T122" fmla="*/ 54 w 2388"/>
                <a:gd name="T123" fmla="*/ 843 h 1328"/>
                <a:gd name="T124" fmla="*/ 32 w 2388"/>
                <a:gd name="T125" fmla="*/ 1070 h 1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88" h="1328">
                  <a:moveTo>
                    <a:pt x="2201" y="264"/>
                  </a:moveTo>
                  <a:lnTo>
                    <a:pt x="2208" y="264"/>
                  </a:lnTo>
                  <a:lnTo>
                    <a:pt x="2216" y="265"/>
                  </a:lnTo>
                  <a:lnTo>
                    <a:pt x="2222" y="266"/>
                  </a:lnTo>
                  <a:lnTo>
                    <a:pt x="2228" y="268"/>
                  </a:lnTo>
                  <a:lnTo>
                    <a:pt x="2234" y="270"/>
                  </a:lnTo>
                  <a:lnTo>
                    <a:pt x="2239" y="273"/>
                  </a:lnTo>
                  <a:lnTo>
                    <a:pt x="2245" y="278"/>
                  </a:lnTo>
                  <a:lnTo>
                    <a:pt x="2250" y="282"/>
                  </a:lnTo>
                  <a:lnTo>
                    <a:pt x="2255" y="286"/>
                  </a:lnTo>
                  <a:lnTo>
                    <a:pt x="2258" y="291"/>
                  </a:lnTo>
                  <a:lnTo>
                    <a:pt x="2262" y="296"/>
                  </a:lnTo>
                  <a:lnTo>
                    <a:pt x="2265" y="302"/>
                  </a:lnTo>
                  <a:lnTo>
                    <a:pt x="2268" y="310"/>
                  </a:lnTo>
                  <a:lnTo>
                    <a:pt x="2270" y="316"/>
                  </a:lnTo>
                  <a:lnTo>
                    <a:pt x="2271" y="323"/>
                  </a:lnTo>
                  <a:lnTo>
                    <a:pt x="2272" y="332"/>
                  </a:lnTo>
                  <a:lnTo>
                    <a:pt x="2124" y="332"/>
                  </a:lnTo>
                  <a:lnTo>
                    <a:pt x="2125" y="323"/>
                  </a:lnTo>
                  <a:lnTo>
                    <a:pt x="2127" y="315"/>
                  </a:lnTo>
                  <a:lnTo>
                    <a:pt x="2130" y="308"/>
                  </a:lnTo>
                  <a:lnTo>
                    <a:pt x="2132" y="300"/>
                  </a:lnTo>
                  <a:lnTo>
                    <a:pt x="2137" y="294"/>
                  </a:lnTo>
                  <a:lnTo>
                    <a:pt x="2140" y="289"/>
                  </a:lnTo>
                  <a:lnTo>
                    <a:pt x="2145" y="284"/>
                  </a:lnTo>
                  <a:lnTo>
                    <a:pt x="2149" y="280"/>
                  </a:lnTo>
                  <a:lnTo>
                    <a:pt x="2154" y="275"/>
                  </a:lnTo>
                  <a:lnTo>
                    <a:pt x="2160" y="272"/>
                  </a:lnTo>
                  <a:lnTo>
                    <a:pt x="2167" y="270"/>
                  </a:lnTo>
                  <a:lnTo>
                    <a:pt x="2173" y="267"/>
                  </a:lnTo>
                  <a:lnTo>
                    <a:pt x="2179" y="266"/>
                  </a:lnTo>
                  <a:lnTo>
                    <a:pt x="2186" y="264"/>
                  </a:lnTo>
                  <a:lnTo>
                    <a:pt x="2194" y="264"/>
                  </a:lnTo>
                  <a:lnTo>
                    <a:pt x="2201" y="264"/>
                  </a:lnTo>
                  <a:close/>
                  <a:moveTo>
                    <a:pt x="2205" y="179"/>
                  </a:moveTo>
                  <a:lnTo>
                    <a:pt x="2194" y="179"/>
                  </a:lnTo>
                  <a:lnTo>
                    <a:pt x="2183" y="179"/>
                  </a:lnTo>
                  <a:lnTo>
                    <a:pt x="2174" y="180"/>
                  </a:lnTo>
                  <a:lnTo>
                    <a:pt x="2169" y="181"/>
                  </a:lnTo>
                  <a:lnTo>
                    <a:pt x="2164" y="182"/>
                  </a:lnTo>
                  <a:lnTo>
                    <a:pt x="2154" y="184"/>
                  </a:lnTo>
                  <a:lnTo>
                    <a:pt x="2145" y="186"/>
                  </a:lnTo>
                  <a:lnTo>
                    <a:pt x="2136" y="188"/>
                  </a:lnTo>
                  <a:lnTo>
                    <a:pt x="2126" y="191"/>
                  </a:lnTo>
                  <a:lnTo>
                    <a:pt x="2118" y="195"/>
                  </a:lnTo>
                  <a:lnTo>
                    <a:pt x="2110" y="199"/>
                  </a:lnTo>
                  <a:lnTo>
                    <a:pt x="2101" y="203"/>
                  </a:lnTo>
                  <a:lnTo>
                    <a:pt x="2094" y="208"/>
                  </a:lnTo>
                  <a:lnTo>
                    <a:pt x="2087" y="213"/>
                  </a:lnTo>
                  <a:lnTo>
                    <a:pt x="2078" y="218"/>
                  </a:lnTo>
                  <a:lnTo>
                    <a:pt x="2072" y="223"/>
                  </a:lnTo>
                  <a:lnTo>
                    <a:pt x="2065" y="230"/>
                  </a:lnTo>
                  <a:lnTo>
                    <a:pt x="2059" y="237"/>
                  </a:lnTo>
                  <a:lnTo>
                    <a:pt x="2056" y="240"/>
                  </a:lnTo>
                  <a:lnTo>
                    <a:pt x="2052" y="243"/>
                  </a:lnTo>
                  <a:lnTo>
                    <a:pt x="2047" y="250"/>
                  </a:lnTo>
                  <a:lnTo>
                    <a:pt x="2042" y="259"/>
                  </a:lnTo>
                  <a:lnTo>
                    <a:pt x="2037" y="266"/>
                  </a:lnTo>
                  <a:lnTo>
                    <a:pt x="2033" y="274"/>
                  </a:lnTo>
                  <a:lnTo>
                    <a:pt x="2029" y="283"/>
                  </a:lnTo>
                  <a:lnTo>
                    <a:pt x="2024" y="292"/>
                  </a:lnTo>
                  <a:lnTo>
                    <a:pt x="2021" y="301"/>
                  </a:lnTo>
                  <a:lnTo>
                    <a:pt x="2019" y="311"/>
                  </a:lnTo>
                  <a:lnTo>
                    <a:pt x="2016" y="321"/>
                  </a:lnTo>
                  <a:lnTo>
                    <a:pt x="2014" y="332"/>
                  </a:lnTo>
                  <a:lnTo>
                    <a:pt x="2013" y="342"/>
                  </a:lnTo>
                  <a:lnTo>
                    <a:pt x="2012" y="352"/>
                  </a:lnTo>
                  <a:lnTo>
                    <a:pt x="2011" y="364"/>
                  </a:lnTo>
                  <a:lnTo>
                    <a:pt x="2010" y="375"/>
                  </a:lnTo>
                  <a:lnTo>
                    <a:pt x="2011" y="387"/>
                  </a:lnTo>
                  <a:lnTo>
                    <a:pt x="2012" y="397"/>
                  </a:lnTo>
                  <a:lnTo>
                    <a:pt x="2013" y="407"/>
                  </a:lnTo>
                  <a:lnTo>
                    <a:pt x="2014" y="418"/>
                  </a:lnTo>
                  <a:lnTo>
                    <a:pt x="2019" y="438"/>
                  </a:lnTo>
                  <a:lnTo>
                    <a:pt x="2021" y="446"/>
                  </a:lnTo>
                  <a:lnTo>
                    <a:pt x="2025" y="455"/>
                  </a:lnTo>
                  <a:lnTo>
                    <a:pt x="2029" y="464"/>
                  </a:lnTo>
                  <a:lnTo>
                    <a:pt x="2033" y="473"/>
                  </a:lnTo>
                  <a:lnTo>
                    <a:pt x="2038" y="480"/>
                  </a:lnTo>
                  <a:lnTo>
                    <a:pt x="2042" y="488"/>
                  </a:lnTo>
                  <a:lnTo>
                    <a:pt x="2048" y="496"/>
                  </a:lnTo>
                  <a:lnTo>
                    <a:pt x="2053" y="503"/>
                  </a:lnTo>
                  <a:lnTo>
                    <a:pt x="2060" y="510"/>
                  </a:lnTo>
                  <a:lnTo>
                    <a:pt x="2067" y="516"/>
                  </a:lnTo>
                  <a:lnTo>
                    <a:pt x="2074" y="523"/>
                  </a:lnTo>
                  <a:lnTo>
                    <a:pt x="2082" y="529"/>
                  </a:lnTo>
                  <a:lnTo>
                    <a:pt x="2089" y="534"/>
                  </a:lnTo>
                  <a:lnTo>
                    <a:pt x="2097" y="539"/>
                  </a:lnTo>
                  <a:lnTo>
                    <a:pt x="2105" y="545"/>
                  </a:lnTo>
                  <a:lnTo>
                    <a:pt x="2114" y="549"/>
                  </a:lnTo>
                  <a:lnTo>
                    <a:pt x="2122" y="553"/>
                  </a:lnTo>
                  <a:lnTo>
                    <a:pt x="2131" y="556"/>
                  </a:lnTo>
                  <a:lnTo>
                    <a:pt x="2141" y="559"/>
                  </a:lnTo>
                  <a:lnTo>
                    <a:pt x="2151" y="562"/>
                  </a:lnTo>
                  <a:lnTo>
                    <a:pt x="2162" y="564"/>
                  </a:lnTo>
                  <a:lnTo>
                    <a:pt x="2172" y="566"/>
                  </a:lnTo>
                  <a:lnTo>
                    <a:pt x="2182" y="567"/>
                  </a:lnTo>
                  <a:lnTo>
                    <a:pt x="2193" y="568"/>
                  </a:lnTo>
                  <a:lnTo>
                    <a:pt x="2204" y="569"/>
                  </a:lnTo>
                  <a:lnTo>
                    <a:pt x="2217" y="571"/>
                  </a:lnTo>
                  <a:lnTo>
                    <a:pt x="2228" y="569"/>
                  </a:lnTo>
                  <a:lnTo>
                    <a:pt x="2239" y="569"/>
                  </a:lnTo>
                  <a:lnTo>
                    <a:pt x="2250" y="568"/>
                  </a:lnTo>
                  <a:lnTo>
                    <a:pt x="2261" y="566"/>
                  </a:lnTo>
                  <a:lnTo>
                    <a:pt x="2272" y="565"/>
                  </a:lnTo>
                  <a:lnTo>
                    <a:pt x="2281" y="563"/>
                  </a:lnTo>
                  <a:lnTo>
                    <a:pt x="2301" y="557"/>
                  </a:lnTo>
                  <a:lnTo>
                    <a:pt x="2319" y="551"/>
                  </a:lnTo>
                  <a:lnTo>
                    <a:pt x="2337" y="544"/>
                  </a:lnTo>
                  <a:lnTo>
                    <a:pt x="2353" y="536"/>
                  </a:lnTo>
                  <a:lnTo>
                    <a:pt x="2368" y="527"/>
                  </a:lnTo>
                  <a:lnTo>
                    <a:pt x="2325" y="436"/>
                  </a:lnTo>
                  <a:lnTo>
                    <a:pt x="2315" y="442"/>
                  </a:lnTo>
                  <a:lnTo>
                    <a:pt x="2305" y="448"/>
                  </a:lnTo>
                  <a:lnTo>
                    <a:pt x="2292" y="453"/>
                  </a:lnTo>
                  <a:lnTo>
                    <a:pt x="2279" y="458"/>
                  </a:lnTo>
                  <a:lnTo>
                    <a:pt x="2273" y="461"/>
                  </a:lnTo>
                  <a:lnTo>
                    <a:pt x="2265" y="464"/>
                  </a:lnTo>
                  <a:lnTo>
                    <a:pt x="2250" y="467"/>
                  </a:lnTo>
                  <a:lnTo>
                    <a:pt x="2243" y="468"/>
                  </a:lnTo>
                  <a:lnTo>
                    <a:pt x="2234" y="469"/>
                  </a:lnTo>
                  <a:lnTo>
                    <a:pt x="2218" y="470"/>
                  </a:lnTo>
                  <a:lnTo>
                    <a:pt x="2208" y="470"/>
                  </a:lnTo>
                  <a:lnTo>
                    <a:pt x="2200" y="469"/>
                  </a:lnTo>
                  <a:lnTo>
                    <a:pt x="2192" y="468"/>
                  </a:lnTo>
                  <a:lnTo>
                    <a:pt x="2183" y="466"/>
                  </a:lnTo>
                  <a:lnTo>
                    <a:pt x="2176" y="464"/>
                  </a:lnTo>
                  <a:lnTo>
                    <a:pt x="2169" y="460"/>
                  </a:lnTo>
                  <a:lnTo>
                    <a:pt x="2162" y="457"/>
                  </a:lnTo>
                  <a:lnTo>
                    <a:pt x="2155" y="453"/>
                  </a:lnTo>
                  <a:lnTo>
                    <a:pt x="2149" y="449"/>
                  </a:lnTo>
                  <a:lnTo>
                    <a:pt x="2144" y="444"/>
                  </a:lnTo>
                  <a:lnTo>
                    <a:pt x="2139" y="439"/>
                  </a:lnTo>
                  <a:lnTo>
                    <a:pt x="2135" y="432"/>
                  </a:lnTo>
                  <a:lnTo>
                    <a:pt x="2131" y="426"/>
                  </a:lnTo>
                  <a:lnTo>
                    <a:pt x="2128" y="419"/>
                  </a:lnTo>
                  <a:lnTo>
                    <a:pt x="2125" y="411"/>
                  </a:lnTo>
                  <a:lnTo>
                    <a:pt x="2123" y="402"/>
                  </a:lnTo>
                  <a:lnTo>
                    <a:pt x="2388" y="402"/>
                  </a:lnTo>
                  <a:lnTo>
                    <a:pt x="2388" y="375"/>
                  </a:lnTo>
                  <a:lnTo>
                    <a:pt x="2387" y="363"/>
                  </a:lnTo>
                  <a:lnTo>
                    <a:pt x="2387" y="351"/>
                  </a:lnTo>
                  <a:lnTo>
                    <a:pt x="2386" y="340"/>
                  </a:lnTo>
                  <a:lnTo>
                    <a:pt x="2384" y="328"/>
                  </a:lnTo>
                  <a:lnTo>
                    <a:pt x="2382" y="318"/>
                  </a:lnTo>
                  <a:lnTo>
                    <a:pt x="2380" y="308"/>
                  </a:lnTo>
                  <a:lnTo>
                    <a:pt x="2378" y="298"/>
                  </a:lnTo>
                  <a:lnTo>
                    <a:pt x="2375" y="288"/>
                  </a:lnTo>
                  <a:lnTo>
                    <a:pt x="2371" y="280"/>
                  </a:lnTo>
                  <a:lnTo>
                    <a:pt x="2367" y="270"/>
                  </a:lnTo>
                  <a:lnTo>
                    <a:pt x="2364" y="262"/>
                  </a:lnTo>
                  <a:lnTo>
                    <a:pt x="2359" y="255"/>
                  </a:lnTo>
                  <a:lnTo>
                    <a:pt x="2355" y="247"/>
                  </a:lnTo>
                  <a:lnTo>
                    <a:pt x="2350" y="240"/>
                  </a:lnTo>
                  <a:lnTo>
                    <a:pt x="2343" y="233"/>
                  </a:lnTo>
                  <a:lnTo>
                    <a:pt x="2338" y="227"/>
                  </a:lnTo>
                  <a:lnTo>
                    <a:pt x="2332" y="221"/>
                  </a:lnTo>
                  <a:lnTo>
                    <a:pt x="2325" y="215"/>
                  </a:lnTo>
                  <a:lnTo>
                    <a:pt x="2318" y="210"/>
                  </a:lnTo>
                  <a:lnTo>
                    <a:pt x="2311" y="206"/>
                  </a:lnTo>
                  <a:lnTo>
                    <a:pt x="2304" y="202"/>
                  </a:lnTo>
                  <a:lnTo>
                    <a:pt x="2297" y="198"/>
                  </a:lnTo>
                  <a:lnTo>
                    <a:pt x="2288" y="193"/>
                  </a:lnTo>
                  <a:lnTo>
                    <a:pt x="2280" y="190"/>
                  </a:lnTo>
                  <a:lnTo>
                    <a:pt x="2272" y="187"/>
                  </a:lnTo>
                  <a:lnTo>
                    <a:pt x="2268" y="186"/>
                  </a:lnTo>
                  <a:lnTo>
                    <a:pt x="2263" y="185"/>
                  </a:lnTo>
                  <a:lnTo>
                    <a:pt x="2254" y="183"/>
                  </a:lnTo>
                  <a:lnTo>
                    <a:pt x="2245" y="181"/>
                  </a:lnTo>
                  <a:lnTo>
                    <a:pt x="2235" y="180"/>
                  </a:lnTo>
                  <a:lnTo>
                    <a:pt x="2225" y="179"/>
                  </a:lnTo>
                  <a:lnTo>
                    <a:pt x="2205" y="179"/>
                  </a:lnTo>
                  <a:close/>
                  <a:moveTo>
                    <a:pt x="1743" y="0"/>
                  </a:moveTo>
                  <a:lnTo>
                    <a:pt x="1622" y="0"/>
                  </a:lnTo>
                  <a:lnTo>
                    <a:pt x="1622" y="558"/>
                  </a:lnTo>
                  <a:lnTo>
                    <a:pt x="1743" y="558"/>
                  </a:lnTo>
                  <a:lnTo>
                    <a:pt x="1743" y="373"/>
                  </a:lnTo>
                  <a:lnTo>
                    <a:pt x="1743" y="362"/>
                  </a:lnTo>
                  <a:lnTo>
                    <a:pt x="1744" y="350"/>
                  </a:lnTo>
                  <a:lnTo>
                    <a:pt x="1746" y="341"/>
                  </a:lnTo>
                  <a:lnTo>
                    <a:pt x="1747" y="336"/>
                  </a:lnTo>
                  <a:lnTo>
                    <a:pt x="1748" y="332"/>
                  </a:lnTo>
                  <a:lnTo>
                    <a:pt x="1751" y="323"/>
                  </a:lnTo>
                  <a:lnTo>
                    <a:pt x="1754" y="316"/>
                  </a:lnTo>
                  <a:lnTo>
                    <a:pt x="1758" y="310"/>
                  </a:lnTo>
                  <a:lnTo>
                    <a:pt x="1762" y="303"/>
                  </a:lnTo>
                  <a:lnTo>
                    <a:pt x="1768" y="299"/>
                  </a:lnTo>
                  <a:lnTo>
                    <a:pt x="1773" y="295"/>
                  </a:lnTo>
                  <a:lnTo>
                    <a:pt x="1779" y="291"/>
                  </a:lnTo>
                  <a:lnTo>
                    <a:pt x="1785" y="288"/>
                  </a:lnTo>
                  <a:lnTo>
                    <a:pt x="1792" y="286"/>
                  </a:lnTo>
                  <a:lnTo>
                    <a:pt x="1799" y="285"/>
                  </a:lnTo>
                  <a:lnTo>
                    <a:pt x="1806" y="284"/>
                  </a:lnTo>
                  <a:lnTo>
                    <a:pt x="1813" y="284"/>
                  </a:lnTo>
                  <a:lnTo>
                    <a:pt x="1822" y="284"/>
                  </a:lnTo>
                  <a:lnTo>
                    <a:pt x="1829" y="285"/>
                  </a:lnTo>
                  <a:lnTo>
                    <a:pt x="1836" y="286"/>
                  </a:lnTo>
                  <a:lnTo>
                    <a:pt x="1842" y="288"/>
                  </a:lnTo>
                  <a:lnTo>
                    <a:pt x="1849" y="291"/>
                  </a:lnTo>
                  <a:lnTo>
                    <a:pt x="1854" y="294"/>
                  </a:lnTo>
                  <a:lnTo>
                    <a:pt x="1859" y="298"/>
                  </a:lnTo>
                  <a:lnTo>
                    <a:pt x="1861" y="300"/>
                  </a:lnTo>
                  <a:lnTo>
                    <a:pt x="1863" y="302"/>
                  </a:lnTo>
                  <a:lnTo>
                    <a:pt x="1867" y="308"/>
                  </a:lnTo>
                  <a:lnTo>
                    <a:pt x="1871" y="314"/>
                  </a:lnTo>
                  <a:lnTo>
                    <a:pt x="1874" y="320"/>
                  </a:lnTo>
                  <a:lnTo>
                    <a:pt x="1877" y="327"/>
                  </a:lnTo>
                  <a:lnTo>
                    <a:pt x="1878" y="336"/>
                  </a:lnTo>
                  <a:lnTo>
                    <a:pt x="1880" y="344"/>
                  </a:lnTo>
                  <a:lnTo>
                    <a:pt x="1880" y="353"/>
                  </a:lnTo>
                  <a:lnTo>
                    <a:pt x="1881" y="364"/>
                  </a:lnTo>
                  <a:lnTo>
                    <a:pt x="1881" y="558"/>
                  </a:lnTo>
                  <a:lnTo>
                    <a:pt x="2001" y="558"/>
                  </a:lnTo>
                  <a:lnTo>
                    <a:pt x="2001" y="329"/>
                  </a:lnTo>
                  <a:lnTo>
                    <a:pt x="2000" y="320"/>
                  </a:lnTo>
                  <a:lnTo>
                    <a:pt x="2000" y="311"/>
                  </a:lnTo>
                  <a:lnTo>
                    <a:pt x="1999" y="301"/>
                  </a:lnTo>
                  <a:lnTo>
                    <a:pt x="1998" y="293"/>
                  </a:lnTo>
                  <a:lnTo>
                    <a:pt x="1996" y="285"/>
                  </a:lnTo>
                  <a:lnTo>
                    <a:pt x="1995" y="276"/>
                  </a:lnTo>
                  <a:lnTo>
                    <a:pt x="1991" y="262"/>
                  </a:lnTo>
                  <a:lnTo>
                    <a:pt x="1988" y="255"/>
                  </a:lnTo>
                  <a:lnTo>
                    <a:pt x="1985" y="247"/>
                  </a:lnTo>
                  <a:lnTo>
                    <a:pt x="1979" y="235"/>
                  </a:lnTo>
                  <a:lnTo>
                    <a:pt x="1976" y="230"/>
                  </a:lnTo>
                  <a:lnTo>
                    <a:pt x="1971" y="225"/>
                  </a:lnTo>
                  <a:lnTo>
                    <a:pt x="1967" y="219"/>
                  </a:lnTo>
                  <a:lnTo>
                    <a:pt x="1962" y="214"/>
                  </a:lnTo>
                  <a:lnTo>
                    <a:pt x="1957" y="210"/>
                  </a:lnTo>
                  <a:lnTo>
                    <a:pt x="1953" y="206"/>
                  </a:lnTo>
                  <a:lnTo>
                    <a:pt x="1941" y="198"/>
                  </a:lnTo>
                  <a:lnTo>
                    <a:pt x="1936" y="194"/>
                  </a:lnTo>
                  <a:lnTo>
                    <a:pt x="1931" y="191"/>
                  </a:lnTo>
                  <a:lnTo>
                    <a:pt x="1918" y="186"/>
                  </a:lnTo>
                  <a:lnTo>
                    <a:pt x="1912" y="184"/>
                  </a:lnTo>
                  <a:lnTo>
                    <a:pt x="1906" y="183"/>
                  </a:lnTo>
                  <a:lnTo>
                    <a:pt x="1891" y="180"/>
                  </a:lnTo>
                  <a:lnTo>
                    <a:pt x="1885" y="179"/>
                  </a:lnTo>
                  <a:lnTo>
                    <a:pt x="1878" y="178"/>
                  </a:lnTo>
                  <a:lnTo>
                    <a:pt x="1862" y="178"/>
                  </a:lnTo>
                  <a:lnTo>
                    <a:pt x="1853" y="178"/>
                  </a:lnTo>
                  <a:lnTo>
                    <a:pt x="1844" y="179"/>
                  </a:lnTo>
                  <a:lnTo>
                    <a:pt x="1834" y="180"/>
                  </a:lnTo>
                  <a:lnTo>
                    <a:pt x="1825" y="182"/>
                  </a:lnTo>
                  <a:lnTo>
                    <a:pt x="1817" y="184"/>
                  </a:lnTo>
                  <a:lnTo>
                    <a:pt x="1808" y="186"/>
                  </a:lnTo>
                  <a:lnTo>
                    <a:pt x="1801" y="189"/>
                  </a:lnTo>
                  <a:lnTo>
                    <a:pt x="1793" y="193"/>
                  </a:lnTo>
                  <a:lnTo>
                    <a:pt x="1785" y="198"/>
                  </a:lnTo>
                  <a:lnTo>
                    <a:pt x="1779" y="202"/>
                  </a:lnTo>
                  <a:lnTo>
                    <a:pt x="1772" y="207"/>
                  </a:lnTo>
                  <a:lnTo>
                    <a:pt x="1766" y="212"/>
                  </a:lnTo>
                  <a:lnTo>
                    <a:pt x="1760" y="218"/>
                  </a:lnTo>
                  <a:lnTo>
                    <a:pt x="1754" y="225"/>
                  </a:lnTo>
                  <a:lnTo>
                    <a:pt x="1744" y="238"/>
                  </a:lnTo>
                  <a:lnTo>
                    <a:pt x="1743" y="238"/>
                  </a:lnTo>
                  <a:lnTo>
                    <a:pt x="1743" y="0"/>
                  </a:lnTo>
                  <a:close/>
                  <a:moveTo>
                    <a:pt x="1611" y="290"/>
                  </a:moveTo>
                  <a:lnTo>
                    <a:pt x="1611" y="189"/>
                  </a:lnTo>
                  <a:lnTo>
                    <a:pt x="1535" y="189"/>
                  </a:lnTo>
                  <a:lnTo>
                    <a:pt x="1535" y="42"/>
                  </a:lnTo>
                  <a:lnTo>
                    <a:pt x="1414" y="42"/>
                  </a:lnTo>
                  <a:lnTo>
                    <a:pt x="1414" y="189"/>
                  </a:lnTo>
                  <a:lnTo>
                    <a:pt x="1343" y="189"/>
                  </a:lnTo>
                  <a:lnTo>
                    <a:pt x="1343" y="290"/>
                  </a:lnTo>
                  <a:lnTo>
                    <a:pt x="1414" y="290"/>
                  </a:lnTo>
                  <a:lnTo>
                    <a:pt x="1414" y="433"/>
                  </a:lnTo>
                  <a:lnTo>
                    <a:pt x="1414" y="442"/>
                  </a:lnTo>
                  <a:lnTo>
                    <a:pt x="1415" y="450"/>
                  </a:lnTo>
                  <a:lnTo>
                    <a:pt x="1417" y="465"/>
                  </a:lnTo>
                  <a:lnTo>
                    <a:pt x="1420" y="478"/>
                  </a:lnTo>
                  <a:lnTo>
                    <a:pt x="1424" y="491"/>
                  </a:lnTo>
                  <a:lnTo>
                    <a:pt x="1426" y="497"/>
                  </a:lnTo>
                  <a:lnTo>
                    <a:pt x="1428" y="502"/>
                  </a:lnTo>
                  <a:lnTo>
                    <a:pt x="1434" y="512"/>
                  </a:lnTo>
                  <a:lnTo>
                    <a:pt x="1440" y="521"/>
                  </a:lnTo>
                  <a:lnTo>
                    <a:pt x="1444" y="525"/>
                  </a:lnTo>
                  <a:lnTo>
                    <a:pt x="1449" y="529"/>
                  </a:lnTo>
                  <a:lnTo>
                    <a:pt x="1457" y="536"/>
                  </a:lnTo>
                  <a:lnTo>
                    <a:pt x="1466" y="541"/>
                  </a:lnTo>
                  <a:lnTo>
                    <a:pt x="1472" y="545"/>
                  </a:lnTo>
                  <a:lnTo>
                    <a:pt x="1477" y="547"/>
                  </a:lnTo>
                  <a:lnTo>
                    <a:pt x="1487" y="551"/>
                  </a:lnTo>
                  <a:lnTo>
                    <a:pt x="1493" y="553"/>
                  </a:lnTo>
                  <a:lnTo>
                    <a:pt x="1499" y="554"/>
                  </a:lnTo>
                  <a:lnTo>
                    <a:pt x="1511" y="556"/>
                  </a:lnTo>
                  <a:lnTo>
                    <a:pt x="1525" y="558"/>
                  </a:lnTo>
                  <a:lnTo>
                    <a:pt x="1538" y="558"/>
                  </a:lnTo>
                  <a:lnTo>
                    <a:pt x="1589" y="558"/>
                  </a:lnTo>
                  <a:lnTo>
                    <a:pt x="1589" y="447"/>
                  </a:lnTo>
                  <a:lnTo>
                    <a:pt x="1575" y="447"/>
                  </a:lnTo>
                  <a:lnTo>
                    <a:pt x="1569" y="447"/>
                  </a:lnTo>
                  <a:lnTo>
                    <a:pt x="1564" y="446"/>
                  </a:lnTo>
                  <a:lnTo>
                    <a:pt x="1560" y="445"/>
                  </a:lnTo>
                  <a:lnTo>
                    <a:pt x="1556" y="444"/>
                  </a:lnTo>
                  <a:lnTo>
                    <a:pt x="1552" y="443"/>
                  </a:lnTo>
                  <a:lnTo>
                    <a:pt x="1548" y="441"/>
                  </a:lnTo>
                  <a:lnTo>
                    <a:pt x="1545" y="439"/>
                  </a:lnTo>
                  <a:lnTo>
                    <a:pt x="1543" y="436"/>
                  </a:lnTo>
                  <a:lnTo>
                    <a:pt x="1541" y="433"/>
                  </a:lnTo>
                  <a:lnTo>
                    <a:pt x="1539" y="430"/>
                  </a:lnTo>
                  <a:lnTo>
                    <a:pt x="1538" y="427"/>
                  </a:lnTo>
                  <a:lnTo>
                    <a:pt x="1537" y="423"/>
                  </a:lnTo>
                  <a:lnTo>
                    <a:pt x="1536" y="418"/>
                  </a:lnTo>
                  <a:lnTo>
                    <a:pt x="1535" y="413"/>
                  </a:lnTo>
                  <a:lnTo>
                    <a:pt x="1535" y="407"/>
                  </a:lnTo>
                  <a:lnTo>
                    <a:pt x="1535" y="401"/>
                  </a:lnTo>
                  <a:lnTo>
                    <a:pt x="1535" y="290"/>
                  </a:lnTo>
                  <a:lnTo>
                    <a:pt x="1611" y="290"/>
                  </a:lnTo>
                  <a:close/>
                  <a:moveTo>
                    <a:pt x="1033" y="178"/>
                  </a:moveTo>
                  <a:lnTo>
                    <a:pt x="1023" y="178"/>
                  </a:lnTo>
                  <a:lnTo>
                    <a:pt x="1013" y="179"/>
                  </a:lnTo>
                  <a:lnTo>
                    <a:pt x="1004" y="180"/>
                  </a:lnTo>
                  <a:lnTo>
                    <a:pt x="996" y="182"/>
                  </a:lnTo>
                  <a:lnTo>
                    <a:pt x="987" y="185"/>
                  </a:lnTo>
                  <a:lnTo>
                    <a:pt x="983" y="186"/>
                  </a:lnTo>
                  <a:lnTo>
                    <a:pt x="979" y="187"/>
                  </a:lnTo>
                  <a:lnTo>
                    <a:pt x="971" y="191"/>
                  </a:lnTo>
                  <a:lnTo>
                    <a:pt x="962" y="195"/>
                  </a:lnTo>
                  <a:lnTo>
                    <a:pt x="955" y="200"/>
                  </a:lnTo>
                  <a:lnTo>
                    <a:pt x="948" y="205"/>
                  </a:lnTo>
                  <a:lnTo>
                    <a:pt x="940" y="211"/>
                  </a:lnTo>
                  <a:lnTo>
                    <a:pt x="934" y="216"/>
                  </a:lnTo>
                  <a:lnTo>
                    <a:pt x="928" y="223"/>
                  </a:lnTo>
                  <a:lnTo>
                    <a:pt x="923" y="230"/>
                  </a:lnTo>
                  <a:lnTo>
                    <a:pt x="917" y="237"/>
                  </a:lnTo>
                  <a:lnTo>
                    <a:pt x="912" y="245"/>
                  </a:lnTo>
                  <a:lnTo>
                    <a:pt x="910" y="245"/>
                  </a:lnTo>
                  <a:lnTo>
                    <a:pt x="910" y="189"/>
                  </a:lnTo>
                  <a:lnTo>
                    <a:pt x="793" y="189"/>
                  </a:lnTo>
                  <a:lnTo>
                    <a:pt x="793" y="558"/>
                  </a:lnTo>
                  <a:lnTo>
                    <a:pt x="912" y="558"/>
                  </a:lnTo>
                  <a:lnTo>
                    <a:pt x="912" y="373"/>
                  </a:lnTo>
                  <a:lnTo>
                    <a:pt x="913" y="362"/>
                  </a:lnTo>
                  <a:lnTo>
                    <a:pt x="914" y="350"/>
                  </a:lnTo>
                  <a:lnTo>
                    <a:pt x="916" y="341"/>
                  </a:lnTo>
                  <a:lnTo>
                    <a:pt x="917" y="336"/>
                  </a:lnTo>
                  <a:lnTo>
                    <a:pt x="919" y="332"/>
                  </a:lnTo>
                  <a:lnTo>
                    <a:pt x="921" y="323"/>
                  </a:lnTo>
                  <a:lnTo>
                    <a:pt x="925" y="316"/>
                  </a:lnTo>
                  <a:lnTo>
                    <a:pt x="928" y="310"/>
                  </a:lnTo>
                  <a:lnTo>
                    <a:pt x="933" y="303"/>
                  </a:lnTo>
                  <a:lnTo>
                    <a:pt x="938" y="299"/>
                  </a:lnTo>
                  <a:lnTo>
                    <a:pt x="944" y="295"/>
                  </a:lnTo>
                  <a:lnTo>
                    <a:pt x="950" y="291"/>
                  </a:lnTo>
                  <a:lnTo>
                    <a:pt x="956" y="288"/>
                  </a:lnTo>
                  <a:lnTo>
                    <a:pt x="962" y="286"/>
                  </a:lnTo>
                  <a:lnTo>
                    <a:pt x="969" y="285"/>
                  </a:lnTo>
                  <a:lnTo>
                    <a:pt x="976" y="284"/>
                  </a:lnTo>
                  <a:lnTo>
                    <a:pt x="984" y="284"/>
                  </a:lnTo>
                  <a:lnTo>
                    <a:pt x="992" y="284"/>
                  </a:lnTo>
                  <a:lnTo>
                    <a:pt x="1000" y="285"/>
                  </a:lnTo>
                  <a:lnTo>
                    <a:pt x="1003" y="286"/>
                  </a:lnTo>
                  <a:lnTo>
                    <a:pt x="1007" y="286"/>
                  </a:lnTo>
                  <a:lnTo>
                    <a:pt x="1013" y="288"/>
                  </a:lnTo>
                  <a:lnTo>
                    <a:pt x="1019" y="291"/>
                  </a:lnTo>
                  <a:lnTo>
                    <a:pt x="1025" y="294"/>
                  </a:lnTo>
                  <a:lnTo>
                    <a:pt x="1030" y="298"/>
                  </a:lnTo>
                  <a:lnTo>
                    <a:pt x="1032" y="300"/>
                  </a:lnTo>
                  <a:lnTo>
                    <a:pt x="1035" y="302"/>
                  </a:lnTo>
                  <a:lnTo>
                    <a:pt x="1038" y="308"/>
                  </a:lnTo>
                  <a:lnTo>
                    <a:pt x="1042" y="314"/>
                  </a:lnTo>
                  <a:lnTo>
                    <a:pt x="1045" y="320"/>
                  </a:lnTo>
                  <a:lnTo>
                    <a:pt x="1046" y="324"/>
                  </a:lnTo>
                  <a:lnTo>
                    <a:pt x="1048" y="327"/>
                  </a:lnTo>
                  <a:lnTo>
                    <a:pt x="1050" y="336"/>
                  </a:lnTo>
                  <a:lnTo>
                    <a:pt x="1051" y="344"/>
                  </a:lnTo>
                  <a:lnTo>
                    <a:pt x="1052" y="353"/>
                  </a:lnTo>
                  <a:lnTo>
                    <a:pt x="1052" y="364"/>
                  </a:lnTo>
                  <a:lnTo>
                    <a:pt x="1052" y="558"/>
                  </a:lnTo>
                  <a:lnTo>
                    <a:pt x="1171" y="558"/>
                  </a:lnTo>
                  <a:lnTo>
                    <a:pt x="1171" y="329"/>
                  </a:lnTo>
                  <a:lnTo>
                    <a:pt x="1171" y="320"/>
                  </a:lnTo>
                  <a:lnTo>
                    <a:pt x="1170" y="311"/>
                  </a:lnTo>
                  <a:lnTo>
                    <a:pt x="1170" y="301"/>
                  </a:lnTo>
                  <a:lnTo>
                    <a:pt x="1169" y="293"/>
                  </a:lnTo>
                  <a:lnTo>
                    <a:pt x="1167" y="285"/>
                  </a:lnTo>
                  <a:lnTo>
                    <a:pt x="1165" y="276"/>
                  </a:lnTo>
                  <a:lnTo>
                    <a:pt x="1161" y="262"/>
                  </a:lnTo>
                  <a:lnTo>
                    <a:pt x="1159" y="255"/>
                  </a:lnTo>
                  <a:lnTo>
                    <a:pt x="1156" y="247"/>
                  </a:lnTo>
                  <a:lnTo>
                    <a:pt x="1149" y="235"/>
                  </a:lnTo>
                  <a:lnTo>
                    <a:pt x="1145" y="230"/>
                  </a:lnTo>
                  <a:lnTo>
                    <a:pt x="1141" y="225"/>
                  </a:lnTo>
                  <a:lnTo>
                    <a:pt x="1137" y="219"/>
                  </a:lnTo>
                  <a:lnTo>
                    <a:pt x="1133" y="214"/>
                  </a:lnTo>
                  <a:lnTo>
                    <a:pt x="1128" y="210"/>
                  </a:lnTo>
                  <a:lnTo>
                    <a:pt x="1122" y="206"/>
                  </a:lnTo>
                  <a:lnTo>
                    <a:pt x="1112" y="198"/>
                  </a:lnTo>
                  <a:lnTo>
                    <a:pt x="1107" y="194"/>
                  </a:lnTo>
                  <a:lnTo>
                    <a:pt x="1101" y="191"/>
                  </a:lnTo>
                  <a:lnTo>
                    <a:pt x="1089" y="186"/>
                  </a:lnTo>
                  <a:lnTo>
                    <a:pt x="1082" y="184"/>
                  </a:lnTo>
                  <a:lnTo>
                    <a:pt x="1076" y="183"/>
                  </a:lnTo>
                  <a:lnTo>
                    <a:pt x="1062" y="180"/>
                  </a:lnTo>
                  <a:lnTo>
                    <a:pt x="1055" y="179"/>
                  </a:lnTo>
                  <a:lnTo>
                    <a:pt x="1048" y="178"/>
                  </a:lnTo>
                  <a:lnTo>
                    <a:pt x="1033" y="178"/>
                  </a:lnTo>
                  <a:close/>
                  <a:moveTo>
                    <a:pt x="638" y="558"/>
                  </a:moveTo>
                  <a:lnTo>
                    <a:pt x="758" y="558"/>
                  </a:lnTo>
                  <a:lnTo>
                    <a:pt x="758" y="189"/>
                  </a:lnTo>
                  <a:lnTo>
                    <a:pt x="638" y="189"/>
                  </a:lnTo>
                  <a:lnTo>
                    <a:pt x="638" y="558"/>
                  </a:lnTo>
                  <a:close/>
                  <a:moveTo>
                    <a:pt x="762" y="0"/>
                  </a:moveTo>
                  <a:lnTo>
                    <a:pt x="633" y="0"/>
                  </a:lnTo>
                  <a:lnTo>
                    <a:pt x="633" y="122"/>
                  </a:lnTo>
                  <a:lnTo>
                    <a:pt x="762" y="122"/>
                  </a:lnTo>
                  <a:lnTo>
                    <a:pt x="762" y="0"/>
                  </a:lnTo>
                  <a:close/>
                  <a:moveTo>
                    <a:pt x="417" y="288"/>
                  </a:moveTo>
                  <a:lnTo>
                    <a:pt x="425" y="288"/>
                  </a:lnTo>
                  <a:lnTo>
                    <a:pt x="434" y="289"/>
                  </a:lnTo>
                  <a:lnTo>
                    <a:pt x="443" y="291"/>
                  </a:lnTo>
                  <a:lnTo>
                    <a:pt x="450" y="293"/>
                  </a:lnTo>
                  <a:lnTo>
                    <a:pt x="458" y="297"/>
                  </a:lnTo>
                  <a:lnTo>
                    <a:pt x="465" y="300"/>
                  </a:lnTo>
                  <a:lnTo>
                    <a:pt x="472" y="306"/>
                  </a:lnTo>
                  <a:lnTo>
                    <a:pt x="478" y="311"/>
                  </a:lnTo>
                  <a:lnTo>
                    <a:pt x="483" y="317"/>
                  </a:lnTo>
                  <a:lnTo>
                    <a:pt x="488" y="323"/>
                  </a:lnTo>
                  <a:lnTo>
                    <a:pt x="493" y="331"/>
                  </a:lnTo>
                  <a:lnTo>
                    <a:pt x="496" y="338"/>
                  </a:lnTo>
                  <a:lnTo>
                    <a:pt x="499" y="346"/>
                  </a:lnTo>
                  <a:lnTo>
                    <a:pt x="501" y="354"/>
                  </a:lnTo>
                  <a:lnTo>
                    <a:pt x="502" y="364"/>
                  </a:lnTo>
                  <a:lnTo>
                    <a:pt x="503" y="374"/>
                  </a:lnTo>
                  <a:lnTo>
                    <a:pt x="502" y="383"/>
                  </a:lnTo>
                  <a:lnTo>
                    <a:pt x="501" y="393"/>
                  </a:lnTo>
                  <a:lnTo>
                    <a:pt x="499" y="401"/>
                  </a:lnTo>
                  <a:lnTo>
                    <a:pt x="496" y="409"/>
                  </a:lnTo>
                  <a:lnTo>
                    <a:pt x="493" y="417"/>
                  </a:lnTo>
                  <a:lnTo>
                    <a:pt x="488" y="424"/>
                  </a:lnTo>
                  <a:lnTo>
                    <a:pt x="483" y="430"/>
                  </a:lnTo>
                  <a:lnTo>
                    <a:pt x="478" y="436"/>
                  </a:lnTo>
                  <a:lnTo>
                    <a:pt x="472" y="442"/>
                  </a:lnTo>
                  <a:lnTo>
                    <a:pt x="465" y="447"/>
                  </a:lnTo>
                  <a:lnTo>
                    <a:pt x="458" y="451"/>
                  </a:lnTo>
                  <a:lnTo>
                    <a:pt x="450" y="454"/>
                  </a:lnTo>
                  <a:lnTo>
                    <a:pt x="443" y="456"/>
                  </a:lnTo>
                  <a:lnTo>
                    <a:pt x="434" y="458"/>
                  </a:lnTo>
                  <a:lnTo>
                    <a:pt x="425" y="459"/>
                  </a:lnTo>
                  <a:lnTo>
                    <a:pt x="417" y="460"/>
                  </a:lnTo>
                  <a:lnTo>
                    <a:pt x="407" y="459"/>
                  </a:lnTo>
                  <a:lnTo>
                    <a:pt x="399" y="458"/>
                  </a:lnTo>
                  <a:lnTo>
                    <a:pt x="391" y="456"/>
                  </a:lnTo>
                  <a:lnTo>
                    <a:pt x="382" y="454"/>
                  </a:lnTo>
                  <a:lnTo>
                    <a:pt x="375" y="451"/>
                  </a:lnTo>
                  <a:lnTo>
                    <a:pt x="368" y="447"/>
                  </a:lnTo>
                  <a:lnTo>
                    <a:pt x="362" y="442"/>
                  </a:lnTo>
                  <a:lnTo>
                    <a:pt x="355" y="436"/>
                  </a:lnTo>
                  <a:lnTo>
                    <a:pt x="349" y="430"/>
                  </a:lnTo>
                  <a:lnTo>
                    <a:pt x="345" y="424"/>
                  </a:lnTo>
                  <a:lnTo>
                    <a:pt x="341" y="417"/>
                  </a:lnTo>
                  <a:lnTo>
                    <a:pt x="337" y="409"/>
                  </a:lnTo>
                  <a:lnTo>
                    <a:pt x="335" y="401"/>
                  </a:lnTo>
                  <a:lnTo>
                    <a:pt x="333" y="393"/>
                  </a:lnTo>
                  <a:lnTo>
                    <a:pt x="330" y="383"/>
                  </a:lnTo>
                  <a:lnTo>
                    <a:pt x="330" y="374"/>
                  </a:lnTo>
                  <a:lnTo>
                    <a:pt x="330" y="364"/>
                  </a:lnTo>
                  <a:lnTo>
                    <a:pt x="333" y="354"/>
                  </a:lnTo>
                  <a:lnTo>
                    <a:pt x="335" y="346"/>
                  </a:lnTo>
                  <a:lnTo>
                    <a:pt x="337" y="338"/>
                  </a:lnTo>
                  <a:lnTo>
                    <a:pt x="341" y="331"/>
                  </a:lnTo>
                  <a:lnTo>
                    <a:pt x="345" y="323"/>
                  </a:lnTo>
                  <a:lnTo>
                    <a:pt x="349" y="317"/>
                  </a:lnTo>
                  <a:lnTo>
                    <a:pt x="355" y="311"/>
                  </a:lnTo>
                  <a:lnTo>
                    <a:pt x="362" y="306"/>
                  </a:lnTo>
                  <a:lnTo>
                    <a:pt x="368" y="300"/>
                  </a:lnTo>
                  <a:lnTo>
                    <a:pt x="375" y="297"/>
                  </a:lnTo>
                  <a:lnTo>
                    <a:pt x="382" y="293"/>
                  </a:lnTo>
                  <a:lnTo>
                    <a:pt x="391" y="291"/>
                  </a:lnTo>
                  <a:lnTo>
                    <a:pt x="399" y="289"/>
                  </a:lnTo>
                  <a:lnTo>
                    <a:pt x="407" y="288"/>
                  </a:lnTo>
                  <a:lnTo>
                    <a:pt x="417" y="288"/>
                  </a:lnTo>
                  <a:close/>
                  <a:moveTo>
                    <a:pt x="417" y="178"/>
                  </a:moveTo>
                  <a:lnTo>
                    <a:pt x="405" y="178"/>
                  </a:lnTo>
                  <a:lnTo>
                    <a:pt x="394" y="179"/>
                  </a:lnTo>
                  <a:lnTo>
                    <a:pt x="383" y="180"/>
                  </a:lnTo>
                  <a:lnTo>
                    <a:pt x="373" y="181"/>
                  </a:lnTo>
                  <a:lnTo>
                    <a:pt x="363" y="183"/>
                  </a:lnTo>
                  <a:lnTo>
                    <a:pt x="353" y="186"/>
                  </a:lnTo>
                  <a:lnTo>
                    <a:pt x="343" y="188"/>
                  </a:lnTo>
                  <a:lnTo>
                    <a:pt x="334" y="191"/>
                  </a:lnTo>
                  <a:lnTo>
                    <a:pt x="325" y="195"/>
                  </a:lnTo>
                  <a:lnTo>
                    <a:pt x="316" y="200"/>
                  </a:lnTo>
                  <a:lnTo>
                    <a:pt x="308" y="204"/>
                  </a:lnTo>
                  <a:lnTo>
                    <a:pt x="299" y="208"/>
                  </a:lnTo>
                  <a:lnTo>
                    <a:pt x="284" y="219"/>
                  </a:lnTo>
                  <a:lnTo>
                    <a:pt x="275" y="225"/>
                  </a:lnTo>
                  <a:lnTo>
                    <a:pt x="268" y="232"/>
                  </a:lnTo>
                  <a:lnTo>
                    <a:pt x="262" y="238"/>
                  </a:lnTo>
                  <a:lnTo>
                    <a:pt x="255" y="245"/>
                  </a:lnTo>
                  <a:lnTo>
                    <a:pt x="249" y="253"/>
                  </a:lnTo>
                  <a:lnTo>
                    <a:pt x="243" y="260"/>
                  </a:lnTo>
                  <a:lnTo>
                    <a:pt x="238" y="268"/>
                  </a:lnTo>
                  <a:lnTo>
                    <a:pt x="234" y="276"/>
                  </a:lnTo>
                  <a:lnTo>
                    <a:pt x="230" y="285"/>
                  </a:lnTo>
                  <a:lnTo>
                    <a:pt x="226" y="293"/>
                  </a:lnTo>
                  <a:lnTo>
                    <a:pt x="221" y="302"/>
                  </a:lnTo>
                  <a:lnTo>
                    <a:pt x="219" y="312"/>
                  </a:lnTo>
                  <a:lnTo>
                    <a:pt x="216" y="321"/>
                  </a:lnTo>
                  <a:lnTo>
                    <a:pt x="214" y="332"/>
                  </a:lnTo>
                  <a:lnTo>
                    <a:pt x="212" y="341"/>
                  </a:lnTo>
                  <a:lnTo>
                    <a:pt x="211" y="352"/>
                  </a:lnTo>
                  <a:lnTo>
                    <a:pt x="210" y="363"/>
                  </a:lnTo>
                  <a:lnTo>
                    <a:pt x="210" y="374"/>
                  </a:lnTo>
                  <a:lnTo>
                    <a:pt x="210" y="385"/>
                  </a:lnTo>
                  <a:lnTo>
                    <a:pt x="211" y="396"/>
                  </a:lnTo>
                  <a:lnTo>
                    <a:pt x="212" y="406"/>
                  </a:lnTo>
                  <a:lnTo>
                    <a:pt x="214" y="417"/>
                  </a:lnTo>
                  <a:lnTo>
                    <a:pt x="216" y="426"/>
                  </a:lnTo>
                  <a:lnTo>
                    <a:pt x="219" y="435"/>
                  </a:lnTo>
                  <a:lnTo>
                    <a:pt x="221" y="445"/>
                  </a:lnTo>
                  <a:lnTo>
                    <a:pt x="226" y="454"/>
                  </a:lnTo>
                  <a:lnTo>
                    <a:pt x="230" y="464"/>
                  </a:lnTo>
                  <a:lnTo>
                    <a:pt x="234" y="472"/>
                  </a:lnTo>
                  <a:lnTo>
                    <a:pt x="238" y="480"/>
                  </a:lnTo>
                  <a:lnTo>
                    <a:pt x="243" y="487"/>
                  </a:lnTo>
                  <a:lnTo>
                    <a:pt x="249" y="495"/>
                  </a:lnTo>
                  <a:lnTo>
                    <a:pt x="255" y="502"/>
                  </a:lnTo>
                  <a:lnTo>
                    <a:pt x="262" y="509"/>
                  </a:lnTo>
                  <a:lnTo>
                    <a:pt x="268" y="516"/>
                  </a:lnTo>
                  <a:lnTo>
                    <a:pt x="275" y="523"/>
                  </a:lnTo>
                  <a:lnTo>
                    <a:pt x="284" y="529"/>
                  </a:lnTo>
                  <a:lnTo>
                    <a:pt x="291" y="534"/>
                  </a:lnTo>
                  <a:lnTo>
                    <a:pt x="299" y="539"/>
                  </a:lnTo>
                  <a:lnTo>
                    <a:pt x="308" y="545"/>
                  </a:lnTo>
                  <a:lnTo>
                    <a:pt x="316" y="549"/>
                  </a:lnTo>
                  <a:lnTo>
                    <a:pt x="325" y="553"/>
                  </a:lnTo>
                  <a:lnTo>
                    <a:pt x="334" y="556"/>
                  </a:lnTo>
                  <a:lnTo>
                    <a:pt x="343" y="559"/>
                  </a:lnTo>
                  <a:lnTo>
                    <a:pt x="353" y="562"/>
                  </a:lnTo>
                  <a:lnTo>
                    <a:pt x="363" y="564"/>
                  </a:lnTo>
                  <a:lnTo>
                    <a:pt x="373" y="566"/>
                  </a:lnTo>
                  <a:lnTo>
                    <a:pt x="383" y="567"/>
                  </a:lnTo>
                  <a:lnTo>
                    <a:pt x="394" y="568"/>
                  </a:lnTo>
                  <a:lnTo>
                    <a:pt x="405" y="569"/>
                  </a:lnTo>
                  <a:lnTo>
                    <a:pt x="417" y="571"/>
                  </a:lnTo>
                  <a:lnTo>
                    <a:pt x="428" y="569"/>
                  </a:lnTo>
                  <a:lnTo>
                    <a:pt x="439" y="568"/>
                  </a:lnTo>
                  <a:lnTo>
                    <a:pt x="450" y="567"/>
                  </a:lnTo>
                  <a:lnTo>
                    <a:pt x="460" y="566"/>
                  </a:lnTo>
                  <a:lnTo>
                    <a:pt x="471" y="564"/>
                  </a:lnTo>
                  <a:lnTo>
                    <a:pt x="480" y="562"/>
                  </a:lnTo>
                  <a:lnTo>
                    <a:pt x="489" y="559"/>
                  </a:lnTo>
                  <a:lnTo>
                    <a:pt x="499" y="556"/>
                  </a:lnTo>
                  <a:lnTo>
                    <a:pt x="508" y="553"/>
                  </a:lnTo>
                  <a:lnTo>
                    <a:pt x="518" y="549"/>
                  </a:lnTo>
                  <a:lnTo>
                    <a:pt x="526" y="545"/>
                  </a:lnTo>
                  <a:lnTo>
                    <a:pt x="534" y="539"/>
                  </a:lnTo>
                  <a:lnTo>
                    <a:pt x="550" y="529"/>
                  </a:lnTo>
                  <a:lnTo>
                    <a:pt x="558" y="523"/>
                  </a:lnTo>
                  <a:lnTo>
                    <a:pt x="565" y="516"/>
                  </a:lnTo>
                  <a:lnTo>
                    <a:pt x="572" y="509"/>
                  </a:lnTo>
                  <a:lnTo>
                    <a:pt x="579" y="502"/>
                  </a:lnTo>
                  <a:lnTo>
                    <a:pt x="584" y="495"/>
                  </a:lnTo>
                  <a:lnTo>
                    <a:pt x="590" y="487"/>
                  </a:lnTo>
                  <a:lnTo>
                    <a:pt x="595" y="480"/>
                  </a:lnTo>
                  <a:lnTo>
                    <a:pt x="600" y="472"/>
                  </a:lnTo>
                  <a:lnTo>
                    <a:pt x="605" y="464"/>
                  </a:lnTo>
                  <a:lnTo>
                    <a:pt x="608" y="454"/>
                  </a:lnTo>
                  <a:lnTo>
                    <a:pt x="612" y="445"/>
                  </a:lnTo>
                  <a:lnTo>
                    <a:pt x="615" y="435"/>
                  </a:lnTo>
                  <a:lnTo>
                    <a:pt x="617" y="426"/>
                  </a:lnTo>
                  <a:lnTo>
                    <a:pt x="619" y="417"/>
                  </a:lnTo>
                  <a:lnTo>
                    <a:pt x="621" y="406"/>
                  </a:lnTo>
                  <a:lnTo>
                    <a:pt x="622" y="396"/>
                  </a:lnTo>
                  <a:lnTo>
                    <a:pt x="624" y="385"/>
                  </a:lnTo>
                  <a:lnTo>
                    <a:pt x="624" y="374"/>
                  </a:lnTo>
                  <a:lnTo>
                    <a:pt x="624" y="363"/>
                  </a:lnTo>
                  <a:lnTo>
                    <a:pt x="622" y="352"/>
                  </a:lnTo>
                  <a:lnTo>
                    <a:pt x="621" y="341"/>
                  </a:lnTo>
                  <a:lnTo>
                    <a:pt x="619" y="332"/>
                  </a:lnTo>
                  <a:lnTo>
                    <a:pt x="617" y="321"/>
                  </a:lnTo>
                  <a:lnTo>
                    <a:pt x="615" y="312"/>
                  </a:lnTo>
                  <a:lnTo>
                    <a:pt x="612" y="302"/>
                  </a:lnTo>
                  <a:lnTo>
                    <a:pt x="608" y="293"/>
                  </a:lnTo>
                  <a:lnTo>
                    <a:pt x="605" y="285"/>
                  </a:lnTo>
                  <a:lnTo>
                    <a:pt x="600" y="276"/>
                  </a:lnTo>
                  <a:lnTo>
                    <a:pt x="595" y="268"/>
                  </a:lnTo>
                  <a:lnTo>
                    <a:pt x="590" y="260"/>
                  </a:lnTo>
                  <a:lnTo>
                    <a:pt x="584" y="253"/>
                  </a:lnTo>
                  <a:lnTo>
                    <a:pt x="579" y="245"/>
                  </a:lnTo>
                  <a:lnTo>
                    <a:pt x="572" y="238"/>
                  </a:lnTo>
                  <a:lnTo>
                    <a:pt x="565" y="232"/>
                  </a:lnTo>
                  <a:lnTo>
                    <a:pt x="558" y="225"/>
                  </a:lnTo>
                  <a:lnTo>
                    <a:pt x="550" y="219"/>
                  </a:lnTo>
                  <a:lnTo>
                    <a:pt x="542" y="213"/>
                  </a:lnTo>
                  <a:lnTo>
                    <a:pt x="534" y="208"/>
                  </a:lnTo>
                  <a:lnTo>
                    <a:pt x="526" y="204"/>
                  </a:lnTo>
                  <a:lnTo>
                    <a:pt x="518" y="200"/>
                  </a:lnTo>
                  <a:lnTo>
                    <a:pt x="508" y="195"/>
                  </a:lnTo>
                  <a:lnTo>
                    <a:pt x="499" y="191"/>
                  </a:lnTo>
                  <a:lnTo>
                    <a:pt x="489" y="188"/>
                  </a:lnTo>
                  <a:lnTo>
                    <a:pt x="480" y="186"/>
                  </a:lnTo>
                  <a:lnTo>
                    <a:pt x="471" y="183"/>
                  </a:lnTo>
                  <a:lnTo>
                    <a:pt x="460" y="181"/>
                  </a:lnTo>
                  <a:lnTo>
                    <a:pt x="450" y="180"/>
                  </a:lnTo>
                  <a:lnTo>
                    <a:pt x="439" y="179"/>
                  </a:lnTo>
                  <a:lnTo>
                    <a:pt x="428" y="178"/>
                  </a:lnTo>
                  <a:lnTo>
                    <a:pt x="417" y="178"/>
                  </a:lnTo>
                  <a:close/>
                  <a:moveTo>
                    <a:pt x="184" y="0"/>
                  </a:moveTo>
                  <a:lnTo>
                    <a:pt x="60" y="0"/>
                  </a:lnTo>
                  <a:lnTo>
                    <a:pt x="60" y="405"/>
                  </a:lnTo>
                  <a:lnTo>
                    <a:pt x="59" y="415"/>
                  </a:lnTo>
                  <a:lnTo>
                    <a:pt x="58" y="419"/>
                  </a:lnTo>
                  <a:lnTo>
                    <a:pt x="58" y="423"/>
                  </a:lnTo>
                  <a:lnTo>
                    <a:pt x="56" y="426"/>
                  </a:lnTo>
                  <a:lnTo>
                    <a:pt x="55" y="429"/>
                  </a:lnTo>
                  <a:lnTo>
                    <a:pt x="53" y="432"/>
                  </a:lnTo>
                  <a:lnTo>
                    <a:pt x="51" y="435"/>
                  </a:lnTo>
                  <a:lnTo>
                    <a:pt x="47" y="440"/>
                  </a:lnTo>
                  <a:lnTo>
                    <a:pt x="41" y="443"/>
                  </a:lnTo>
                  <a:lnTo>
                    <a:pt x="34" y="444"/>
                  </a:lnTo>
                  <a:lnTo>
                    <a:pt x="31" y="445"/>
                  </a:lnTo>
                  <a:lnTo>
                    <a:pt x="27" y="445"/>
                  </a:lnTo>
                  <a:lnTo>
                    <a:pt x="0" y="445"/>
                  </a:lnTo>
                  <a:lnTo>
                    <a:pt x="0" y="560"/>
                  </a:lnTo>
                  <a:lnTo>
                    <a:pt x="41" y="560"/>
                  </a:lnTo>
                  <a:lnTo>
                    <a:pt x="57" y="560"/>
                  </a:lnTo>
                  <a:lnTo>
                    <a:pt x="67" y="559"/>
                  </a:lnTo>
                  <a:lnTo>
                    <a:pt x="74" y="558"/>
                  </a:lnTo>
                  <a:lnTo>
                    <a:pt x="89" y="556"/>
                  </a:lnTo>
                  <a:lnTo>
                    <a:pt x="97" y="554"/>
                  </a:lnTo>
                  <a:lnTo>
                    <a:pt x="104" y="552"/>
                  </a:lnTo>
                  <a:lnTo>
                    <a:pt x="116" y="547"/>
                  </a:lnTo>
                  <a:lnTo>
                    <a:pt x="128" y="541"/>
                  </a:lnTo>
                  <a:lnTo>
                    <a:pt x="134" y="537"/>
                  </a:lnTo>
                  <a:lnTo>
                    <a:pt x="139" y="534"/>
                  </a:lnTo>
                  <a:lnTo>
                    <a:pt x="143" y="530"/>
                  </a:lnTo>
                  <a:lnTo>
                    <a:pt x="149" y="526"/>
                  </a:lnTo>
                  <a:lnTo>
                    <a:pt x="153" y="522"/>
                  </a:lnTo>
                  <a:lnTo>
                    <a:pt x="157" y="516"/>
                  </a:lnTo>
                  <a:lnTo>
                    <a:pt x="164" y="506"/>
                  </a:lnTo>
                  <a:lnTo>
                    <a:pt x="167" y="500"/>
                  </a:lnTo>
                  <a:lnTo>
                    <a:pt x="169" y="494"/>
                  </a:lnTo>
                  <a:lnTo>
                    <a:pt x="175" y="481"/>
                  </a:lnTo>
                  <a:lnTo>
                    <a:pt x="177" y="474"/>
                  </a:lnTo>
                  <a:lnTo>
                    <a:pt x="179" y="467"/>
                  </a:lnTo>
                  <a:lnTo>
                    <a:pt x="182" y="451"/>
                  </a:lnTo>
                  <a:lnTo>
                    <a:pt x="183" y="444"/>
                  </a:lnTo>
                  <a:lnTo>
                    <a:pt x="183" y="434"/>
                  </a:lnTo>
                  <a:lnTo>
                    <a:pt x="184" y="417"/>
                  </a:lnTo>
                  <a:lnTo>
                    <a:pt x="184" y="0"/>
                  </a:lnTo>
                  <a:close/>
                  <a:moveTo>
                    <a:pt x="2201" y="863"/>
                  </a:moveTo>
                  <a:lnTo>
                    <a:pt x="2208" y="863"/>
                  </a:lnTo>
                  <a:lnTo>
                    <a:pt x="2216" y="864"/>
                  </a:lnTo>
                  <a:lnTo>
                    <a:pt x="2222" y="865"/>
                  </a:lnTo>
                  <a:lnTo>
                    <a:pt x="2228" y="867"/>
                  </a:lnTo>
                  <a:lnTo>
                    <a:pt x="2234" y="869"/>
                  </a:lnTo>
                  <a:lnTo>
                    <a:pt x="2239" y="872"/>
                  </a:lnTo>
                  <a:lnTo>
                    <a:pt x="2245" y="876"/>
                  </a:lnTo>
                  <a:lnTo>
                    <a:pt x="2250" y="880"/>
                  </a:lnTo>
                  <a:lnTo>
                    <a:pt x="2255" y="884"/>
                  </a:lnTo>
                  <a:lnTo>
                    <a:pt x="2258" y="890"/>
                  </a:lnTo>
                  <a:lnTo>
                    <a:pt x="2262" y="895"/>
                  </a:lnTo>
                  <a:lnTo>
                    <a:pt x="2265" y="901"/>
                  </a:lnTo>
                  <a:lnTo>
                    <a:pt x="2268" y="908"/>
                  </a:lnTo>
                  <a:lnTo>
                    <a:pt x="2270" y="914"/>
                  </a:lnTo>
                  <a:lnTo>
                    <a:pt x="2271" y="922"/>
                  </a:lnTo>
                  <a:lnTo>
                    <a:pt x="2272" y="930"/>
                  </a:lnTo>
                  <a:lnTo>
                    <a:pt x="2124" y="930"/>
                  </a:lnTo>
                  <a:lnTo>
                    <a:pt x="2125" y="922"/>
                  </a:lnTo>
                  <a:lnTo>
                    <a:pt x="2127" y="913"/>
                  </a:lnTo>
                  <a:lnTo>
                    <a:pt x="2130" y="906"/>
                  </a:lnTo>
                  <a:lnTo>
                    <a:pt x="2132" y="899"/>
                  </a:lnTo>
                  <a:lnTo>
                    <a:pt x="2137" y="893"/>
                  </a:lnTo>
                  <a:lnTo>
                    <a:pt x="2140" y="887"/>
                  </a:lnTo>
                  <a:lnTo>
                    <a:pt x="2145" y="882"/>
                  </a:lnTo>
                  <a:lnTo>
                    <a:pt x="2149" y="878"/>
                  </a:lnTo>
                  <a:lnTo>
                    <a:pt x="2154" y="874"/>
                  </a:lnTo>
                  <a:lnTo>
                    <a:pt x="2160" y="871"/>
                  </a:lnTo>
                  <a:lnTo>
                    <a:pt x="2167" y="869"/>
                  </a:lnTo>
                  <a:lnTo>
                    <a:pt x="2173" y="866"/>
                  </a:lnTo>
                  <a:lnTo>
                    <a:pt x="2179" y="865"/>
                  </a:lnTo>
                  <a:lnTo>
                    <a:pt x="2186" y="863"/>
                  </a:lnTo>
                  <a:lnTo>
                    <a:pt x="2194" y="863"/>
                  </a:lnTo>
                  <a:lnTo>
                    <a:pt x="2201" y="863"/>
                  </a:lnTo>
                  <a:close/>
                  <a:moveTo>
                    <a:pt x="2205" y="777"/>
                  </a:moveTo>
                  <a:lnTo>
                    <a:pt x="2194" y="777"/>
                  </a:lnTo>
                  <a:lnTo>
                    <a:pt x="2183" y="777"/>
                  </a:lnTo>
                  <a:lnTo>
                    <a:pt x="2174" y="778"/>
                  </a:lnTo>
                  <a:lnTo>
                    <a:pt x="2169" y="779"/>
                  </a:lnTo>
                  <a:lnTo>
                    <a:pt x="2164" y="780"/>
                  </a:lnTo>
                  <a:lnTo>
                    <a:pt x="2154" y="782"/>
                  </a:lnTo>
                  <a:lnTo>
                    <a:pt x="2145" y="785"/>
                  </a:lnTo>
                  <a:lnTo>
                    <a:pt x="2136" y="787"/>
                  </a:lnTo>
                  <a:lnTo>
                    <a:pt x="2126" y="790"/>
                  </a:lnTo>
                  <a:lnTo>
                    <a:pt x="2118" y="794"/>
                  </a:lnTo>
                  <a:lnTo>
                    <a:pt x="2110" y="797"/>
                  </a:lnTo>
                  <a:lnTo>
                    <a:pt x="2101" y="801"/>
                  </a:lnTo>
                  <a:lnTo>
                    <a:pt x="2094" y="806"/>
                  </a:lnTo>
                  <a:lnTo>
                    <a:pt x="2087" y="812"/>
                  </a:lnTo>
                  <a:lnTo>
                    <a:pt x="2078" y="817"/>
                  </a:lnTo>
                  <a:lnTo>
                    <a:pt x="2072" y="822"/>
                  </a:lnTo>
                  <a:lnTo>
                    <a:pt x="2065" y="828"/>
                  </a:lnTo>
                  <a:lnTo>
                    <a:pt x="2059" y="835"/>
                  </a:lnTo>
                  <a:lnTo>
                    <a:pt x="2056" y="839"/>
                  </a:lnTo>
                  <a:lnTo>
                    <a:pt x="2052" y="842"/>
                  </a:lnTo>
                  <a:lnTo>
                    <a:pt x="2047" y="849"/>
                  </a:lnTo>
                  <a:lnTo>
                    <a:pt x="2042" y="857"/>
                  </a:lnTo>
                  <a:lnTo>
                    <a:pt x="2037" y="865"/>
                  </a:lnTo>
                  <a:lnTo>
                    <a:pt x="2033" y="873"/>
                  </a:lnTo>
                  <a:lnTo>
                    <a:pt x="2029" y="881"/>
                  </a:lnTo>
                  <a:lnTo>
                    <a:pt x="2024" y="891"/>
                  </a:lnTo>
                  <a:lnTo>
                    <a:pt x="2021" y="900"/>
                  </a:lnTo>
                  <a:lnTo>
                    <a:pt x="2019" y="909"/>
                  </a:lnTo>
                  <a:lnTo>
                    <a:pt x="2016" y="920"/>
                  </a:lnTo>
                  <a:lnTo>
                    <a:pt x="2014" y="930"/>
                  </a:lnTo>
                  <a:lnTo>
                    <a:pt x="2013" y="940"/>
                  </a:lnTo>
                  <a:lnTo>
                    <a:pt x="2012" y="951"/>
                  </a:lnTo>
                  <a:lnTo>
                    <a:pt x="2011" y="962"/>
                  </a:lnTo>
                  <a:lnTo>
                    <a:pt x="2010" y="974"/>
                  </a:lnTo>
                  <a:lnTo>
                    <a:pt x="2011" y="985"/>
                  </a:lnTo>
                  <a:lnTo>
                    <a:pt x="2012" y="996"/>
                  </a:lnTo>
                  <a:lnTo>
                    <a:pt x="2013" y="1006"/>
                  </a:lnTo>
                  <a:lnTo>
                    <a:pt x="2014" y="1016"/>
                  </a:lnTo>
                  <a:lnTo>
                    <a:pt x="2019" y="1036"/>
                  </a:lnTo>
                  <a:lnTo>
                    <a:pt x="2021" y="1044"/>
                  </a:lnTo>
                  <a:lnTo>
                    <a:pt x="2025" y="1054"/>
                  </a:lnTo>
                  <a:lnTo>
                    <a:pt x="2029" y="1062"/>
                  </a:lnTo>
                  <a:lnTo>
                    <a:pt x="2033" y="1071"/>
                  </a:lnTo>
                  <a:lnTo>
                    <a:pt x="2038" y="1079"/>
                  </a:lnTo>
                  <a:lnTo>
                    <a:pt x="2042" y="1087"/>
                  </a:lnTo>
                  <a:lnTo>
                    <a:pt x="2048" y="1094"/>
                  </a:lnTo>
                  <a:lnTo>
                    <a:pt x="2053" y="1101"/>
                  </a:lnTo>
                  <a:lnTo>
                    <a:pt x="2060" y="1109"/>
                  </a:lnTo>
                  <a:lnTo>
                    <a:pt x="2067" y="1115"/>
                  </a:lnTo>
                  <a:lnTo>
                    <a:pt x="2074" y="1121"/>
                  </a:lnTo>
                  <a:lnTo>
                    <a:pt x="2082" y="1127"/>
                  </a:lnTo>
                  <a:lnTo>
                    <a:pt x="2089" y="1133"/>
                  </a:lnTo>
                  <a:lnTo>
                    <a:pt x="2097" y="1138"/>
                  </a:lnTo>
                  <a:lnTo>
                    <a:pt x="2105" y="1143"/>
                  </a:lnTo>
                  <a:lnTo>
                    <a:pt x="2114" y="1147"/>
                  </a:lnTo>
                  <a:lnTo>
                    <a:pt x="2122" y="1151"/>
                  </a:lnTo>
                  <a:lnTo>
                    <a:pt x="2131" y="1154"/>
                  </a:lnTo>
                  <a:lnTo>
                    <a:pt x="2141" y="1158"/>
                  </a:lnTo>
                  <a:lnTo>
                    <a:pt x="2151" y="1161"/>
                  </a:lnTo>
                  <a:lnTo>
                    <a:pt x="2162" y="1163"/>
                  </a:lnTo>
                  <a:lnTo>
                    <a:pt x="2172" y="1165"/>
                  </a:lnTo>
                  <a:lnTo>
                    <a:pt x="2182" y="1166"/>
                  </a:lnTo>
                  <a:lnTo>
                    <a:pt x="2193" y="1167"/>
                  </a:lnTo>
                  <a:lnTo>
                    <a:pt x="2204" y="1168"/>
                  </a:lnTo>
                  <a:lnTo>
                    <a:pt x="2217" y="1169"/>
                  </a:lnTo>
                  <a:lnTo>
                    <a:pt x="2228" y="1168"/>
                  </a:lnTo>
                  <a:lnTo>
                    <a:pt x="2239" y="1168"/>
                  </a:lnTo>
                  <a:lnTo>
                    <a:pt x="2250" y="1167"/>
                  </a:lnTo>
                  <a:lnTo>
                    <a:pt x="2261" y="1165"/>
                  </a:lnTo>
                  <a:lnTo>
                    <a:pt x="2272" y="1164"/>
                  </a:lnTo>
                  <a:lnTo>
                    <a:pt x="2281" y="1162"/>
                  </a:lnTo>
                  <a:lnTo>
                    <a:pt x="2301" y="1156"/>
                  </a:lnTo>
                  <a:lnTo>
                    <a:pt x="2319" y="1149"/>
                  </a:lnTo>
                  <a:lnTo>
                    <a:pt x="2337" y="1142"/>
                  </a:lnTo>
                  <a:lnTo>
                    <a:pt x="2353" y="1135"/>
                  </a:lnTo>
                  <a:lnTo>
                    <a:pt x="2368" y="1125"/>
                  </a:lnTo>
                  <a:lnTo>
                    <a:pt x="2325" y="1035"/>
                  </a:lnTo>
                  <a:lnTo>
                    <a:pt x="2315" y="1040"/>
                  </a:lnTo>
                  <a:lnTo>
                    <a:pt x="2305" y="1046"/>
                  </a:lnTo>
                  <a:lnTo>
                    <a:pt x="2292" y="1052"/>
                  </a:lnTo>
                  <a:lnTo>
                    <a:pt x="2279" y="1057"/>
                  </a:lnTo>
                  <a:lnTo>
                    <a:pt x="2273" y="1060"/>
                  </a:lnTo>
                  <a:lnTo>
                    <a:pt x="2265" y="1062"/>
                  </a:lnTo>
                  <a:lnTo>
                    <a:pt x="2250" y="1065"/>
                  </a:lnTo>
                  <a:lnTo>
                    <a:pt x="2243" y="1066"/>
                  </a:lnTo>
                  <a:lnTo>
                    <a:pt x="2234" y="1067"/>
                  </a:lnTo>
                  <a:lnTo>
                    <a:pt x="2218" y="1068"/>
                  </a:lnTo>
                  <a:lnTo>
                    <a:pt x="2208" y="1068"/>
                  </a:lnTo>
                  <a:lnTo>
                    <a:pt x="2200" y="1067"/>
                  </a:lnTo>
                  <a:lnTo>
                    <a:pt x="2192" y="1066"/>
                  </a:lnTo>
                  <a:lnTo>
                    <a:pt x="2183" y="1064"/>
                  </a:lnTo>
                  <a:lnTo>
                    <a:pt x="2176" y="1062"/>
                  </a:lnTo>
                  <a:lnTo>
                    <a:pt x="2169" y="1059"/>
                  </a:lnTo>
                  <a:lnTo>
                    <a:pt x="2162" y="1056"/>
                  </a:lnTo>
                  <a:lnTo>
                    <a:pt x="2155" y="1052"/>
                  </a:lnTo>
                  <a:lnTo>
                    <a:pt x="2149" y="1047"/>
                  </a:lnTo>
                  <a:lnTo>
                    <a:pt x="2144" y="1042"/>
                  </a:lnTo>
                  <a:lnTo>
                    <a:pt x="2139" y="1037"/>
                  </a:lnTo>
                  <a:lnTo>
                    <a:pt x="2135" y="1031"/>
                  </a:lnTo>
                  <a:lnTo>
                    <a:pt x="2131" y="1025"/>
                  </a:lnTo>
                  <a:lnTo>
                    <a:pt x="2128" y="1017"/>
                  </a:lnTo>
                  <a:lnTo>
                    <a:pt x="2125" y="1009"/>
                  </a:lnTo>
                  <a:lnTo>
                    <a:pt x="2123" y="1001"/>
                  </a:lnTo>
                  <a:lnTo>
                    <a:pt x="2388" y="1001"/>
                  </a:lnTo>
                  <a:lnTo>
                    <a:pt x="2388" y="974"/>
                  </a:lnTo>
                  <a:lnTo>
                    <a:pt x="2387" y="961"/>
                  </a:lnTo>
                  <a:lnTo>
                    <a:pt x="2387" y="950"/>
                  </a:lnTo>
                  <a:lnTo>
                    <a:pt x="2386" y="938"/>
                  </a:lnTo>
                  <a:lnTo>
                    <a:pt x="2384" y="927"/>
                  </a:lnTo>
                  <a:lnTo>
                    <a:pt x="2382" y="917"/>
                  </a:lnTo>
                  <a:lnTo>
                    <a:pt x="2380" y="906"/>
                  </a:lnTo>
                  <a:lnTo>
                    <a:pt x="2378" y="897"/>
                  </a:lnTo>
                  <a:lnTo>
                    <a:pt x="2375" y="886"/>
                  </a:lnTo>
                  <a:lnTo>
                    <a:pt x="2371" y="878"/>
                  </a:lnTo>
                  <a:lnTo>
                    <a:pt x="2367" y="869"/>
                  </a:lnTo>
                  <a:lnTo>
                    <a:pt x="2364" y="860"/>
                  </a:lnTo>
                  <a:lnTo>
                    <a:pt x="2359" y="853"/>
                  </a:lnTo>
                  <a:lnTo>
                    <a:pt x="2355" y="846"/>
                  </a:lnTo>
                  <a:lnTo>
                    <a:pt x="2350" y="839"/>
                  </a:lnTo>
                  <a:lnTo>
                    <a:pt x="2343" y="831"/>
                  </a:lnTo>
                  <a:lnTo>
                    <a:pt x="2338" y="825"/>
                  </a:lnTo>
                  <a:lnTo>
                    <a:pt x="2332" y="820"/>
                  </a:lnTo>
                  <a:lnTo>
                    <a:pt x="2325" y="814"/>
                  </a:lnTo>
                  <a:lnTo>
                    <a:pt x="2318" y="808"/>
                  </a:lnTo>
                  <a:lnTo>
                    <a:pt x="2311" y="804"/>
                  </a:lnTo>
                  <a:lnTo>
                    <a:pt x="2304" y="800"/>
                  </a:lnTo>
                  <a:lnTo>
                    <a:pt x="2297" y="796"/>
                  </a:lnTo>
                  <a:lnTo>
                    <a:pt x="2288" y="792"/>
                  </a:lnTo>
                  <a:lnTo>
                    <a:pt x="2280" y="789"/>
                  </a:lnTo>
                  <a:lnTo>
                    <a:pt x="2272" y="786"/>
                  </a:lnTo>
                  <a:lnTo>
                    <a:pt x="2268" y="785"/>
                  </a:lnTo>
                  <a:lnTo>
                    <a:pt x="2263" y="784"/>
                  </a:lnTo>
                  <a:lnTo>
                    <a:pt x="2254" y="781"/>
                  </a:lnTo>
                  <a:lnTo>
                    <a:pt x="2245" y="779"/>
                  </a:lnTo>
                  <a:lnTo>
                    <a:pt x="2235" y="778"/>
                  </a:lnTo>
                  <a:lnTo>
                    <a:pt x="2225" y="777"/>
                  </a:lnTo>
                  <a:lnTo>
                    <a:pt x="2205" y="777"/>
                  </a:lnTo>
                  <a:close/>
                  <a:moveTo>
                    <a:pt x="1790" y="1059"/>
                  </a:moveTo>
                  <a:lnTo>
                    <a:pt x="1780" y="1058"/>
                  </a:lnTo>
                  <a:lnTo>
                    <a:pt x="1772" y="1057"/>
                  </a:lnTo>
                  <a:lnTo>
                    <a:pt x="1764" y="1055"/>
                  </a:lnTo>
                  <a:lnTo>
                    <a:pt x="1756" y="1053"/>
                  </a:lnTo>
                  <a:lnTo>
                    <a:pt x="1749" y="1050"/>
                  </a:lnTo>
                  <a:lnTo>
                    <a:pt x="1742" y="1045"/>
                  </a:lnTo>
                  <a:lnTo>
                    <a:pt x="1735" y="1040"/>
                  </a:lnTo>
                  <a:lnTo>
                    <a:pt x="1732" y="1038"/>
                  </a:lnTo>
                  <a:lnTo>
                    <a:pt x="1729" y="1035"/>
                  </a:lnTo>
                  <a:lnTo>
                    <a:pt x="1726" y="1032"/>
                  </a:lnTo>
                  <a:lnTo>
                    <a:pt x="1724" y="1029"/>
                  </a:lnTo>
                  <a:lnTo>
                    <a:pt x="1719" y="1023"/>
                  </a:lnTo>
                  <a:lnTo>
                    <a:pt x="1715" y="1015"/>
                  </a:lnTo>
                  <a:lnTo>
                    <a:pt x="1712" y="1008"/>
                  </a:lnTo>
                  <a:lnTo>
                    <a:pt x="1708" y="1000"/>
                  </a:lnTo>
                  <a:lnTo>
                    <a:pt x="1706" y="991"/>
                  </a:lnTo>
                  <a:lnTo>
                    <a:pt x="1705" y="982"/>
                  </a:lnTo>
                  <a:lnTo>
                    <a:pt x="1705" y="973"/>
                  </a:lnTo>
                  <a:lnTo>
                    <a:pt x="1705" y="962"/>
                  </a:lnTo>
                  <a:lnTo>
                    <a:pt x="1706" y="953"/>
                  </a:lnTo>
                  <a:lnTo>
                    <a:pt x="1708" y="945"/>
                  </a:lnTo>
                  <a:lnTo>
                    <a:pt x="1712" y="936"/>
                  </a:lnTo>
                  <a:lnTo>
                    <a:pt x="1715" y="929"/>
                  </a:lnTo>
                  <a:lnTo>
                    <a:pt x="1719" y="922"/>
                  </a:lnTo>
                  <a:lnTo>
                    <a:pt x="1724" y="915"/>
                  </a:lnTo>
                  <a:lnTo>
                    <a:pt x="1729" y="909"/>
                  </a:lnTo>
                  <a:lnTo>
                    <a:pt x="1735" y="904"/>
                  </a:lnTo>
                  <a:lnTo>
                    <a:pt x="1742" y="899"/>
                  </a:lnTo>
                  <a:lnTo>
                    <a:pt x="1746" y="897"/>
                  </a:lnTo>
                  <a:lnTo>
                    <a:pt x="1749" y="896"/>
                  </a:lnTo>
                  <a:lnTo>
                    <a:pt x="1756" y="892"/>
                  </a:lnTo>
                  <a:lnTo>
                    <a:pt x="1764" y="890"/>
                  </a:lnTo>
                  <a:lnTo>
                    <a:pt x="1772" y="887"/>
                  </a:lnTo>
                  <a:lnTo>
                    <a:pt x="1780" y="886"/>
                  </a:lnTo>
                  <a:lnTo>
                    <a:pt x="1790" y="886"/>
                  </a:lnTo>
                  <a:lnTo>
                    <a:pt x="1799" y="886"/>
                  </a:lnTo>
                  <a:lnTo>
                    <a:pt x="1807" y="887"/>
                  </a:lnTo>
                  <a:lnTo>
                    <a:pt x="1815" y="890"/>
                  </a:lnTo>
                  <a:lnTo>
                    <a:pt x="1824" y="892"/>
                  </a:lnTo>
                  <a:lnTo>
                    <a:pt x="1831" y="896"/>
                  </a:lnTo>
                  <a:lnTo>
                    <a:pt x="1838" y="899"/>
                  </a:lnTo>
                  <a:lnTo>
                    <a:pt x="1845" y="904"/>
                  </a:lnTo>
                  <a:lnTo>
                    <a:pt x="1851" y="909"/>
                  </a:lnTo>
                  <a:lnTo>
                    <a:pt x="1854" y="912"/>
                  </a:lnTo>
                  <a:lnTo>
                    <a:pt x="1856" y="915"/>
                  </a:lnTo>
                  <a:lnTo>
                    <a:pt x="1861" y="922"/>
                  </a:lnTo>
                  <a:lnTo>
                    <a:pt x="1865" y="929"/>
                  </a:lnTo>
                  <a:lnTo>
                    <a:pt x="1868" y="936"/>
                  </a:lnTo>
                  <a:lnTo>
                    <a:pt x="1872" y="945"/>
                  </a:lnTo>
                  <a:lnTo>
                    <a:pt x="1874" y="953"/>
                  </a:lnTo>
                  <a:lnTo>
                    <a:pt x="1875" y="962"/>
                  </a:lnTo>
                  <a:lnTo>
                    <a:pt x="1875" y="973"/>
                  </a:lnTo>
                  <a:lnTo>
                    <a:pt x="1875" y="982"/>
                  </a:lnTo>
                  <a:lnTo>
                    <a:pt x="1874" y="991"/>
                  </a:lnTo>
                  <a:lnTo>
                    <a:pt x="1872" y="1000"/>
                  </a:lnTo>
                  <a:lnTo>
                    <a:pt x="1868" y="1008"/>
                  </a:lnTo>
                  <a:lnTo>
                    <a:pt x="1865" y="1015"/>
                  </a:lnTo>
                  <a:lnTo>
                    <a:pt x="1861" y="1023"/>
                  </a:lnTo>
                  <a:lnTo>
                    <a:pt x="1856" y="1029"/>
                  </a:lnTo>
                  <a:lnTo>
                    <a:pt x="1851" y="1035"/>
                  </a:lnTo>
                  <a:lnTo>
                    <a:pt x="1845" y="1040"/>
                  </a:lnTo>
                  <a:lnTo>
                    <a:pt x="1838" y="1045"/>
                  </a:lnTo>
                  <a:lnTo>
                    <a:pt x="1831" y="1050"/>
                  </a:lnTo>
                  <a:lnTo>
                    <a:pt x="1824" y="1053"/>
                  </a:lnTo>
                  <a:lnTo>
                    <a:pt x="1815" y="1055"/>
                  </a:lnTo>
                  <a:lnTo>
                    <a:pt x="1807" y="1057"/>
                  </a:lnTo>
                  <a:lnTo>
                    <a:pt x="1799" y="1058"/>
                  </a:lnTo>
                  <a:lnTo>
                    <a:pt x="1790" y="1059"/>
                  </a:lnTo>
                  <a:close/>
                  <a:moveTo>
                    <a:pt x="1800" y="1328"/>
                  </a:moveTo>
                  <a:lnTo>
                    <a:pt x="1824" y="1328"/>
                  </a:lnTo>
                  <a:lnTo>
                    <a:pt x="1834" y="1327"/>
                  </a:lnTo>
                  <a:lnTo>
                    <a:pt x="1846" y="1326"/>
                  </a:lnTo>
                  <a:lnTo>
                    <a:pt x="1856" y="1324"/>
                  </a:lnTo>
                  <a:lnTo>
                    <a:pt x="1865" y="1322"/>
                  </a:lnTo>
                  <a:lnTo>
                    <a:pt x="1876" y="1320"/>
                  </a:lnTo>
                  <a:lnTo>
                    <a:pt x="1885" y="1318"/>
                  </a:lnTo>
                  <a:lnTo>
                    <a:pt x="1893" y="1314"/>
                  </a:lnTo>
                  <a:lnTo>
                    <a:pt x="1903" y="1311"/>
                  </a:lnTo>
                  <a:lnTo>
                    <a:pt x="1918" y="1304"/>
                  </a:lnTo>
                  <a:lnTo>
                    <a:pt x="1927" y="1300"/>
                  </a:lnTo>
                  <a:lnTo>
                    <a:pt x="1934" y="1296"/>
                  </a:lnTo>
                  <a:lnTo>
                    <a:pt x="1946" y="1285"/>
                  </a:lnTo>
                  <a:lnTo>
                    <a:pt x="1953" y="1280"/>
                  </a:lnTo>
                  <a:lnTo>
                    <a:pt x="1959" y="1274"/>
                  </a:lnTo>
                  <a:lnTo>
                    <a:pt x="1964" y="1269"/>
                  </a:lnTo>
                  <a:lnTo>
                    <a:pt x="1969" y="1262"/>
                  </a:lnTo>
                  <a:lnTo>
                    <a:pt x="1973" y="1255"/>
                  </a:lnTo>
                  <a:lnTo>
                    <a:pt x="1978" y="1248"/>
                  </a:lnTo>
                  <a:lnTo>
                    <a:pt x="1982" y="1240"/>
                  </a:lnTo>
                  <a:lnTo>
                    <a:pt x="1985" y="1232"/>
                  </a:lnTo>
                  <a:lnTo>
                    <a:pt x="1988" y="1224"/>
                  </a:lnTo>
                  <a:lnTo>
                    <a:pt x="1991" y="1216"/>
                  </a:lnTo>
                  <a:lnTo>
                    <a:pt x="1993" y="1206"/>
                  </a:lnTo>
                  <a:lnTo>
                    <a:pt x="1995" y="1197"/>
                  </a:lnTo>
                  <a:lnTo>
                    <a:pt x="1996" y="1188"/>
                  </a:lnTo>
                  <a:lnTo>
                    <a:pt x="1997" y="1177"/>
                  </a:lnTo>
                  <a:lnTo>
                    <a:pt x="1998" y="1167"/>
                  </a:lnTo>
                  <a:lnTo>
                    <a:pt x="1998" y="1157"/>
                  </a:lnTo>
                  <a:lnTo>
                    <a:pt x="1998" y="788"/>
                  </a:lnTo>
                  <a:lnTo>
                    <a:pt x="1878" y="788"/>
                  </a:lnTo>
                  <a:lnTo>
                    <a:pt x="1878" y="839"/>
                  </a:lnTo>
                  <a:lnTo>
                    <a:pt x="1877" y="839"/>
                  </a:lnTo>
                  <a:lnTo>
                    <a:pt x="1873" y="831"/>
                  </a:lnTo>
                  <a:lnTo>
                    <a:pt x="1867" y="825"/>
                  </a:lnTo>
                  <a:lnTo>
                    <a:pt x="1862" y="819"/>
                  </a:lnTo>
                  <a:lnTo>
                    <a:pt x="1856" y="813"/>
                  </a:lnTo>
                  <a:lnTo>
                    <a:pt x="1851" y="807"/>
                  </a:lnTo>
                  <a:lnTo>
                    <a:pt x="1845" y="802"/>
                  </a:lnTo>
                  <a:lnTo>
                    <a:pt x="1837" y="797"/>
                  </a:lnTo>
                  <a:lnTo>
                    <a:pt x="1830" y="793"/>
                  </a:lnTo>
                  <a:lnTo>
                    <a:pt x="1823" y="789"/>
                  </a:lnTo>
                  <a:lnTo>
                    <a:pt x="1814" y="786"/>
                  </a:lnTo>
                  <a:lnTo>
                    <a:pt x="1806" y="782"/>
                  </a:lnTo>
                  <a:lnTo>
                    <a:pt x="1797" y="780"/>
                  </a:lnTo>
                  <a:lnTo>
                    <a:pt x="1787" y="778"/>
                  </a:lnTo>
                  <a:lnTo>
                    <a:pt x="1777" y="777"/>
                  </a:lnTo>
                  <a:lnTo>
                    <a:pt x="1767" y="776"/>
                  </a:lnTo>
                  <a:lnTo>
                    <a:pt x="1756" y="776"/>
                  </a:lnTo>
                  <a:lnTo>
                    <a:pt x="1738" y="777"/>
                  </a:lnTo>
                  <a:lnTo>
                    <a:pt x="1729" y="777"/>
                  </a:lnTo>
                  <a:lnTo>
                    <a:pt x="1721" y="779"/>
                  </a:lnTo>
                  <a:lnTo>
                    <a:pt x="1713" y="780"/>
                  </a:lnTo>
                  <a:lnTo>
                    <a:pt x="1704" y="784"/>
                  </a:lnTo>
                  <a:lnTo>
                    <a:pt x="1696" y="786"/>
                  </a:lnTo>
                  <a:lnTo>
                    <a:pt x="1689" y="789"/>
                  </a:lnTo>
                  <a:lnTo>
                    <a:pt x="1680" y="792"/>
                  </a:lnTo>
                  <a:lnTo>
                    <a:pt x="1673" y="795"/>
                  </a:lnTo>
                  <a:lnTo>
                    <a:pt x="1666" y="799"/>
                  </a:lnTo>
                  <a:lnTo>
                    <a:pt x="1660" y="804"/>
                  </a:lnTo>
                  <a:lnTo>
                    <a:pt x="1652" y="808"/>
                  </a:lnTo>
                  <a:lnTo>
                    <a:pt x="1645" y="814"/>
                  </a:lnTo>
                  <a:lnTo>
                    <a:pt x="1639" y="820"/>
                  </a:lnTo>
                  <a:lnTo>
                    <a:pt x="1633" y="825"/>
                  </a:lnTo>
                  <a:lnTo>
                    <a:pt x="1626" y="832"/>
                  </a:lnTo>
                  <a:lnTo>
                    <a:pt x="1621" y="839"/>
                  </a:lnTo>
                  <a:lnTo>
                    <a:pt x="1616" y="846"/>
                  </a:lnTo>
                  <a:lnTo>
                    <a:pt x="1611" y="853"/>
                  </a:lnTo>
                  <a:lnTo>
                    <a:pt x="1607" y="861"/>
                  </a:lnTo>
                  <a:lnTo>
                    <a:pt x="1602" y="869"/>
                  </a:lnTo>
                  <a:lnTo>
                    <a:pt x="1595" y="886"/>
                  </a:lnTo>
                  <a:lnTo>
                    <a:pt x="1592" y="896"/>
                  </a:lnTo>
                  <a:lnTo>
                    <a:pt x="1590" y="906"/>
                  </a:lnTo>
                  <a:lnTo>
                    <a:pt x="1587" y="915"/>
                  </a:lnTo>
                  <a:lnTo>
                    <a:pt x="1586" y="926"/>
                  </a:lnTo>
                  <a:lnTo>
                    <a:pt x="1584" y="937"/>
                  </a:lnTo>
                  <a:lnTo>
                    <a:pt x="1583" y="948"/>
                  </a:lnTo>
                  <a:lnTo>
                    <a:pt x="1582" y="959"/>
                  </a:lnTo>
                  <a:lnTo>
                    <a:pt x="1582" y="972"/>
                  </a:lnTo>
                  <a:lnTo>
                    <a:pt x="1582" y="983"/>
                  </a:lnTo>
                  <a:lnTo>
                    <a:pt x="1583" y="994"/>
                  </a:lnTo>
                  <a:lnTo>
                    <a:pt x="1584" y="1006"/>
                  </a:lnTo>
                  <a:lnTo>
                    <a:pt x="1585" y="1016"/>
                  </a:lnTo>
                  <a:lnTo>
                    <a:pt x="1587" y="1027"/>
                  </a:lnTo>
                  <a:lnTo>
                    <a:pt x="1589" y="1037"/>
                  </a:lnTo>
                  <a:lnTo>
                    <a:pt x="1592" y="1046"/>
                  </a:lnTo>
                  <a:lnTo>
                    <a:pt x="1595" y="1056"/>
                  </a:lnTo>
                  <a:lnTo>
                    <a:pt x="1598" y="1064"/>
                  </a:lnTo>
                  <a:lnTo>
                    <a:pt x="1602" y="1072"/>
                  </a:lnTo>
                  <a:lnTo>
                    <a:pt x="1607" y="1081"/>
                  </a:lnTo>
                  <a:lnTo>
                    <a:pt x="1611" y="1088"/>
                  </a:lnTo>
                  <a:lnTo>
                    <a:pt x="1615" y="1095"/>
                  </a:lnTo>
                  <a:lnTo>
                    <a:pt x="1620" y="1103"/>
                  </a:lnTo>
                  <a:lnTo>
                    <a:pt x="1626" y="1109"/>
                  </a:lnTo>
                  <a:lnTo>
                    <a:pt x="1633" y="1115"/>
                  </a:lnTo>
                  <a:lnTo>
                    <a:pt x="1639" y="1121"/>
                  </a:lnTo>
                  <a:lnTo>
                    <a:pt x="1645" y="1126"/>
                  </a:lnTo>
                  <a:lnTo>
                    <a:pt x="1651" y="1132"/>
                  </a:lnTo>
                  <a:lnTo>
                    <a:pt x="1659" y="1136"/>
                  </a:lnTo>
                  <a:lnTo>
                    <a:pt x="1665" y="1140"/>
                  </a:lnTo>
                  <a:lnTo>
                    <a:pt x="1672" y="1144"/>
                  </a:lnTo>
                  <a:lnTo>
                    <a:pt x="1679" y="1148"/>
                  </a:lnTo>
                  <a:lnTo>
                    <a:pt x="1688" y="1151"/>
                  </a:lnTo>
                  <a:lnTo>
                    <a:pt x="1695" y="1153"/>
                  </a:lnTo>
                  <a:lnTo>
                    <a:pt x="1703" y="1157"/>
                  </a:lnTo>
                  <a:lnTo>
                    <a:pt x="1712" y="1159"/>
                  </a:lnTo>
                  <a:lnTo>
                    <a:pt x="1720" y="1160"/>
                  </a:lnTo>
                  <a:lnTo>
                    <a:pt x="1728" y="1162"/>
                  </a:lnTo>
                  <a:lnTo>
                    <a:pt x="1738" y="1162"/>
                  </a:lnTo>
                  <a:lnTo>
                    <a:pt x="1755" y="1163"/>
                  </a:lnTo>
                  <a:lnTo>
                    <a:pt x="1767" y="1163"/>
                  </a:lnTo>
                  <a:lnTo>
                    <a:pt x="1777" y="1162"/>
                  </a:lnTo>
                  <a:lnTo>
                    <a:pt x="1787" y="1160"/>
                  </a:lnTo>
                  <a:lnTo>
                    <a:pt x="1798" y="1159"/>
                  </a:lnTo>
                  <a:lnTo>
                    <a:pt x="1807" y="1156"/>
                  </a:lnTo>
                  <a:lnTo>
                    <a:pt x="1815" y="1153"/>
                  </a:lnTo>
                  <a:lnTo>
                    <a:pt x="1824" y="1149"/>
                  </a:lnTo>
                  <a:lnTo>
                    <a:pt x="1831" y="1146"/>
                  </a:lnTo>
                  <a:lnTo>
                    <a:pt x="1838" y="1142"/>
                  </a:lnTo>
                  <a:lnTo>
                    <a:pt x="1846" y="1137"/>
                  </a:lnTo>
                  <a:lnTo>
                    <a:pt x="1852" y="1133"/>
                  </a:lnTo>
                  <a:lnTo>
                    <a:pt x="1857" y="1127"/>
                  </a:lnTo>
                  <a:lnTo>
                    <a:pt x="1863" y="1123"/>
                  </a:lnTo>
                  <a:lnTo>
                    <a:pt x="1867" y="1118"/>
                  </a:lnTo>
                  <a:lnTo>
                    <a:pt x="1873" y="1113"/>
                  </a:lnTo>
                  <a:lnTo>
                    <a:pt x="1877" y="1107"/>
                  </a:lnTo>
                  <a:lnTo>
                    <a:pt x="1878" y="1107"/>
                  </a:lnTo>
                  <a:lnTo>
                    <a:pt x="1878" y="1131"/>
                  </a:lnTo>
                  <a:lnTo>
                    <a:pt x="1878" y="1143"/>
                  </a:lnTo>
                  <a:lnTo>
                    <a:pt x="1877" y="1153"/>
                  </a:lnTo>
                  <a:lnTo>
                    <a:pt x="1876" y="1163"/>
                  </a:lnTo>
                  <a:lnTo>
                    <a:pt x="1875" y="1167"/>
                  </a:lnTo>
                  <a:lnTo>
                    <a:pt x="1874" y="1171"/>
                  </a:lnTo>
                  <a:lnTo>
                    <a:pt x="1871" y="1179"/>
                  </a:lnTo>
                  <a:lnTo>
                    <a:pt x="1866" y="1187"/>
                  </a:lnTo>
                  <a:lnTo>
                    <a:pt x="1862" y="1193"/>
                  </a:lnTo>
                  <a:lnTo>
                    <a:pt x="1857" y="1198"/>
                  </a:lnTo>
                  <a:lnTo>
                    <a:pt x="1852" y="1202"/>
                  </a:lnTo>
                  <a:lnTo>
                    <a:pt x="1846" y="1205"/>
                  </a:lnTo>
                  <a:lnTo>
                    <a:pt x="1842" y="1207"/>
                  </a:lnTo>
                  <a:lnTo>
                    <a:pt x="1838" y="1209"/>
                  </a:lnTo>
                  <a:lnTo>
                    <a:pt x="1830" y="1212"/>
                  </a:lnTo>
                  <a:lnTo>
                    <a:pt x="1822" y="1214"/>
                  </a:lnTo>
                  <a:lnTo>
                    <a:pt x="1812" y="1215"/>
                  </a:lnTo>
                  <a:lnTo>
                    <a:pt x="1802" y="1216"/>
                  </a:lnTo>
                  <a:lnTo>
                    <a:pt x="1792" y="1216"/>
                  </a:lnTo>
                  <a:lnTo>
                    <a:pt x="1768" y="1215"/>
                  </a:lnTo>
                  <a:lnTo>
                    <a:pt x="1754" y="1214"/>
                  </a:lnTo>
                  <a:lnTo>
                    <a:pt x="1739" y="1212"/>
                  </a:lnTo>
                  <a:lnTo>
                    <a:pt x="1722" y="1210"/>
                  </a:lnTo>
                  <a:lnTo>
                    <a:pt x="1703" y="1206"/>
                  </a:lnTo>
                  <a:lnTo>
                    <a:pt x="1684" y="1202"/>
                  </a:lnTo>
                  <a:lnTo>
                    <a:pt x="1662" y="1197"/>
                  </a:lnTo>
                  <a:lnTo>
                    <a:pt x="1642" y="1309"/>
                  </a:lnTo>
                  <a:lnTo>
                    <a:pt x="1665" y="1314"/>
                  </a:lnTo>
                  <a:lnTo>
                    <a:pt x="1688" y="1318"/>
                  </a:lnTo>
                  <a:lnTo>
                    <a:pt x="1709" y="1321"/>
                  </a:lnTo>
                  <a:lnTo>
                    <a:pt x="1730" y="1324"/>
                  </a:lnTo>
                  <a:lnTo>
                    <a:pt x="1750" y="1326"/>
                  </a:lnTo>
                  <a:lnTo>
                    <a:pt x="1768" y="1327"/>
                  </a:lnTo>
                  <a:lnTo>
                    <a:pt x="1784" y="1328"/>
                  </a:lnTo>
                  <a:lnTo>
                    <a:pt x="1800" y="1328"/>
                  </a:lnTo>
                  <a:close/>
                  <a:moveTo>
                    <a:pt x="1431" y="776"/>
                  </a:moveTo>
                  <a:lnTo>
                    <a:pt x="1421" y="776"/>
                  </a:lnTo>
                  <a:lnTo>
                    <a:pt x="1411" y="777"/>
                  </a:lnTo>
                  <a:lnTo>
                    <a:pt x="1403" y="778"/>
                  </a:lnTo>
                  <a:lnTo>
                    <a:pt x="1394" y="780"/>
                  </a:lnTo>
                  <a:lnTo>
                    <a:pt x="1385" y="784"/>
                  </a:lnTo>
                  <a:lnTo>
                    <a:pt x="1381" y="785"/>
                  </a:lnTo>
                  <a:lnTo>
                    <a:pt x="1377" y="786"/>
                  </a:lnTo>
                  <a:lnTo>
                    <a:pt x="1369" y="790"/>
                  </a:lnTo>
                  <a:lnTo>
                    <a:pt x="1360" y="794"/>
                  </a:lnTo>
                  <a:lnTo>
                    <a:pt x="1353" y="798"/>
                  </a:lnTo>
                  <a:lnTo>
                    <a:pt x="1346" y="803"/>
                  </a:lnTo>
                  <a:lnTo>
                    <a:pt x="1338" y="810"/>
                  </a:lnTo>
                  <a:lnTo>
                    <a:pt x="1332" y="815"/>
                  </a:lnTo>
                  <a:lnTo>
                    <a:pt x="1326" y="822"/>
                  </a:lnTo>
                  <a:lnTo>
                    <a:pt x="1321" y="828"/>
                  </a:lnTo>
                  <a:lnTo>
                    <a:pt x="1316" y="835"/>
                  </a:lnTo>
                  <a:lnTo>
                    <a:pt x="1310" y="844"/>
                  </a:lnTo>
                  <a:lnTo>
                    <a:pt x="1308" y="844"/>
                  </a:lnTo>
                  <a:lnTo>
                    <a:pt x="1308" y="788"/>
                  </a:lnTo>
                  <a:lnTo>
                    <a:pt x="1191" y="788"/>
                  </a:lnTo>
                  <a:lnTo>
                    <a:pt x="1191" y="1157"/>
                  </a:lnTo>
                  <a:lnTo>
                    <a:pt x="1311" y="1157"/>
                  </a:lnTo>
                  <a:lnTo>
                    <a:pt x="1311" y="972"/>
                  </a:lnTo>
                  <a:lnTo>
                    <a:pt x="1311" y="960"/>
                  </a:lnTo>
                  <a:lnTo>
                    <a:pt x="1313" y="949"/>
                  </a:lnTo>
                  <a:lnTo>
                    <a:pt x="1315" y="939"/>
                  </a:lnTo>
                  <a:lnTo>
                    <a:pt x="1316" y="934"/>
                  </a:lnTo>
                  <a:lnTo>
                    <a:pt x="1317" y="930"/>
                  </a:lnTo>
                  <a:lnTo>
                    <a:pt x="1319" y="922"/>
                  </a:lnTo>
                  <a:lnTo>
                    <a:pt x="1323" y="914"/>
                  </a:lnTo>
                  <a:lnTo>
                    <a:pt x="1327" y="908"/>
                  </a:lnTo>
                  <a:lnTo>
                    <a:pt x="1331" y="902"/>
                  </a:lnTo>
                  <a:lnTo>
                    <a:pt x="1336" y="898"/>
                  </a:lnTo>
                  <a:lnTo>
                    <a:pt x="1342" y="894"/>
                  </a:lnTo>
                  <a:lnTo>
                    <a:pt x="1348" y="890"/>
                  </a:lnTo>
                  <a:lnTo>
                    <a:pt x="1354" y="886"/>
                  </a:lnTo>
                  <a:lnTo>
                    <a:pt x="1360" y="884"/>
                  </a:lnTo>
                  <a:lnTo>
                    <a:pt x="1368" y="883"/>
                  </a:lnTo>
                  <a:lnTo>
                    <a:pt x="1375" y="882"/>
                  </a:lnTo>
                  <a:lnTo>
                    <a:pt x="1382" y="882"/>
                  </a:lnTo>
                  <a:lnTo>
                    <a:pt x="1390" y="882"/>
                  </a:lnTo>
                  <a:lnTo>
                    <a:pt x="1398" y="883"/>
                  </a:lnTo>
                  <a:lnTo>
                    <a:pt x="1402" y="884"/>
                  </a:lnTo>
                  <a:lnTo>
                    <a:pt x="1405" y="884"/>
                  </a:lnTo>
                  <a:lnTo>
                    <a:pt x="1411" y="886"/>
                  </a:lnTo>
                  <a:lnTo>
                    <a:pt x="1417" y="890"/>
                  </a:lnTo>
                  <a:lnTo>
                    <a:pt x="1423" y="893"/>
                  </a:lnTo>
                  <a:lnTo>
                    <a:pt x="1428" y="897"/>
                  </a:lnTo>
                  <a:lnTo>
                    <a:pt x="1431" y="899"/>
                  </a:lnTo>
                  <a:lnTo>
                    <a:pt x="1433" y="901"/>
                  </a:lnTo>
                  <a:lnTo>
                    <a:pt x="1437" y="906"/>
                  </a:lnTo>
                  <a:lnTo>
                    <a:pt x="1440" y="912"/>
                  </a:lnTo>
                  <a:lnTo>
                    <a:pt x="1443" y="919"/>
                  </a:lnTo>
                  <a:lnTo>
                    <a:pt x="1444" y="923"/>
                  </a:lnTo>
                  <a:lnTo>
                    <a:pt x="1446" y="926"/>
                  </a:lnTo>
                  <a:lnTo>
                    <a:pt x="1448" y="934"/>
                  </a:lnTo>
                  <a:lnTo>
                    <a:pt x="1449" y="943"/>
                  </a:lnTo>
                  <a:lnTo>
                    <a:pt x="1450" y="952"/>
                  </a:lnTo>
                  <a:lnTo>
                    <a:pt x="1450" y="962"/>
                  </a:lnTo>
                  <a:lnTo>
                    <a:pt x="1450" y="1157"/>
                  </a:lnTo>
                  <a:lnTo>
                    <a:pt x="1569" y="1157"/>
                  </a:lnTo>
                  <a:lnTo>
                    <a:pt x="1569" y="928"/>
                  </a:lnTo>
                  <a:lnTo>
                    <a:pt x="1569" y="919"/>
                  </a:lnTo>
                  <a:lnTo>
                    <a:pt x="1569" y="909"/>
                  </a:lnTo>
                  <a:lnTo>
                    <a:pt x="1568" y="900"/>
                  </a:lnTo>
                  <a:lnTo>
                    <a:pt x="1567" y="892"/>
                  </a:lnTo>
                  <a:lnTo>
                    <a:pt x="1565" y="883"/>
                  </a:lnTo>
                  <a:lnTo>
                    <a:pt x="1564" y="875"/>
                  </a:lnTo>
                  <a:lnTo>
                    <a:pt x="1560" y="860"/>
                  </a:lnTo>
                  <a:lnTo>
                    <a:pt x="1557" y="853"/>
                  </a:lnTo>
                  <a:lnTo>
                    <a:pt x="1554" y="846"/>
                  </a:lnTo>
                  <a:lnTo>
                    <a:pt x="1547" y="833"/>
                  </a:lnTo>
                  <a:lnTo>
                    <a:pt x="1543" y="828"/>
                  </a:lnTo>
                  <a:lnTo>
                    <a:pt x="1539" y="823"/>
                  </a:lnTo>
                  <a:lnTo>
                    <a:pt x="1535" y="818"/>
                  </a:lnTo>
                  <a:lnTo>
                    <a:pt x="1531" y="813"/>
                  </a:lnTo>
                  <a:lnTo>
                    <a:pt x="1526" y="808"/>
                  </a:lnTo>
                  <a:lnTo>
                    <a:pt x="1520" y="804"/>
                  </a:lnTo>
                  <a:lnTo>
                    <a:pt x="1510" y="796"/>
                  </a:lnTo>
                  <a:lnTo>
                    <a:pt x="1505" y="793"/>
                  </a:lnTo>
                  <a:lnTo>
                    <a:pt x="1499" y="790"/>
                  </a:lnTo>
                  <a:lnTo>
                    <a:pt x="1487" y="785"/>
                  </a:lnTo>
                  <a:lnTo>
                    <a:pt x="1481" y="782"/>
                  </a:lnTo>
                  <a:lnTo>
                    <a:pt x="1474" y="781"/>
                  </a:lnTo>
                  <a:lnTo>
                    <a:pt x="1460" y="778"/>
                  </a:lnTo>
                  <a:lnTo>
                    <a:pt x="1453" y="777"/>
                  </a:lnTo>
                  <a:lnTo>
                    <a:pt x="1446" y="776"/>
                  </a:lnTo>
                  <a:lnTo>
                    <a:pt x="1431" y="776"/>
                  </a:lnTo>
                  <a:close/>
                  <a:moveTo>
                    <a:pt x="950" y="1059"/>
                  </a:moveTo>
                  <a:lnTo>
                    <a:pt x="942" y="1058"/>
                  </a:lnTo>
                  <a:lnTo>
                    <a:pt x="932" y="1057"/>
                  </a:lnTo>
                  <a:lnTo>
                    <a:pt x="924" y="1055"/>
                  </a:lnTo>
                  <a:lnTo>
                    <a:pt x="917" y="1053"/>
                  </a:lnTo>
                  <a:lnTo>
                    <a:pt x="909" y="1050"/>
                  </a:lnTo>
                  <a:lnTo>
                    <a:pt x="902" y="1045"/>
                  </a:lnTo>
                  <a:lnTo>
                    <a:pt x="896" y="1040"/>
                  </a:lnTo>
                  <a:lnTo>
                    <a:pt x="893" y="1038"/>
                  </a:lnTo>
                  <a:lnTo>
                    <a:pt x="890" y="1035"/>
                  </a:lnTo>
                  <a:lnTo>
                    <a:pt x="886" y="1032"/>
                  </a:lnTo>
                  <a:lnTo>
                    <a:pt x="884" y="1029"/>
                  </a:lnTo>
                  <a:lnTo>
                    <a:pt x="879" y="1023"/>
                  </a:lnTo>
                  <a:lnTo>
                    <a:pt x="875" y="1015"/>
                  </a:lnTo>
                  <a:lnTo>
                    <a:pt x="872" y="1008"/>
                  </a:lnTo>
                  <a:lnTo>
                    <a:pt x="869" y="1000"/>
                  </a:lnTo>
                  <a:lnTo>
                    <a:pt x="867" y="991"/>
                  </a:lnTo>
                  <a:lnTo>
                    <a:pt x="866" y="982"/>
                  </a:lnTo>
                  <a:lnTo>
                    <a:pt x="866" y="973"/>
                  </a:lnTo>
                  <a:lnTo>
                    <a:pt x="866" y="962"/>
                  </a:lnTo>
                  <a:lnTo>
                    <a:pt x="867" y="953"/>
                  </a:lnTo>
                  <a:lnTo>
                    <a:pt x="869" y="945"/>
                  </a:lnTo>
                  <a:lnTo>
                    <a:pt x="872" y="936"/>
                  </a:lnTo>
                  <a:lnTo>
                    <a:pt x="875" y="929"/>
                  </a:lnTo>
                  <a:lnTo>
                    <a:pt x="879" y="922"/>
                  </a:lnTo>
                  <a:lnTo>
                    <a:pt x="884" y="915"/>
                  </a:lnTo>
                  <a:lnTo>
                    <a:pt x="890" y="909"/>
                  </a:lnTo>
                  <a:lnTo>
                    <a:pt x="896" y="904"/>
                  </a:lnTo>
                  <a:lnTo>
                    <a:pt x="902" y="899"/>
                  </a:lnTo>
                  <a:lnTo>
                    <a:pt x="906" y="897"/>
                  </a:lnTo>
                  <a:lnTo>
                    <a:pt x="909" y="896"/>
                  </a:lnTo>
                  <a:lnTo>
                    <a:pt x="917" y="892"/>
                  </a:lnTo>
                  <a:lnTo>
                    <a:pt x="924" y="890"/>
                  </a:lnTo>
                  <a:lnTo>
                    <a:pt x="932" y="887"/>
                  </a:lnTo>
                  <a:lnTo>
                    <a:pt x="942" y="886"/>
                  </a:lnTo>
                  <a:lnTo>
                    <a:pt x="950" y="886"/>
                  </a:lnTo>
                  <a:lnTo>
                    <a:pt x="959" y="886"/>
                  </a:lnTo>
                  <a:lnTo>
                    <a:pt x="967" y="887"/>
                  </a:lnTo>
                  <a:lnTo>
                    <a:pt x="976" y="890"/>
                  </a:lnTo>
                  <a:lnTo>
                    <a:pt x="984" y="892"/>
                  </a:lnTo>
                  <a:lnTo>
                    <a:pt x="991" y="896"/>
                  </a:lnTo>
                  <a:lnTo>
                    <a:pt x="999" y="899"/>
                  </a:lnTo>
                  <a:lnTo>
                    <a:pt x="1005" y="904"/>
                  </a:lnTo>
                  <a:lnTo>
                    <a:pt x="1011" y="909"/>
                  </a:lnTo>
                  <a:lnTo>
                    <a:pt x="1014" y="912"/>
                  </a:lnTo>
                  <a:lnTo>
                    <a:pt x="1016" y="915"/>
                  </a:lnTo>
                  <a:lnTo>
                    <a:pt x="1022" y="922"/>
                  </a:lnTo>
                  <a:lnTo>
                    <a:pt x="1026" y="929"/>
                  </a:lnTo>
                  <a:lnTo>
                    <a:pt x="1029" y="936"/>
                  </a:lnTo>
                  <a:lnTo>
                    <a:pt x="1032" y="945"/>
                  </a:lnTo>
                  <a:lnTo>
                    <a:pt x="1034" y="953"/>
                  </a:lnTo>
                  <a:lnTo>
                    <a:pt x="1035" y="962"/>
                  </a:lnTo>
                  <a:lnTo>
                    <a:pt x="1035" y="973"/>
                  </a:lnTo>
                  <a:lnTo>
                    <a:pt x="1035" y="982"/>
                  </a:lnTo>
                  <a:lnTo>
                    <a:pt x="1034" y="991"/>
                  </a:lnTo>
                  <a:lnTo>
                    <a:pt x="1032" y="1000"/>
                  </a:lnTo>
                  <a:lnTo>
                    <a:pt x="1029" y="1008"/>
                  </a:lnTo>
                  <a:lnTo>
                    <a:pt x="1026" y="1015"/>
                  </a:lnTo>
                  <a:lnTo>
                    <a:pt x="1022" y="1023"/>
                  </a:lnTo>
                  <a:lnTo>
                    <a:pt x="1016" y="1029"/>
                  </a:lnTo>
                  <a:lnTo>
                    <a:pt x="1011" y="1035"/>
                  </a:lnTo>
                  <a:lnTo>
                    <a:pt x="1005" y="1040"/>
                  </a:lnTo>
                  <a:lnTo>
                    <a:pt x="999" y="1045"/>
                  </a:lnTo>
                  <a:lnTo>
                    <a:pt x="991" y="1050"/>
                  </a:lnTo>
                  <a:lnTo>
                    <a:pt x="984" y="1053"/>
                  </a:lnTo>
                  <a:lnTo>
                    <a:pt x="976" y="1055"/>
                  </a:lnTo>
                  <a:lnTo>
                    <a:pt x="967" y="1057"/>
                  </a:lnTo>
                  <a:lnTo>
                    <a:pt x="959" y="1058"/>
                  </a:lnTo>
                  <a:lnTo>
                    <a:pt x="950" y="1059"/>
                  </a:lnTo>
                  <a:close/>
                  <a:moveTo>
                    <a:pt x="917" y="1169"/>
                  </a:moveTo>
                  <a:lnTo>
                    <a:pt x="927" y="1168"/>
                  </a:lnTo>
                  <a:lnTo>
                    <a:pt x="937" y="1167"/>
                  </a:lnTo>
                  <a:lnTo>
                    <a:pt x="948" y="1166"/>
                  </a:lnTo>
                  <a:lnTo>
                    <a:pt x="957" y="1164"/>
                  </a:lnTo>
                  <a:lnTo>
                    <a:pt x="966" y="1162"/>
                  </a:lnTo>
                  <a:lnTo>
                    <a:pt x="975" y="1159"/>
                  </a:lnTo>
                  <a:lnTo>
                    <a:pt x="983" y="1156"/>
                  </a:lnTo>
                  <a:lnTo>
                    <a:pt x="990" y="1151"/>
                  </a:lnTo>
                  <a:lnTo>
                    <a:pt x="998" y="1147"/>
                  </a:lnTo>
                  <a:lnTo>
                    <a:pt x="1005" y="1142"/>
                  </a:lnTo>
                  <a:lnTo>
                    <a:pt x="1011" y="1137"/>
                  </a:lnTo>
                  <a:lnTo>
                    <a:pt x="1017" y="1132"/>
                  </a:lnTo>
                  <a:lnTo>
                    <a:pt x="1023" y="1126"/>
                  </a:lnTo>
                  <a:lnTo>
                    <a:pt x="1028" y="1120"/>
                  </a:lnTo>
                  <a:lnTo>
                    <a:pt x="1033" y="1113"/>
                  </a:lnTo>
                  <a:lnTo>
                    <a:pt x="1037" y="1107"/>
                  </a:lnTo>
                  <a:lnTo>
                    <a:pt x="1038" y="1107"/>
                  </a:lnTo>
                  <a:lnTo>
                    <a:pt x="1038" y="1157"/>
                  </a:lnTo>
                  <a:lnTo>
                    <a:pt x="1159" y="1157"/>
                  </a:lnTo>
                  <a:lnTo>
                    <a:pt x="1159" y="788"/>
                  </a:lnTo>
                  <a:lnTo>
                    <a:pt x="1038" y="788"/>
                  </a:lnTo>
                  <a:lnTo>
                    <a:pt x="1038" y="839"/>
                  </a:lnTo>
                  <a:lnTo>
                    <a:pt x="1037" y="839"/>
                  </a:lnTo>
                  <a:lnTo>
                    <a:pt x="1033" y="831"/>
                  </a:lnTo>
                  <a:lnTo>
                    <a:pt x="1028" y="825"/>
                  </a:lnTo>
                  <a:lnTo>
                    <a:pt x="1023" y="819"/>
                  </a:lnTo>
                  <a:lnTo>
                    <a:pt x="1017" y="813"/>
                  </a:lnTo>
                  <a:lnTo>
                    <a:pt x="1011" y="807"/>
                  </a:lnTo>
                  <a:lnTo>
                    <a:pt x="1005" y="802"/>
                  </a:lnTo>
                  <a:lnTo>
                    <a:pt x="998" y="797"/>
                  </a:lnTo>
                  <a:lnTo>
                    <a:pt x="990" y="793"/>
                  </a:lnTo>
                  <a:lnTo>
                    <a:pt x="983" y="789"/>
                  </a:lnTo>
                  <a:lnTo>
                    <a:pt x="975" y="786"/>
                  </a:lnTo>
                  <a:lnTo>
                    <a:pt x="966" y="782"/>
                  </a:lnTo>
                  <a:lnTo>
                    <a:pt x="957" y="780"/>
                  </a:lnTo>
                  <a:lnTo>
                    <a:pt x="948" y="778"/>
                  </a:lnTo>
                  <a:lnTo>
                    <a:pt x="937" y="777"/>
                  </a:lnTo>
                  <a:lnTo>
                    <a:pt x="927" y="776"/>
                  </a:lnTo>
                  <a:lnTo>
                    <a:pt x="917" y="776"/>
                  </a:lnTo>
                  <a:lnTo>
                    <a:pt x="899" y="777"/>
                  </a:lnTo>
                  <a:lnTo>
                    <a:pt x="890" y="777"/>
                  </a:lnTo>
                  <a:lnTo>
                    <a:pt x="881" y="779"/>
                  </a:lnTo>
                  <a:lnTo>
                    <a:pt x="873" y="780"/>
                  </a:lnTo>
                  <a:lnTo>
                    <a:pt x="865" y="784"/>
                  </a:lnTo>
                  <a:lnTo>
                    <a:pt x="856" y="786"/>
                  </a:lnTo>
                  <a:lnTo>
                    <a:pt x="849" y="789"/>
                  </a:lnTo>
                  <a:lnTo>
                    <a:pt x="841" y="792"/>
                  </a:lnTo>
                  <a:lnTo>
                    <a:pt x="833" y="795"/>
                  </a:lnTo>
                  <a:lnTo>
                    <a:pt x="826" y="799"/>
                  </a:lnTo>
                  <a:lnTo>
                    <a:pt x="820" y="804"/>
                  </a:lnTo>
                  <a:lnTo>
                    <a:pt x="813" y="808"/>
                  </a:lnTo>
                  <a:lnTo>
                    <a:pt x="806" y="814"/>
                  </a:lnTo>
                  <a:lnTo>
                    <a:pt x="799" y="820"/>
                  </a:lnTo>
                  <a:lnTo>
                    <a:pt x="793" y="826"/>
                  </a:lnTo>
                  <a:lnTo>
                    <a:pt x="788" y="832"/>
                  </a:lnTo>
                  <a:lnTo>
                    <a:pt x="781" y="839"/>
                  </a:lnTo>
                  <a:lnTo>
                    <a:pt x="776" y="846"/>
                  </a:lnTo>
                  <a:lnTo>
                    <a:pt x="771" y="853"/>
                  </a:lnTo>
                  <a:lnTo>
                    <a:pt x="767" y="861"/>
                  </a:lnTo>
                  <a:lnTo>
                    <a:pt x="763" y="870"/>
                  </a:lnTo>
                  <a:lnTo>
                    <a:pt x="755" y="887"/>
                  </a:lnTo>
                  <a:lnTo>
                    <a:pt x="752" y="897"/>
                  </a:lnTo>
                  <a:lnTo>
                    <a:pt x="750" y="906"/>
                  </a:lnTo>
                  <a:lnTo>
                    <a:pt x="747" y="917"/>
                  </a:lnTo>
                  <a:lnTo>
                    <a:pt x="746" y="927"/>
                  </a:lnTo>
                  <a:lnTo>
                    <a:pt x="744" y="937"/>
                  </a:lnTo>
                  <a:lnTo>
                    <a:pt x="743" y="949"/>
                  </a:lnTo>
                  <a:lnTo>
                    <a:pt x="742" y="960"/>
                  </a:lnTo>
                  <a:lnTo>
                    <a:pt x="742" y="973"/>
                  </a:lnTo>
                  <a:lnTo>
                    <a:pt x="742" y="984"/>
                  </a:lnTo>
                  <a:lnTo>
                    <a:pt x="743" y="996"/>
                  </a:lnTo>
                  <a:lnTo>
                    <a:pt x="746" y="1018"/>
                  </a:lnTo>
                  <a:lnTo>
                    <a:pt x="747" y="1029"/>
                  </a:lnTo>
                  <a:lnTo>
                    <a:pt x="750" y="1038"/>
                  </a:lnTo>
                  <a:lnTo>
                    <a:pt x="752" y="1048"/>
                  </a:lnTo>
                  <a:lnTo>
                    <a:pt x="755" y="1058"/>
                  </a:lnTo>
                  <a:lnTo>
                    <a:pt x="759" y="1066"/>
                  </a:lnTo>
                  <a:lnTo>
                    <a:pt x="763" y="1076"/>
                  </a:lnTo>
                  <a:lnTo>
                    <a:pt x="767" y="1083"/>
                  </a:lnTo>
                  <a:lnTo>
                    <a:pt x="771" y="1091"/>
                  </a:lnTo>
                  <a:lnTo>
                    <a:pt x="776" y="1098"/>
                  </a:lnTo>
                  <a:lnTo>
                    <a:pt x="781" y="1106"/>
                  </a:lnTo>
                  <a:lnTo>
                    <a:pt x="788" y="1113"/>
                  </a:lnTo>
                  <a:lnTo>
                    <a:pt x="793" y="1119"/>
                  </a:lnTo>
                  <a:lnTo>
                    <a:pt x="799" y="1125"/>
                  </a:lnTo>
                  <a:lnTo>
                    <a:pt x="806" y="1131"/>
                  </a:lnTo>
                  <a:lnTo>
                    <a:pt x="813" y="1136"/>
                  </a:lnTo>
                  <a:lnTo>
                    <a:pt x="820" y="1141"/>
                  </a:lnTo>
                  <a:lnTo>
                    <a:pt x="826" y="1145"/>
                  </a:lnTo>
                  <a:lnTo>
                    <a:pt x="833" y="1149"/>
                  </a:lnTo>
                  <a:lnTo>
                    <a:pt x="841" y="1152"/>
                  </a:lnTo>
                  <a:lnTo>
                    <a:pt x="849" y="1157"/>
                  </a:lnTo>
                  <a:lnTo>
                    <a:pt x="856" y="1159"/>
                  </a:lnTo>
                  <a:lnTo>
                    <a:pt x="865" y="1162"/>
                  </a:lnTo>
                  <a:lnTo>
                    <a:pt x="873" y="1164"/>
                  </a:lnTo>
                  <a:lnTo>
                    <a:pt x="881" y="1165"/>
                  </a:lnTo>
                  <a:lnTo>
                    <a:pt x="890" y="1167"/>
                  </a:lnTo>
                  <a:lnTo>
                    <a:pt x="899" y="1168"/>
                  </a:lnTo>
                  <a:lnTo>
                    <a:pt x="917" y="1169"/>
                  </a:lnTo>
                  <a:close/>
                  <a:moveTo>
                    <a:pt x="472" y="599"/>
                  </a:moveTo>
                  <a:lnTo>
                    <a:pt x="351" y="599"/>
                  </a:lnTo>
                  <a:lnTo>
                    <a:pt x="351" y="1157"/>
                  </a:lnTo>
                  <a:lnTo>
                    <a:pt x="472" y="1157"/>
                  </a:lnTo>
                  <a:lnTo>
                    <a:pt x="472" y="972"/>
                  </a:lnTo>
                  <a:lnTo>
                    <a:pt x="473" y="960"/>
                  </a:lnTo>
                  <a:lnTo>
                    <a:pt x="474" y="949"/>
                  </a:lnTo>
                  <a:lnTo>
                    <a:pt x="475" y="939"/>
                  </a:lnTo>
                  <a:lnTo>
                    <a:pt x="476" y="934"/>
                  </a:lnTo>
                  <a:lnTo>
                    <a:pt x="478" y="930"/>
                  </a:lnTo>
                  <a:lnTo>
                    <a:pt x="480" y="922"/>
                  </a:lnTo>
                  <a:lnTo>
                    <a:pt x="484" y="914"/>
                  </a:lnTo>
                  <a:lnTo>
                    <a:pt x="487" y="908"/>
                  </a:lnTo>
                  <a:lnTo>
                    <a:pt x="493" y="902"/>
                  </a:lnTo>
                  <a:lnTo>
                    <a:pt x="498" y="898"/>
                  </a:lnTo>
                  <a:lnTo>
                    <a:pt x="503" y="894"/>
                  </a:lnTo>
                  <a:lnTo>
                    <a:pt x="509" y="890"/>
                  </a:lnTo>
                  <a:lnTo>
                    <a:pt x="515" y="886"/>
                  </a:lnTo>
                  <a:lnTo>
                    <a:pt x="522" y="884"/>
                  </a:lnTo>
                  <a:lnTo>
                    <a:pt x="528" y="883"/>
                  </a:lnTo>
                  <a:lnTo>
                    <a:pt x="535" y="882"/>
                  </a:lnTo>
                  <a:lnTo>
                    <a:pt x="544" y="882"/>
                  </a:lnTo>
                  <a:lnTo>
                    <a:pt x="551" y="882"/>
                  </a:lnTo>
                  <a:lnTo>
                    <a:pt x="559" y="883"/>
                  </a:lnTo>
                  <a:lnTo>
                    <a:pt x="565" y="884"/>
                  </a:lnTo>
                  <a:lnTo>
                    <a:pt x="573" y="886"/>
                  </a:lnTo>
                  <a:lnTo>
                    <a:pt x="578" y="890"/>
                  </a:lnTo>
                  <a:lnTo>
                    <a:pt x="584" y="893"/>
                  </a:lnTo>
                  <a:lnTo>
                    <a:pt x="589" y="897"/>
                  </a:lnTo>
                  <a:lnTo>
                    <a:pt x="591" y="899"/>
                  </a:lnTo>
                  <a:lnTo>
                    <a:pt x="593" y="901"/>
                  </a:lnTo>
                  <a:lnTo>
                    <a:pt x="598" y="906"/>
                  </a:lnTo>
                  <a:lnTo>
                    <a:pt x="601" y="912"/>
                  </a:lnTo>
                  <a:lnTo>
                    <a:pt x="604" y="919"/>
                  </a:lnTo>
                  <a:lnTo>
                    <a:pt x="606" y="926"/>
                  </a:lnTo>
                  <a:lnTo>
                    <a:pt x="608" y="934"/>
                  </a:lnTo>
                  <a:lnTo>
                    <a:pt x="609" y="943"/>
                  </a:lnTo>
                  <a:lnTo>
                    <a:pt x="610" y="952"/>
                  </a:lnTo>
                  <a:lnTo>
                    <a:pt x="610" y="962"/>
                  </a:lnTo>
                  <a:lnTo>
                    <a:pt x="610" y="1157"/>
                  </a:lnTo>
                  <a:lnTo>
                    <a:pt x="731" y="1157"/>
                  </a:lnTo>
                  <a:lnTo>
                    <a:pt x="731" y="928"/>
                  </a:lnTo>
                  <a:lnTo>
                    <a:pt x="731" y="919"/>
                  </a:lnTo>
                  <a:lnTo>
                    <a:pt x="730" y="909"/>
                  </a:lnTo>
                  <a:lnTo>
                    <a:pt x="730" y="900"/>
                  </a:lnTo>
                  <a:lnTo>
                    <a:pt x="727" y="892"/>
                  </a:lnTo>
                  <a:lnTo>
                    <a:pt x="726" y="883"/>
                  </a:lnTo>
                  <a:lnTo>
                    <a:pt x="724" y="875"/>
                  </a:lnTo>
                  <a:lnTo>
                    <a:pt x="720" y="860"/>
                  </a:lnTo>
                  <a:lnTo>
                    <a:pt x="718" y="853"/>
                  </a:lnTo>
                  <a:lnTo>
                    <a:pt x="715" y="846"/>
                  </a:lnTo>
                  <a:lnTo>
                    <a:pt x="709" y="833"/>
                  </a:lnTo>
                  <a:lnTo>
                    <a:pt x="705" y="828"/>
                  </a:lnTo>
                  <a:lnTo>
                    <a:pt x="700" y="823"/>
                  </a:lnTo>
                  <a:lnTo>
                    <a:pt x="696" y="818"/>
                  </a:lnTo>
                  <a:lnTo>
                    <a:pt x="692" y="813"/>
                  </a:lnTo>
                  <a:lnTo>
                    <a:pt x="687" y="808"/>
                  </a:lnTo>
                  <a:lnTo>
                    <a:pt x="682" y="804"/>
                  </a:lnTo>
                  <a:lnTo>
                    <a:pt x="671" y="796"/>
                  </a:lnTo>
                  <a:lnTo>
                    <a:pt x="666" y="793"/>
                  </a:lnTo>
                  <a:lnTo>
                    <a:pt x="660" y="790"/>
                  </a:lnTo>
                  <a:lnTo>
                    <a:pt x="648" y="785"/>
                  </a:lnTo>
                  <a:lnTo>
                    <a:pt x="641" y="782"/>
                  </a:lnTo>
                  <a:lnTo>
                    <a:pt x="635" y="781"/>
                  </a:lnTo>
                  <a:lnTo>
                    <a:pt x="621" y="778"/>
                  </a:lnTo>
                  <a:lnTo>
                    <a:pt x="614" y="777"/>
                  </a:lnTo>
                  <a:lnTo>
                    <a:pt x="607" y="776"/>
                  </a:lnTo>
                  <a:lnTo>
                    <a:pt x="592" y="776"/>
                  </a:lnTo>
                  <a:lnTo>
                    <a:pt x="582" y="776"/>
                  </a:lnTo>
                  <a:lnTo>
                    <a:pt x="573" y="777"/>
                  </a:lnTo>
                  <a:lnTo>
                    <a:pt x="563" y="778"/>
                  </a:lnTo>
                  <a:lnTo>
                    <a:pt x="555" y="780"/>
                  </a:lnTo>
                  <a:lnTo>
                    <a:pt x="547" y="782"/>
                  </a:lnTo>
                  <a:lnTo>
                    <a:pt x="538" y="785"/>
                  </a:lnTo>
                  <a:lnTo>
                    <a:pt x="530" y="788"/>
                  </a:lnTo>
                  <a:lnTo>
                    <a:pt x="523" y="792"/>
                  </a:lnTo>
                  <a:lnTo>
                    <a:pt x="515" y="796"/>
                  </a:lnTo>
                  <a:lnTo>
                    <a:pt x="508" y="800"/>
                  </a:lnTo>
                  <a:lnTo>
                    <a:pt x="502" y="805"/>
                  </a:lnTo>
                  <a:lnTo>
                    <a:pt x="496" y="811"/>
                  </a:lnTo>
                  <a:lnTo>
                    <a:pt x="489" y="817"/>
                  </a:lnTo>
                  <a:lnTo>
                    <a:pt x="484" y="823"/>
                  </a:lnTo>
                  <a:lnTo>
                    <a:pt x="474" y="837"/>
                  </a:lnTo>
                  <a:lnTo>
                    <a:pt x="472" y="837"/>
                  </a:lnTo>
                  <a:lnTo>
                    <a:pt x="472" y="599"/>
                  </a:lnTo>
                  <a:close/>
                  <a:moveTo>
                    <a:pt x="214" y="1169"/>
                  </a:moveTo>
                  <a:lnTo>
                    <a:pt x="233" y="1168"/>
                  </a:lnTo>
                  <a:lnTo>
                    <a:pt x="251" y="1166"/>
                  </a:lnTo>
                  <a:lnTo>
                    <a:pt x="268" y="1163"/>
                  </a:lnTo>
                  <a:lnTo>
                    <a:pt x="276" y="1162"/>
                  </a:lnTo>
                  <a:lnTo>
                    <a:pt x="285" y="1160"/>
                  </a:lnTo>
                  <a:lnTo>
                    <a:pt x="293" y="1157"/>
                  </a:lnTo>
                  <a:lnTo>
                    <a:pt x="301" y="1154"/>
                  </a:lnTo>
                  <a:lnTo>
                    <a:pt x="309" y="1151"/>
                  </a:lnTo>
                  <a:lnTo>
                    <a:pt x="317" y="1148"/>
                  </a:lnTo>
                  <a:lnTo>
                    <a:pt x="333" y="1141"/>
                  </a:lnTo>
                  <a:lnTo>
                    <a:pt x="340" y="1137"/>
                  </a:lnTo>
                  <a:lnTo>
                    <a:pt x="347" y="1133"/>
                  </a:lnTo>
                  <a:lnTo>
                    <a:pt x="297" y="1036"/>
                  </a:lnTo>
                  <a:lnTo>
                    <a:pt x="289" y="1041"/>
                  </a:lnTo>
                  <a:lnTo>
                    <a:pt x="281" y="1045"/>
                  </a:lnTo>
                  <a:lnTo>
                    <a:pt x="271" y="1050"/>
                  </a:lnTo>
                  <a:lnTo>
                    <a:pt x="267" y="1052"/>
                  </a:lnTo>
                  <a:lnTo>
                    <a:pt x="263" y="1053"/>
                  </a:lnTo>
                  <a:lnTo>
                    <a:pt x="253" y="1055"/>
                  </a:lnTo>
                  <a:lnTo>
                    <a:pt x="242" y="1057"/>
                  </a:lnTo>
                  <a:lnTo>
                    <a:pt x="232" y="1058"/>
                  </a:lnTo>
                  <a:lnTo>
                    <a:pt x="219" y="1059"/>
                  </a:lnTo>
                  <a:lnTo>
                    <a:pt x="210" y="1058"/>
                  </a:lnTo>
                  <a:lnTo>
                    <a:pt x="202" y="1057"/>
                  </a:lnTo>
                  <a:lnTo>
                    <a:pt x="193" y="1055"/>
                  </a:lnTo>
                  <a:lnTo>
                    <a:pt x="185" y="1053"/>
                  </a:lnTo>
                  <a:lnTo>
                    <a:pt x="178" y="1050"/>
                  </a:lnTo>
                  <a:lnTo>
                    <a:pt x="174" y="1047"/>
                  </a:lnTo>
                  <a:lnTo>
                    <a:pt x="170" y="1045"/>
                  </a:lnTo>
                  <a:lnTo>
                    <a:pt x="163" y="1041"/>
                  </a:lnTo>
                  <a:lnTo>
                    <a:pt x="157" y="1036"/>
                  </a:lnTo>
                  <a:lnTo>
                    <a:pt x="151" y="1030"/>
                  </a:lnTo>
                  <a:lnTo>
                    <a:pt x="145" y="1024"/>
                  </a:lnTo>
                  <a:lnTo>
                    <a:pt x="140" y="1016"/>
                  </a:lnTo>
                  <a:lnTo>
                    <a:pt x="137" y="1009"/>
                  </a:lnTo>
                  <a:lnTo>
                    <a:pt x="134" y="1001"/>
                  </a:lnTo>
                  <a:lnTo>
                    <a:pt x="131" y="991"/>
                  </a:lnTo>
                  <a:lnTo>
                    <a:pt x="130" y="982"/>
                  </a:lnTo>
                  <a:lnTo>
                    <a:pt x="129" y="973"/>
                  </a:lnTo>
                  <a:lnTo>
                    <a:pt x="130" y="962"/>
                  </a:lnTo>
                  <a:lnTo>
                    <a:pt x="131" y="957"/>
                  </a:lnTo>
                  <a:lnTo>
                    <a:pt x="131" y="953"/>
                  </a:lnTo>
                  <a:lnTo>
                    <a:pt x="132" y="948"/>
                  </a:lnTo>
                  <a:lnTo>
                    <a:pt x="134" y="944"/>
                  </a:lnTo>
                  <a:lnTo>
                    <a:pt x="135" y="939"/>
                  </a:lnTo>
                  <a:lnTo>
                    <a:pt x="137" y="935"/>
                  </a:lnTo>
                  <a:lnTo>
                    <a:pt x="140" y="928"/>
                  </a:lnTo>
                  <a:lnTo>
                    <a:pt x="142" y="924"/>
                  </a:lnTo>
                  <a:lnTo>
                    <a:pt x="145" y="921"/>
                  </a:lnTo>
                  <a:lnTo>
                    <a:pt x="148" y="918"/>
                  </a:lnTo>
                  <a:lnTo>
                    <a:pt x="151" y="914"/>
                  </a:lnTo>
                  <a:lnTo>
                    <a:pt x="157" y="908"/>
                  </a:lnTo>
                  <a:lnTo>
                    <a:pt x="163" y="903"/>
                  </a:lnTo>
                  <a:lnTo>
                    <a:pt x="170" y="899"/>
                  </a:lnTo>
                  <a:lnTo>
                    <a:pt x="178" y="895"/>
                  </a:lnTo>
                  <a:lnTo>
                    <a:pt x="185" y="892"/>
                  </a:lnTo>
                  <a:lnTo>
                    <a:pt x="189" y="891"/>
                  </a:lnTo>
                  <a:lnTo>
                    <a:pt x="193" y="890"/>
                  </a:lnTo>
                  <a:lnTo>
                    <a:pt x="202" y="887"/>
                  </a:lnTo>
                  <a:lnTo>
                    <a:pt x="210" y="886"/>
                  </a:lnTo>
                  <a:lnTo>
                    <a:pt x="219" y="886"/>
                  </a:lnTo>
                  <a:lnTo>
                    <a:pt x="232" y="886"/>
                  </a:lnTo>
                  <a:lnTo>
                    <a:pt x="242" y="887"/>
                  </a:lnTo>
                  <a:lnTo>
                    <a:pt x="253" y="890"/>
                  </a:lnTo>
                  <a:lnTo>
                    <a:pt x="263" y="892"/>
                  </a:lnTo>
                  <a:lnTo>
                    <a:pt x="271" y="895"/>
                  </a:lnTo>
                  <a:lnTo>
                    <a:pt x="276" y="897"/>
                  </a:lnTo>
                  <a:lnTo>
                    <a:pt x="281" y="899"/>
                  </a:lnTo>
                  <a:lnTo>
                    <a:pt x="289" y="903"/>
                  </a:lnTo>
                  <a:lnTo>
                    <a:pt x="297" y="908"/>
                  </a:lnTo>
                  <a:lnTo>
                    <a:pt x="347" y="812"/>
                  </a:lnTo>
                  <a:lnTo>
                    <a:pt x="333" y="803"/>
                  </a:lnTo>
                  <a:lnTo>
                    <a:pt x="317" y="797"/>
                  </a:lnTo>
                  <a:lnTo>
                    <a:pt x="301" y="791"/>
                  </a:lnTo>
                  <a:lnTo>
                    <a:pt x="285" y="786"/>
                  </a:lnTo>
                  <a:lnTo>
                    <a:pt x="268" y="781"/>
                  </a:lnTo>
                  <a:lnTo>
                    <a:pt x="251" y="778"/>
                  </a:lnTo>
                  <a:lnTo>
                    <a:pt x="233" y="776"/>
                  </a:lnTo>
                  <a:lnTo>
                    <a:pt x="223" y="776"/>
                  </a:lnTo>
                  <a:lnTo>
                    <a:pt x="214" y="776"/>
                  </a:lnTo>
                  <a:lnTo>
                    <a:pt x="203" y="776"/>
                  </a:lnTo>
                  <a:lnTo>
                    <a:pt x="192" y="777"/>
                  </a:lnTo>
                  <a:lnTo>
                    <a:pt x="181" y="778"/>
                  </a:lnTo>
                  <a:lnTo>
                    <a:pt x="170" y="779"/>
                  </a:lnTo>
                  <a:lnTo>
                    <a:pt x="161" y="781"/>
                  </a:lnTo>
                  <a:lnTo>
                    <a:pt x="151" y="785"/>
                  </a:lnTo>
                  <a:lnTo>
                    <a:pt x="141" y="787"/>
                  </a:lnTo>
                  <a:lnTo>
                    <a:pt x="132" y="790"/>
                  </a:lnTo>
                  <a:lnTo>
                    <a:pt x="123" y="794"/>
                  </a:lnTo>
                  <a:lnTo>
                    <a:pt x="114" y="797"/>
                  </a:lnTo>
                  <a:lnTo>
                    <a:pt x="106" y="802"/>
                  </a:lnTo>
                  <a:lnTo>
                    <a:pt x="98" y="806"/>
                  </a:lnTo>
                  <a:lnTo>
                    <a:pt x="89" y="812"/>
                  </a:lnTo>
                  <a:lnTo>
                    <a:pt x="82" y="817"/>
                  </a:lnTo>
                  <a:lnTo>
                    <a:pt x="68" y="829"/>
                  </a:lnTo>
                  <a:lnTo>
                    <a:pt x="60" y="837"/>
                  </a:lnTo>
                  <a:lnTo>
                    <a:pt x="54" y="843"/>
                  </a:lnTo>
                  <a:lnTo>
                    <a:pt x="48" y="850"/>
                  </a:lnTo>
                  <a:lnTo>
                    <a:pt x="43" y="858"/>
                  </a:lnTo>
                  <a:lnTo>
                    <a:pt x="37" y="866"/>
                  </a:lnTo>
                  <a:lnTo>
                    <a:pt x="32" y="874"/>
                  </a:lnTo>
                  <a:lnTo>
                    <a:pt x="28" y="882"/>
                  </a:lnTo>
                  <a:lnTo>
                    <a:pt x="24" y="892"/>
                  </a:lnTo>
                  <a:lnTo>
                    <a:pt x="21" y="901"/>
                  </a:lnTo>
                  <a:lnTo>
                    <a:pt x="18" y="910"/>
                  </a:lnTo>
                  <a:lnTo>
                    <a:pt x="16" y="920"/>
                  </a:lnTo>
                  <a:lnTo>
                    <a:pt x="14" y="929"/>
                  </a:lnTo>
                  <a:lnTo>
                    <a:pt x="11" y="939"/>
                  </a:lnTo>
                  <a:lnTo>
                    <a:pt x="10" y="950"/>
                  </a:lnTo>
                  <a:lnTo>
                    <a:pt x="9" y="961"/>
                  </a:lnTo>
                  <a:lnTo>
                    <a:pt x="9" y="973"/>
                  </a:lnTo>
                  <a:lnTo>
                    <a:pt x="9" y="983"/>
                  </a:lnTo>
                  <a:lnTo>
                    <a:pt x="10" y="994"/>
                  </a:lnTo>
                  <a:lnTo>
                    <a:pt x="11" y="1005"/>
                  </a:lnTo>
                  <a:lnTo>
                    <a:pt x="14" y="1015"/>
                  </a:lnTo>
                  <a:lnTo>
                    <a:pt x="16" y="1025"/>
                  </a:lnTo>
                  <a:lnTo>
                    <a:pt x="18" y="1035"/>
                  </a:lnTo>
                  <a:lnTo>
                    <a:pt x="21" y="1044"/>
                  </a:lnTo>
                  <a:lnTo>
                    <a:pt x="24" y="1053"/>
                  </a:lnTo>
                  <a:lnTo>
                    <a:pt x="28" y="1062"/>
                  </a:lnTo>
                  <a:lnTo>
                    <a:pt x="32" y="1070"/>
                  </a:lnTo>
                  <a:lnTo>
                    <a:pt x="37" y="1079"/>
                  </a:lnTo>
                  <a:lnTo>
                    <a:pt x="43" y="1087"/>
                  </a:lnTo>
                  <a:lnTo>
                    <a:pt x="48" y="1094"/>
                  </a:lnTo>
                  <a:lnTo>
                    <a:pt x="54" y="1101"/>
                  </a:lnTo>
                  <a:lnTo>
                    <a:pt x="60" y="1109"/>
                  </a:lnTo>
                  <a:lnTo>
                    <a:pt x="68" y="1115"/>
                  </a:lnTo>
                  <a:lnTo>
                    <a:pt x="71" y="1118"/>
                  </a:lnTo>
                  <a:lnTo>
                    <a:pt x="75" y="1121"/>
                  </a:lnTo>
                  <a:lnTo>
                    <a:pt x="82" y="1127"/>
                  </a:lnTo>
                  <a:lnTo>
                    <a:pt x="89" y="1133"/>
                  </a:lnTo>
                  <a:lnTo>
                    <a:pt x="98" y="1138"/>
                  </a:lnTo>
                  <a:lnTo>
                    <a:pt x="106" y="1143"/>
                  </a:lnTo>
                  <a:lnTo>
                    <a:pt x="114" y="1147"/>
                  </a:lnTo>
                  <a:lnTo>
                    <a:pt x="123" y="1151"/>
                  </a:lnTo>
                  <a:lnTo>
                    <a:pt x="132" y="1154"/>
                  </a:lnTo>
                  <a:lnTo>
                    <a:pt x="141" y="1158"/>
                  </a:lnTo>
                  <a:lnTo>
                    <a:pt x="151" y="1161"/>
                  </a:lnTo>
                  <a:lnTo>
                    <a:pt x="161" y="1163"/>
                  </a:lnTo>
                  <a:lnTo>
                    <a:pt x="170" y="1165"/>
                  </a:lnTo>
                  <a:lnTo>
                    <a:pt x="181" y="1166"/>
                  </a:lnTo>
                  <a:lnTo>
                    <a:pt x="192" y="1167"/>
                  </a:lnTo>
                  <a:lnTo>
                    <a:pt x="203" y="1168"/>
                  </a:lnTo>
                  <a:lnTo>
                    <a:pt x="214" y="116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29" name="Group 28"/>
          <p:cNvGrpSpPr/>
          <p:nvPr userDrawn="1"/>
        </p:nvGrpSpPr>
        <p:grpSpPr>
          <a:xfrm>
            <a:off x="7905410" y="6237390"/>
            <a:ext cx="1656230" cy="432060"/>
            <a:chOff x="10200570" y="6237390"/>
            <a:chExt cx="1656230" cy="432060"/>
          </a:xfrm>
        </p:grpSpPr>
        <p:sp>
          <p:nvSpPr>
            <p:cNvPr id="30" name="Rectangle 29"/>
            <p:cNvSpPr/>
            <p:nvPr userDrawn="1"/>
          </p:nvSpPr>
          <p:spPr>
            <a:xfrm>
              <a:off x="10200570" y="6237390"/>
              <a:ext cx="1656230" cy="4320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32" name="Freeform 6"/>
            <p:cNvSpPr>
              <a:spLocks noChangeAspect="1" noEditPoints="1"/>
            </p:cNvSpPr>
            <p:nvPr userDrawn="1"/>
          </p:nvSpPr>
          <p:spPr bwMode="auto">
            <a:xfrm>
              <a:off x="10421059" y="6308725"/>
              <a:ext cx="1220079" cy="288000"/>
            </a:xfrm>
            <a:custGeom>
              <a:avLst/>
              <a:gdLst>
                <a:gd name="T0" fmla="*/ 317 w 6630"/>
                <a:gd name="T1" fmla="*/ 622 h 1565"/>
                <a:gd name="T2" fmla="*/ 549 w 6630"/>
                <a:gd name="T3" fmla="*/ 281 h 1565"/>
                <a:gd name="T4" fmla="*/ 146 w 6630"/>
                <a:gd name="T5" fmla="*/ 254 h 1565"/>
                <a:gd name="T6" fmla="*/ 2 w 6630"/>
                <a:gd name="T7" fmla="*/ 668 h 1565"/>
                <a:gd name="T8" fmla="*/ 113 w 6630"/>
                <a:gd name="T9" fmla="*/ 1146 h 1565"/>
                <a:gd name="T10" fmla="*/ 417 w 6630"/>
                <a:gd name="T11" fmla="*/ 1452 h 1565"/>
                <a:gd name="T12" fmla="*/ 862 w 6630"/>
                <a:gd name="T13" fmla="*/ 1565 h 1565"/>
                <a:gd name="T14" fmla="*/ 1067 w 6630"/>
                <a:gd name="T15" fmla="*/ 1206 h 1565"/>
                <a:gd name="T16" fmla="*/ 718 w 6630"/>
                <a:gd name="T17" fmla="*/ 1244 h 1565"/>
                <a:gd name="T18" fmla="*/ 395 w 6630"/>
                <a:gd name="T19" fmla="*/ 1028 h 1565"/>
                <a:gd name="T20" fmla="*/ 689 w 6630"/>
                <a:gd name="T21" fmla="*/ 1169 h 1565"/>
                <a:gd name="T22" fmla="*/ 1039 w 6630"/>
                <a:gd name="T23" fmla="*/ 1148 h 1565"/>
                <a:gd name="T24" fmla="*/ 1292 w 6630"/>
                <a:gd name="T25" fmla="*/ 840 h 1565"/>
                <a:gd name="T26" fmla="*/ 1208 w 6630"/>
                <a:gd name="T27" fmla="*/ 435 h 1565"/>
                <a:gd name="T28" fmla="*/ 902 w 6630"/>
                <a:gd name="T29" fmla="*/ 264 h 1565"/>
                <a:gd name="T30" fmla="*/ 518 w 6630"/>
                <a:gd name="T31" fmla="*/ 388 h 1565"/>
                <a:gd name="T32" fmla="*/ 372 w 6630"/>
                <a:gd name="T33" fmla="*/ 702 h 1565"/>
                <a:gd name="T34" fmla="*/ 3593 w 6630"/>
                <a:gd name="T35" fmla="*/ 799 h 1565"/>
                <a:gd name="T36" fmla="*/ 3366 w 6630"/>
                <a:gd name="T37" fmla="*/ 869 h 1565"/>
                <a:gd name="T38" fmla="*/ 3297 w 6630"/>
                <a:gd name="T39" fmla="*/ 570 h 1565"/>
                <a:gd name="T40" fmla="*/ 3419 w 6630"/>
                <a:gd name="T41" fmla="*/ 595 h 1565"/>
                <a:gd name="T42" fmla="*/ 4253 w 6630"/>
                <a:gd name="T43" fmla="*/ 1275 h 1565"/>
                <a:gd name="T44" fmla="*/ 4022 w 6630"/>
                <a:gd name="T45" fmla="*/ 1243 h 1565"/>
                <a:gd name="T46" fmla="*/ 3739 w 6630"/>
                <a:gd name="T47" fmla="*/ 1222 h 1565"/>
                <a:gd name="T48" fmla="*/ 3881 w 6630"/>
                <a:gd name="T49" fmla="*/ 1458 h 1565"/>
                <a:gd name="T50" fmla="*/ 2979 w 6630"/>
                <a:gd name="T51" fmla="*/ 1024 h 1565"/>
                <a:gd name="T52" fmla="*/ 2840 w 6630"/>
                <a:gd name="T53" fmla="*/ 1384 h 1565"/>
                <a:gd name="T54" fmla="*/ 2563 w 6630"/>
                <a:gd name="T55" fmla="*/ 1502 h 1565"/>
                <a:gd name="T56" fmla="*/ 2237 w 6630"/>
                <a:gd name="T57" fmla="*/ 1402 h 1565"/>
                <a:gd name="T58" fmla="*/ 2085 w 6630"/>
                <a:gd name="T59" fmla="*/ 1074 h 1565"/>
                <a:gd name="T60" fmla="*/ 2179 w 6630"/>
                <a:gd name="T61" fmla="*/ 715 h 1565"/>
                <a:gd name="T62" fmla="*/ 2521 w 6630"/>
                <a:gd name="T63" fmla="*/ 546 h 1565"/>
                <a:gd name="T64" fmla="*/ 2907 w 6630"/>
                <a:gd name="T65" fmla="*/ 740 h 1565"/>
                <a:gd name="T66" fmla="*/ 2711 w 6630"/>
                <a:gd name="T67" fmla="*/ 938 h 1565"/>
                <a:gd name="T68" fmla="*/ 2584 w 6630"/>
                <a:gd name="T69" fmla="*/ 769 h 1565"/>
                <a:gd name="T70" fmla="*/ 2395 w 6630"/>
                <a:gd name="T71" fmla="*/ 833 h 1565"/>
                <a:gd name="T72" fmla="*/ 2349 w 6630"/>
                <a:gd name="T73" fmla="*/ 1090 h 1565"/>
                <a:gd name="T74" fmla="*/ 2495 w 6630"/>
                <a:gd name="T75" fmla="*/ 1278 h 1565"/>
                <a:gd name="T76" fmla="*/ 2670 w 6630"/>
                <a:gd name="T77" fmla="*/ 1213 h 1565"/>
                <a:gd name="T78" fmla="*/ 4906 w 6630"/>
                <a:gd name="T79" fmla="*/ 1070 h 1565"/>
                <a:gd name="T80" fmla="*/ 4796 w 6630"/>
                <a:gd name="T81" fmla="*/ 1276 h 1565"/>
                <a:gd name="T82" fmla="*/ 4627 w 6630"/>
                <a:gd name="T83" fmla="*/ 1221 h 1565"/>
                <a:gd name="T84" fmla="*/ 4342 w 6630"/>
                <a:gd name="T85" fmla="*/ 1149 h 1565"/>
                <a:gd name="T86" fmla="*/ 4475 w 6630"/>
                <a:gd name="T87" fmla="*/ 1421 h 1565"/>
                <a:gd name="T88" fmla="*/ 4831 w 6630"/>
                <a:gd name="T89" fmla="*/ 1494 h 1565"/>
                <a:gd name="T90" fmla="*/ 5106 w 6630"/>
                <a:gd name="T91" fmla="*/ 1336 h 1565"/>
                <a:gd name="T92" fmla="*/ 6626 w 6630"/>
                <a:gd name="T93" fmla="*/ 838 h 1565"/>
                <a:gd name="T94" fmla="*/ 6501 w 6630"/>
                <a:gd name="T95" fmla="*/ 594 h 1565"/>
                <a:gd name="T96" fmla="*/ 6231 w 6630"/>
                <a:gd name="T97" fmla="*/ 567 h 1565"/>
                <a:gd name="T98" fmla="*/ 6057 w 6630"/>
                <a:gd name="T99" fmla="*/ 735 h 1565"/>
                <a:gd name="T100" fmla="*/ 5910 w 6630"/>
                <a:gd name="T101" fmla="*/ 572 h 1565"/>
                <a:gd name="T102" fmla="*/ 5667 w 6630"/>
                <a:gd name="T103" fmla="*/ 579 h 1565"/>
                <a:gd name="T104" fmla="*/ 5264 w 6630"/>
                <a:gd name="T105" fmla="*/ 1024 h 1565"/>
                <a:gd name="T106" fmla="*/ 5598 w 6630"/>
                <a:gd name="T107" fmla="*/ 820 h 1565"/>
                <a:gd name="T108" fmla="*/ 5767 w 6630"/>
                <a:gd name="T109" fmla="*/ 817 h 1565"/>
                <a:gd name="T110" fmla="*/ 6077 w 6630"/>
                <a:gd name="T111" fmla="*/ 1011 h 1565"/>
                <a:gd name="T112" fmla="*/ 6169 w 6630"/>
                <a:gd name="T113" fmla="*/ 804 h 1565"/>
                <a:gd name="T114" fmla="*/ 6344 w 6630"/>
                <a:gd name="T115" fmla="*/ 837 h 1565"/>
                <a:gd name="T116" fmla="*/ 1972 w 6630"/>
                <a:gd name="T117" fmla="*/ 324 h 1565"/>
                <a:gd name="T118" fmla="*/ 2079 w 6630"/>
                <a:gd name="T119" fmla="*/ 777 h 1565"/>
                <a:gd name="T120" fmla="*/ 1685 w 6630"/>
                <a:gd name="T121" fmla="*/ 247 h 1565"/>
                <a:gd name="T122" fmla="*/ 1910 w 6630"/>
                <a:gd name="T123" fmla="*/ 98 h 1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630" h="1565">
                  <a:moveTo>
                    <a:pt x="375" y="995"/>
                  </a:moveTo>
                  <a:lnTo>
                    <a:pt x="362" y="972"/>
                  </a:lnTo>
                  <a:lnTo>
                    <a:pt x="351" y="949"/>
                  </a:lnTo>
                  <a:lnTo>
                    <a:pt x="341" y="925"/>
                  </a:lnTo>
                  <a:lnTo>
                    <a:pt x="333" y="901"/>
                  </a:lnTo>
                  <a:lnTo>
                    <a:pt x="329" y="889"/>
                  </a:lnTo>
                  <a:lnTo>
                    <a:pt x="325" y="876"/>
                  </a:lnTo>
                  <a:lnTo>
                    <a:pt x="319" y="851"/>
                  </a:lnTo>
                  <a:lnTo>
                    <a:pt x="314" y="826"/>
                  </a:lnTo>
                  <a:lnTo>
                    <a:pt x="310" y="801"/>
                  </a:lnTo>
                  <a:lnTo>
                    <a:pt x="309" y="788"/>
                  </a:lnTo>
                  <a:lnTo>
                    <a:pt x="308" y="775"/>
                  </a:lnTo>
                  <a:lnTo>
                    <a:pt x="307" y="762"/>
                  </a:lnTo>
                  <a:lnTo>
                    <a:pt x="306" y="749"/>
                  </a:lnTo>
                  <a:lnTo>
                    <a:pt x="306" y="724"/>
                  </a:lnTo>
                  <a:lnTo>
                    <a:pt x="307" y="698"/>
                  </a:lnTo>
                  <a:lnTo>
                    <a:pt x="309" y="673"/>
                  </a:lnTo>
                  <a:lnTo>
                    <a:pt x="311" y="660"/>
                  </a:lnTo>
                  <a:lnTo>
                    <a:pt x="313" y="647"/>
                  </a:lnTo>
                  <a:lnTo>
                    <a:pt x="315" y="635"/>
                  </a:lnTo>
                  <a:lnTo>
                    <a:pt x="317" y="622"/>
                  </a:lnTo>
                  <a:lnTo>
                    <a:pt x="323" y="597"/>
                  </a:lnTo>
                  <a:lnTo>
                    <a:pt x="330" y="572"/>
                  </a:lnTo>
                  <a:lnTo>
                    <a:pt x="338" y="548"/>
                  </a:lnTo>
                  <a:lnTo>
                    <a:pt x="348" y="524"/>
                  </a:lnTo>
                  <a:lnTo>
                    <a:pt x="358" y="500"/>
                  </a:lnTo>
                  <a:lnTo>
                    <a:pt x="364" y="488"/>
                  </a:lnTo>
                  <a:lnTo>
                    <a:pt x="370" y="477"/>
                  </a:lnTo>
                  <a:lnTo>
                    <a:pt x="376" y="465"/>
                  </a:lnTo>
                  <a:lnTo>
                    <a:pt x="383" y="454"/>
                  </a:lnTo>
                  <a:lnTo>
                    <a:pt x="397" y="432"/>
                  </a:lnTo>
                  <a:lnTo>
                    <a:pt x="404" y="421"/>
                  </a:lnTo>
                  <a:lnTo>
                    <a:pt x="412" y="410"/>
                  </a:lnTo>
                  <a:lnTo>
                    <a:pt x="428" y="390"/>
                  </a:lnTo>
                  <a:lnTo>
                    <a:pt x="445" y="369"/>
                  </a:lnTo>
                  <a:lnTo>
                    <a:pt x="464" y="350"/>
                  </a:lnTo>
                  <a:lnTo>
                    <a:pt x="483" y="331"/>
                  </a:lnTo>
                  <a:lnTo>
                    <a:pt x="504" y="314"/>
                  </a:lnTo>
                  <a:lnTo>
                    <a:pt x="515" y="305"/>
                  </a:lnTo>
                  <a:lnTo>
                    <a:pt x="526" y="297"/>
                  </a:lnTo>
                  <a:lnTo>
                    <a:pt x="537" y="289"/>
                  </a:lnTo>
                  <a:lnTo>
                    <a:pt x="549" y="281"/>
                  </a:lnTo>
                  <a:lnTo>
                    <a:pt x="573" y="267"/>
                  </a:lnTo>
                  <a:lnTo>
                    <a:pt x="629" y="57"/>
                  </a:lnTo>
                  <a:lnTo>
                    <a:pt x="419" y="0"/>
                  </a:lnTo>
                  <a:lnTo>
                    <a:pt x="401" y="11"/>
                  </a:lnTo>
                  <a:lnTo>
                    <a:pt x="383" y="23"/>
                  </a:lnTo>
                  <a:lnTo>
                    <a:pt x="365" y="35"/>
                  </a:lnTo>
                  <a:lnTo>
                    <a:pt x="347" y="47"/>
                  </a:lnTo>
                  <a:lnTo>
                    <a:pt x="330" y="60"/>
                  </a:lnTo>
                  <a:lnTo>
                    <a:pt x="314" y="73"/>
                  </a:lnTo>
                  <a:lnTo>
                    <a:pt x="297" y="86"/>
                  </a:lnTo>
                  <a:lnTo>
                    <a:pt x="282" y="100"/>
                  </a:lnTo>
                  <a:lnTo>
                    <a:pt x="266" y="114"/>
                  </a:lnTo>
                  <a:lnTo>
                    <a:pt x="251" y="128"/>
                  </a:lnTo>
                  <a:lnTo>
                    <a:pt x="237" y="143"/>
                  </a:lnTo>
                  <a:lnTo>
                    <a:pt x="222" y="158"/>
                  </a:lnTo>
                  <a:lnTo>
                    <a:pt x="209" y="173"/>
                  </a:lnTo>
                  <a:lnTo>
                    <a:pt x="195" y="188"/>
                  </a:lnTo>
                  <a:lnTo>
                    <a:pt x="182" y="204"/>
                  </a:lnTo>
                  <a:lnTo>
                    <a:pt x="170" y="220"/>
                  </a:lnTo>
                  <a:lnTo>
                    <a:pt x="158" y="237"/>
                  </a:lnTo>
                  <a:lnTo>
                    <a:pt x="146" y="254"/>
                  </a:lnTo>
                  <a:lnTo>
                    <a:pt x="135" y="270"/>
                  </a:lnTo>
                  <a:lnTo>
                    <a:pt x="124" y="288"/>
                  </a:lnTo>
                  <a:lnTo>
                    <a:pt x="114" y="305"/>
                  </a:lnTo>
                  <a:lnTo>
                    <a:pt x="104" y="323"/>
                  </a:lnTo>
                  <a:lnTo>
                    <a:pt x="94" y="341"/>
                  </a:lnTo>
                  <a:lnTo>
                    <a:pt x="85" y="359"/>
                  </a:lnTo>
                  <a:lnTo>
                    <a:pt x="76" y="377"/>
                  </a:lnTo>
                  <a:lnTo>
                    <a:pt x="68" y="395"/>
                  </a:lnTo>
                  <a:lnTo>
                    <a:pt x="61" y="414"/>
                  </a:lnTo>
                  <a:lnTo>
                    <a:pt x="53" y="433"/>
                  </a:lnTo>
                  <a:lnTo>
                    <a:pt x="47" y="452"/>
                  </a:lnTo>
                  <a:lnTo>
                    <a:pt x="40" y="471"/>
                  </a:lnTo>
                  <a:lnTo>
                    <a:pt x="29" y="509"/>
                  </a:lnTo>
                  <a:lnTo>
                    <a:pt x="24" y="529"/>
                  </a:lnTo>
                  <a:lnTo>
                    <a:pt x="19" y="548"/>
                  </a:lnTo>
                  <a:lnTo>
                    <a:pt x="15" y="568"/>
                  </a:lnTo>
                  <a:lnTo>
                    <a:pt x="12" y="588"/>
                  </a:lnTo>
                  <a:lnTo>
                    <a:pt x="9" y="608"/>
                  </a:lnTo>
                  <a:lnTo>
                    <a:pt x="6" y="628"/>
                  </a:lnTo>
                  <a:lnTo>
                    <a:pt x="4" y="648"/>
                  </a:lnTo>
                  <a:lnTo>
                    <a:pt x="2" y="668"/>
                  </a:lnTo>
                  <a:lnTo>
                    <a:pt x="1" y="688"/>
                  </a:lnTo>
                  <a:lnTo>
                    <a:pt x="0" y="708"/>
                  </a:lnTo>
                  <a:lnTo>
                    <a:pt x="0" y="749"/>
                  </a:lnTo>
                  <a:lnTo>
                    <a:pt x="1" y="769"/>
                  </a:lnTo>
                  <a:lnTo>
                    <a:pt x="2" y="790"/>
                  </a:lnTo>
                  <a:lnTo>
                    <a:pt x="4" y="810"/>
                  </a:lnTo>
                  <a:lnTo>
                    <a:pt x="6" y="831"/>
                  </a:lnTo>
                  <a:lnTo>
                    <a:pt x="13" y="871"/>
                  </a:lnTo>
                  <a:lnTo>
                    <a:pt x="16" y="891"/>
                  </a:lnTo>
                  <a:lnTo>
                    <a:pt x="21" y="911"/>
                  </a:lnTo>
                  <a:lnTo>
                    <a:pt x="25" y="932"/>
                  </a:lnTo>
                  <a:lnTo>
                    <a:pt x="31" y="952"/>
                  </a:lnTo>
                  <a:lnTo>
                    <a:pt x="36" y="972"/>
                  </a:lnTo>
                  <a:lnTo>
                    <a:pt x="43" y="991"/>
                  </a:lnTo>
                  <a:lnTo>
                    <a:pt x="57" y="1031"/>
                  </a:lnTo>
                  <a:lnTo>
                    <a:pt x="65" y="1050"/>
                  </a:lnTo>
                  <a:lnTo>
                    <a:pt x="73" y="1070"/>
                  </a:lnTo>
                  <a:lnTo>
                    <a:pt x="82" y="1089"/>
                  </a:lnTo>
                  <a:lnTo>
                    <a:pt x="92" y="1108"/>
                  </a:lnTo>
                  <a:lnTo>
                    <a:pt x="102" y="1127"/>
                  </a:lnTo>
                  <a:lnTo>
                    <a:pt x="113" y="1146"/>
                  </a:lnTo>
                  <a:lnTo>
                    <a:pt x="124" y="1165"/>
                  </a:lnTo>
                  <a:lnTo>
                    <a:pt x="135" y="1183"/>
                  </a:lnTo>
                  <a:lnTo>
                    <a:pt x="147" y="1201"/>
                  </a:lnTo>
                  <a:lnTo>
                    <a:pt x="159" y="1218"/>
                  </a:lnTo>
                  <a:lnTo>
                    <a:pt x="172" y="1235"/>
                  </a:lnTo>
                  <a:lnTo>
                    <a:pt x="185" y="1252"/>
                  </a:lnTo>
                  <a:lnTo>
                    <a:pt x="198" y="1268"/>
                  </a:lnTo>
                  <a:lnTo>
                    <a:pt x="212" y="1284"/>
                  </a:lnTo>
                  <a:lnTo>
                    <a:pt x="226" y="1299"/>
                  </a:lnTo>
                  <a:lnTo>
                    <a:pt x="240" y="1314"/>
                  </a:lnTo>
                  <a:lnTo>
                    <a:pt x="255" y="1329"/>
                  </a:lnTo>
                  <a:lnTo>
                    <a:pt x="270" y="1343"/>
                  </a:lnTo>
                  <a:lnTo>
                    <a:pt x="285" y="1357"/>
                  </a:lnTo>
                  <a:lnTo>
                    <a:pt x="301" y="1370"/>
                  </a:lnTo>
                  <a:lnTo>
                    <a:pt x="317" y="1383"/>
                  </a:lnTo>
                  <a:lnTo>
                    <a:pt x="333" y="1396"/>
                  </a:lnTo>
                  <a:lnTo>
                    <a:pt x="349" y="1408"/>
                  </a:lnTo>
                  <a:lnTo>
                    <a:pt x="366" y="1419"/>
                  </a:lnTo>
                  <a:lnTo>
                    <a:pt x="383" y="1431"/>
                  </a:lnTo>
                  <a:lnTo>
                    <a:pt x="400" y="1441"/>
                  </a:lnTo>
                  <a:lnTo>
                    <a:pt x="417" y="1452"/>
                  </a:lnTo>
                  <a:lnTo>
                    <a:pt x="435" y="1462"/>
                  </a:lnTo>
                  <a:lnTo>
                    <a:pt x="453" y="1471"/>
                  </a:lnTo>
                  <a:lnTo>
                    <a:pt x="471" y="1480"/>
                  </a:lnTo>
                  <a:lnTo>
                    <a:pt x="489" y="1489"/>
                  </a:lnTo>
                  <a:lnTo>
                    <a:pt x="508" y="1497"/>
                  </a:lnTo>
                  <a:lnTo>
                    <a:pt x="526" y="1505"/>
                  </a:lnTo>
                  <a:lnTo>
                    <a:pt x="545" y="1512"/>
                  </a:lnTo>
                  <a:lnTo>
                    <a:pt x="564" y="1519"/>
                  </a:lnTo>
                  <a:lnTo>
                    <a:pt x="583" y="1525"/>
                  </a:lnTo>
                  <a:lnTo>
                    <a:pt x="622" y="1536"/>
                  </a:lnTo>
                  <a:lnTo>
                    <a:pt x="641" y="1541"/>
                  </a:lnTo>
                  <a:lnTo>
                    <a:pt x="661" y="1546"/>
                  </a:lnTo>
                  <a:lnTo>
                    <a:pt x="680" y="1550"/>
                  </a:lnTo>
                  <a:lnTo>
                    <a:pt x="700" y="1554"/>
                  </a:lnTo>
                  <a:lnTo>
                    <a:pt x="720" y="1557"/>
                  </a:lnTo>
                  <a:lnTo>
                    <a:pt x="740" y="1559"/>
                  </a:lnTo>
                  <a:lnTo>
                    <a:pt x="760" y="1561"/>
                  </a:lnTo>
                  <a:lnTo>
                    <a:pt x="780" y="1563"/>
                  </a:lnTo>
                  <a:lnTo>
                    <a:pt x="800" y="1564"/>
                  </a:lnTo>
                  <a:lnTo>
                    <a:pt x="821" y="1565"/>
                  </a:lnTo>
                  <a:lnTo>
                    <a:pt x="862" y="1565"/>
                  </a:lnTo>
                  <a:lnTo>
                    <a:pt x="882" y="1564"/>
                  </a:lnTo>
                  <a:lnTo>
                    <a:pt x="903" y="1563"/>
                  </a:lnTo>
                  <a:lnTo>
                    <a:pt x="923" y="1561"/>
                  </a:lnTo>
                  <a:lnTo>
                    <a:pt x="943" y="1559"/>
                  </a:lnTo>
                  <a:lnTo>
                    <a:pt x="984" y="1553"/>
                  </a:lnTo>
                  <a:lnTo>
                    <a:pt x="1004" y="1549"/>
                  </a:lnTo>
                  <a:lnTo>
                    <a:pt x="1024" y="1545"/>
                  </a:lnTo>
                  <a:lnTo>
                    <a:pt x="1044" y="1540"/>
                  </a:lnTo>
                  <a:lnTo>
                    <a:pt x="1064" y="1535"/>
                  </a:lnTo>
                  <a:lnTo>
                    <a:pt x="1084" y="1529"/>
                  </a:lnTo>
                  <a:lnTo>
                    <a:pt x="1104" y="1522"/>
                  </a:lnTo>
                  <a:lnTo>
                    <a:pt x="1143" y="1508"/>
                  </a:lnTo>
                  <a:lnTo>
                    <a:pt x="1163" y="1500"/>
                  </a:lnTo>
                  <a:lnTo>
                    <a:pt x="1182" y="1492"/>
                  </a:lnTo>
                  <a:lnTo>
                    <a:pt x="1202" y="1483"/>
                  </a:lnTo>
                  <a:lnTo>
                    <a:pt x="1221" y="1473"/>
                  </a:lnTo>
                  <a:lnTo>
                    <a:pt x="1240" y="1463"/>
                  </a:lnTo>
                  <a:lnTo>
                    <a:pt x="1259" y="1453"/>
                  </a:lnTo>
                  <a:lnTo>
                    <a:pt x="1105" y="1187"/>
                  </a:lnTo>
                  <a:lnTo>
                    <a:pt x="1080" y="1200"/>
                  </a:lnTo>
                  <a:lnTo>
                    <a:pt x="1067" y="1206"/>
                  </a:lnTo>
                  <a:lnTo>
                    <a:pt x="1055" y="1212"/>
                  </a:lnTo>
                  <a:lnTo>
                    <a:pt x="1029" y="1223"/>
                  </a:lnTo>
                  <a:lnTo>
                    <a:pt x="1016" y="1227"/>
                  </a:lnTo>
                  <a:lnTo>
                    <a:pt x="1004" y="1232"/>
                  </a:lnTo>
                  <a:lnTo>
                    <a:pt x="991" y="1236"/>
                  </a:lnTo>
                  <a:lnTo>
                    <a:pt x="978" y="1240"/>
                  </a:lnTo>
                  <a:lnTo>
                    <a:pt x="965" y="1243"/>
                  </a:lnTo>
                  <a:lnTo>
                    <a:pt x="952" y="1246"/>
                  </a:lnTo>
                  <a:lnTo>
                    <a:pt x="939" y="1248"/>
                  </a:lnTo>
                  <a:lnTo>
                    <a:pt x="926" y="1251"/>
                  </a:lnTo>
                  <a:lnTo>
                    <a:pt x="899" y="1254"/>
                  </a:lnTo>
                  <a:lnTo>
                    <a:pt x="873" y="1257"/>
                  </a:lnTo>
                  <a:lnTo>
                    <a:pt x="860" y="1257"/>
                  </a:lnTo>
                  <a:lnTo>
                    <a:pt x="847" y="1258"/>
                  </a:lnTo>
                  <a:lnTo>
                    <a:pt x="820" y="1257"/>
                  </a:lnTo>
                  <a:lnTo>
                    <a:pt x="794" y="1256"/>
                  </a:lnTo>
                  <a:lnTo>
                    <a:pt x="768" y="1253"/>
                  </a:lnTo>
                  <a:lnTo>
                    <a:pt x="756" y="1251"/>
                  </a:lnTo>
                  <a:lnTo>
                    <a:pt x="743" y="1249"/>
                  </a:lnTo>
                  <a:lnTo>
                    <a:pt x="730" y="1247"/>
                  </a:lnTo>
                  <a:lnTo>
                    <a:pt x="718" y="1244"/>
                  </a:lnTo>
                  <a:lnTo>
                    <a:pt x="693" y="1238"/>
                  </a:lnTo>
                  <a:lnTo>
                    <a:pt x="680" y="1234"/>
                  </a:lnTo>
                  <a:lnTo>
                    <a:pt x="668" y="1230"/>
                  </a:lnTo>
                  <a:lnTo>
                    <a:pt x="644" y="1222"/>
                  </a:lnTo>
                  <a:lnTo>
                    <a:pt x="632" y="1217"/>
                  </a:lnTo>
                  <a:lnTo>
                    <a:pt x="620" y="1212"/>
                  </a:lnTo>
                  <a:lnTo>
                    <a:pt x="597" y="1201"/>
                  </a:lnTo>
                  <a:lnTo>
                    <a:pt x="574" y="1189"/>
                  </a:lnTo>
                  <a:lnTo>
                    <a:pt x="552" y="1176"/>
                  </a:lnTo>
                  <a:lnTo>
                    <a:pt x="541" y="1170"/>
                  </a:lnTo>
                  <a:lnTo>
                    <a:pt x="531" y="1162"/>
                  </a:lnTo>
                  <a:lnTo>
                    <a:pt x="520" y="1155"/>
                  </a:lnTo>
                  <a:lnTo>
                    <a:pt x="510" y="1148"/>
                  </a:lnTo>
                  <a:lnTo>
                    <a:pt x="490" y="1132"/>
                  </a:lnTo>
                  <a:lnTo>
                    <a:pt x="471" y="1115"/>
                  </a:lnTo>
                  <a:lnTo>
                    <a:pt x="453" y="1097"/>
                  </a:lnTo>
                  <a:lnTo>
                    <a:pt x="444" y="1088"/>
                  </a:lnTo>
                  <a:lnTo>
                    <a:pt x="435" y="1078"/>
                  </a:lnTo>
                  <a:lnTo>
                    <a:pt x="418" y="1059"/>
                  </a:lnTo>
                  <a:lnTo>
                    <a:pt x="403" y="1038"/>
                  </a:lnTo>
                  <a:lnTo>
                    <a:pt x="395" y="1028"/>
                  </a:lnTo>
                  <a:lnTo>
                    <a:pt x="388" y="1017"/>
                  </a:lnTo>
                  <a:lnTo>
                    <a:pt x="381" y="1006"/>
                  </a:lnTo>
                  <a:lnTo>
                    <a:pt x="375" y="995"/>
                  </a:lnTo>
                  <a:close/>
                  <a:moveTo>
                    <a:pt x="431" y="962"/>
                  </a:moveTo>
                  <a:lnTo>
                    <a:pt x="443" y="982"/>
                  </a:lnTo>
                  <a:lnTo>
                    <a:pt x="456" y="1000"/>
                  </a:lnTo>
                  <a:lnTo>
                    <a:pt x="469" y="1018"/>
                  </a:lnTo>
                  <a:lnTo>
                    <a:pt x="484" y="1035"/>
                  </a:lnTo>
                  <a:lnTo>
                    <a:pt x="499" y="1052"/>
                  </a:lnTo>
                  <a:lnTo>
                    <a:pt x="516" y="1067"/>
                  </a:lnTo>
                  <a:lnTo>
                    <a:pt x="532" y="1082"/>
                  </a:lnTo>
                  <a:lnTo>
                    <a:pt x="550" y="1096"/>
                  </a:lnTo>
                  <a:lnTo>
                    <a:pt x="568" y="1109"/>
                  </a:lnTo>
                  <a:lnTo>
                    <a:pt x="587" y="1121"/>
                  </a:lnTo>
                  <a:lnTo>
                    <a:pt x="597" y="1127"/>
                  </a:lnTo>
                  <a:lnTo>
                    <a:pt x="606" y="1133"/>
                  </a:lnTo>
                  <a:lnTo>
                    <a:pt x="626" y="1143"/>
                  </a:lnTo>
                  <a:lnTo>
                    <a:pt x="647" y="1153"/>
                  </a:lnTo>
                  <a:lnTo>
                    <a:pt x="667" y="1161"/>
                  </a:lnTo>
                  <a:lnTo>
                    <a:pt x="678" y="1165"/>
                  </a:lnTo>
                  <a:lnTo>
                    <a:pt x="689" y="1169"/>
                  </a:lnTo>
                  <a:lnTo>
                    <a:pt x="710" y="1175"/>
                  </a:lnTo>
                  <a:lnTo>
                    <a:pt x="721" y="1178"/>
                  </a:lnTo>
                  <a:lnTo>
                    <a:pt x="732" y="1181"/>
                  </a:lnTo>
                  <a:lnTo>
                    <a:pt x="743" y="1183"/>
                  </a:lnTo>
                  <a:lnTo>
                    <a:pt x="754" y="1185"/>
                  </a:lnTo>
                  <a:lnTo>
                    <a:pt x="777" y="1189"/>
                  </a:lnTo>
                  <a:lnTo>
                    <a:pt x="799" y="1191"/>
                  </a:lnTo>
                  <a:lnTo>
                    <a:pt x="811" y="1192"/>
                  </a:lnTo>
                  <a:lnTo>
                    <a:pt x="822" y="1193"/>
                  </a:lnTo>
                  <a:lnTo>
                    <a:pt x="846" y="1193"/>
                  </a:lnTo>
                  <a:lnTo>
                    <a:pt x="858" y="1193"/>
                  </a:lnTo>
                  <a:lnTo>
                    <a:pt x="869" y="1192"/>
                  </a:lnTo>
                  <a:lnTo>
                    <a:pt x="892" y="1190"/>
                  </a:lnTo>
                  <a:lnTo>
                    <a:pt x="904" y="1188"/>
                  </a:lnTo>
                  <a:lnTo>
                    <a:pt x="915" y="1187"/>
                  </a:lnTo>
                  <a:lnTo>
                    <a:pt x="938" y="1182"/>
                  </a:lnTo>
                  <a:lnTo>
                    <a:pt x="961" y="1177"/>
                  </a:lnTo>
                  <a:lnTo>
                    <a:pt x="984" y="1170"/>
                  </a:lnTo>
                  <a:lnTo>
                    <a:pt x="1006" y="1162"/>
                  </a:lnTo>
                  <a:lnTo>
                    <a:pt x="1028" y="1153"/>
                  </a:lnTo>
                  <a:lnTo>
                    <a:pt x="1039" y="1148"/>
                  </a:lnTo>
                  <a:lnTo>
                    <a:pt x="1050" y="1142"/>
                  </a:lnTo>
                  <a:lnTo>
                    <a:pt x="1072" y="1130"/>
                  </a:lnTo>
                  <a:lnTo>
                    <a:pt x="1093" y="1117"/>
                  </a:lnTo>
                  <a:lnTo>
                    <a:pt x="1104" y="1111"/>
                  </a:lnTo>
                  <a:lnTo>
                    <a:pt x="1114" y="1103"/>
                  </a:lnTo>
                  <a:lnTo>
                    <a:pt x="1133" y="1089"/>
                  </a:lnTo>
                  <a:lnTo>
                    <a:pt x="1151" y="1073"/>
                  </a:lnTo>
                  <a:lnTo>
                    <a:pt x="1160" y="1065"/>
                  </a:lnTo>
                  <a:lnTo>
                    <a:pt x="1169" y="1057"/>
                  </a:lnTo>
                  <a:lnTo>
                    <a:pt x="1185" y="1040"/>
                  </a:lnTo>
                  <a:lnTo>
                    <a:pt x="1200" y="1022"/>
                  </a:lnTo>
                  <a:lnTo>
                    <a:pt x="1215" y="1004"/>
                  </a:lnTo>
                  <a:lnTo>
                    <a:pt x="1228" y="985"/>
                  </a:lnTo>
                  <a:lnTo>
                    <a:pt x="1240" y="965"/>
                  </a:lnTo>
                  <a:lnTo>
                    <a:pt x="1246" y="955"/>
                  </a:lnTo>
                  <a:lnTo>
                    <a:pt x="1251" y="945"/>
                  </a:lnTo>
                  <a:lnTo>
                    <a:pt x="1262" y="925"/>
                  </a:lnTo>
                  <a:lnTo>
                    <a:pt x="1271" y="904"/>
                  </a:lnTo>
                  <a:lnTo>
                    <a:pt x="1279" y="883"/>
                  </a:lnTo>
                  <a:lnTo>
                    <a:pt x="1286" y="862"/>
                  </a:lnTo>
                  <a:lnTo>
                    <a:pt x="1292" y="840"/>
                  </a:lnTo>
                  <a:lnTo>
                    <a:pt x="1297" y="818"/>
                  </a:lnTo>
                  <a:lnTo>
                    <a:pt x="1301" y="796"/>
                  </a:lnTo>
                  <a:lnTo>
                    <a:pt x="1304" y="772"/>
                  </a:lnTo>
                  <a:lnTo>
                    <a:pt x="1306" y="750"/>
                  </a:lnTo>
                  <a:lnTo>
                    <a:pt x="1307" y="728"/>
                  </a:lnTo>
                  <a:lnTo>
                    <a:pt x="1307" y="705"/>
                  </a:lnTo>
                  <a:lnTo>
                    <a:pt x="1306" y="683"/>
                  </a:lnTo>
                  <a:lnTo>
                    <a:pt x="1303" y="661"/>
                  </a:lnTo>
                  <a:lnTo>
                    <a:pt x="1300" y="639"/>
                  </a:lnTo>
                  <a:lnTo>
                    <a:pt x="1296" y="617"/>
                  </a:lnTo>
                  <a:lnTo>
                    <a:pt x="1290" y="595"/>
                  </a:lnTo>
                  <a:lnTo>
                    <a:pt x="1284" y="573"/>
                  </a:lnTo>
                  <a:lnTo>
                    <a:pt x="1276" y="552"/>
                  </a:lnTo>
                  <a:lnTo>
                    <a:pt x="1272" y="542"/>
                  </a:lnTo>
                  <a:lnTo>
                    <a:pt x="1267" y="531"/>
                  </a:lnTo>
                  <a:lnTo>
                    <a:pt x="1262" y="521"/>
                  </a:lnTo>
                  <a:lnTo>
                    <a:pt x="1257" y="511"/>
                  </a:lnTo>
                  <a:lnTo>
                    <a:pt x="1247" y="491"/>
                  </a:lnTo>
                  <a:lnTo>
                    <a:pt x="1235" y="472"/>
                  </a:lnTo>
                  <a:lnTo>
                    <a:pt x="1222" y="453"/>
                  </a:lnTo>
                  <a:lnTo>
                    <a:pt x="1208" y="435"/>
                  </a:lnTo>
                  <a:lnTo>
                    <a:pt x="1194" y="418"/>
                  </a:lnTo>
                  <a:lnTo>
                    <a:pt x="1178" y="401"/>
                  </a:lnTo>
                  <a:lnTo>
                    <a:pt x="1162" y="386"/>
                  </a:lnTo>
                  <a:lnTo>
                    <a:pt x="1145" y="371"/>
                  </a:lnTo>
                  <a:lnTo>
                    <a:pt x="1128" y="357"/>
                  </a:lnTo>
                  <a:lnTo>
                    <a:pt x="1119" y="350"/>
                  </a:lnTo>
                  <a:lnTo>
                    <a:pt x="1110" y="344"/>
                  </a:lnTo>
                  <a:lnTo>
                    <a:pt x="1091" y="332"/>
                  </a:lnTo>
                  <a:lnTo>
                    <a:pt x="1082" y="326"/>
                  </a:lnTo>
                  <a:lnTo>
                    <a:pt x="1072" y="320"/>
                  </a:lnTo>
                  <a:lnTo>
                    <a:pt x="1052" y="310"/>
                  </a:lnTo>
                  <a:lnTo>
                    <a:pt x="1032" y="300"/>
                  </a:lnTo>
                  <a:lnTo>
                    <a:pt x="1011" y="292"/>
                  </a:lnTo>
                  <a:lnTo>
                    <a:pt x="1000" y="288"/>
                  </a:lnTo>
                  <a:lnTo>
                    <a:pt x="990" y="284"/>
                  </a:lnTo>
                  <a:lnTo>
                    <a:pt x="968" y="278"/>
                  </a:lnTo>
                  <a:lnTo>
                    <a:pt x="957" y="275"/>
                  </a:lnTo>
                  <a:lnTo>
                    <a:pt x="946" y="272"/>
                  </a:lnTo>
                  <a:lnTo>
                    <a:pt x="935" y="270"/>
                  </a:lnTo>
                  <a:lnTo>
                    <a:pt x="924" y="267"/>
                  </a:lnTo>
                  <a:lnTo>
                    <a:pt x="902" y="264"/>
                  </a:lnTo>
                  <a:lnTo>
                    <a:pt x="879" y="261"/>
                  </a:lnTo>
                  <a:lnTo>
                    <a:pt x="868" y="261"/>
                  </a:lnTo>
                  <a:lnTo>
                    <a:pt x="856" y="260"/>
                  </a:lnTo>
                  <a:lnTo>
                    <a:pt x="833" y="260"/>
                  </a:lnTo>
                  <a:lnTo>
                    <a:pt x="821" y="260"/>
                  </a:lnTo>
                  <a:lnTo>
                    <a:pt x="809" y="261"/>
                  </a:lnTo>
                  <a:lnTo>
                    <a:pt x="786" y="263"/>
                  </a:lnTo>
                  <a:lnTo>
                    <a:pt x="775" y="264"/>
                  </a:lnTo>
                  <a:lnTo>
                    <a:pt x="763" y="266"/>
                  </a:lnTo>
                  <a:lnTo>
                    <a:pt x="740" y="270"/>
                  </a:lnTo>
                  <a:lnTo>
                    <a:pt x="718" y="276"/>
                  </a:lnTo>
                  <a:lnTo>
                    <a:pt x="695" y="283"/>
                  </a:lnTo>
                  <a:lnTo>
                    <a:pt x="672" y="291"/>
                  </a:lnTo>
                  <a:lnTo>
                    <a:pt x="650" y="300"/>
                  </a:lnTo>
                  <a:lnTo>
                    <a:pt x="627" y="311"/>
                  </a:lnTo>
                  <a:lnTo>
                    <a:pt x="605" y="323"/>
                  </a:lnTo>
                  <a:lnTo>
                    <a:pt x="584" y="336"/>
                  </a:lnTo>
                  <a:lnTo>
                    <a:pt x="564" y="350"/>
                  </a:lnTo>
                  <a:lnTo>
                    <a:pt x="545" y="364"/>
                  </a:lnTo>
                  <a:lnTo>
                    <a:pt x="527" y="380"/>
                  </a:lnTo>
                  <a:lnTo>
                    <a:pt x="518" y="388"/>
                  </a:lnTo>
                  <a:lnTo>
                    <a:pt x="510" y="396"/>
                  </a:lnTo>
                  <a:lnTo>
                    <a:pt x="493" y="413"/>
                  </a:lnTo>
                  <a:lnTo>
                    <a:pt x="478" y="431"/>
                  </a:lnTo>
                  <a:lnTo>
                    <a:pt x="471" y="440"/>
                  </a:lnTo>
                  <a:lnTo>
                    <a:pt x="464" y="449"/>
                  </a:lnTo>
                  <a:lnTo>
                    <a:pt x="451" y="468"/>
                  </a:lnTo>
                  <a:lnTo>
                    <a:pt x="438" y="487"/>
                  </a:lnTo>
                  <a:lnTo>
                    <a:pt x="433" y="497"/>
                  </a:lnTo>
                  <a:lnTo>
                    <a:pt x="427" y="507"/>
                  </a:lnTo>
                  <a:lnTo>
                    <a:pt x="417" y="528"/>
                  </a:lnTo>
                  <a:lnTo>
                    <a:pt x="408" y="549"/>
                  </a:lnTo>
                  <a:lnTo>
                    <a:pt x="404" y="559"/>
                  </a:lnTo>
                  <a:lnTo>
                    <a:pt x="400" y="570"/>
                  </a:lnTo>
                  <a:lnTo>
                    <a:pt x="392" y="591"/>
                  </a:lnTo>
                  <a:lnTo>
                    <a:pt x="386" y="613"/>
                  </a:lnTo>
                  <a:lnTo>
                    <a:pt x="384" y="624"/>
                  </a:lnTo>
                  <a:lnTo>
                    <a:pt x="381" y="635"/>
                  </a:lnTo>
                  <a:lnTo>
                    <a:pt x="379" y="646"/>
                  </a:lnTo>
                  <a:lnTo>
                    <a:pt x="377" y="657"/>
                  </a:lnTo>
                  <a:lnTo>
                    <a:pt x="374" y="679"/>
                  </a:lnTo>
                  <a:lnTo>
                    <a:pt x="372" y="702"/>
                  </a:lnTo>
                  <a:lnTo>
                    <a:pt x="371" y="724"/>
                  </a:lnTo>
                  <a:lnTo>
                    <a:pt x="371" y="747"/>
                  </a:lnTo>
                  <a:lnTo>
                    <a:pt x="372" y="758"/>
                  </a:lnTo>
                  <a:lnTo>
                    <a:pt x="372" y="769"/>
                  </a:lnTo>
                  <a:lnTo>
                    <a:pt x="373" y="781"/>
                  </a:lnTo>
                  <a:lnTo>
                    <a:pt x="375" y="792"/>
                  </a:lnTo>
                  <a:lnTo>
                    <a:pt x="378" y="815"/>
                  </a:lnTo>
                  <a:lnTo>
                    <a:pt x="382" y="837"/>
                  </a:lnTo>
                  <a:lnTo>
                    <a:pt x="388" y="858"/>
                  </a:lnTo>
                  <a:lnTo>
                    <a:pt x="394" y="880"/>
                  </a:lnTo>
                  <a:lnTo>
                    <a:pt x="402" y="901"/>
                  </a:lnTo>
                  <a:lnTo>
                    <a:pt x="406" y="911"/>
                  </a:lnTo>
                  <a:lnTo>
                    <a:pt x="410" y="922"/>
                  </a:lnTo>
                  <a:lnTo>
                    <a:pt x="415" y="932"/>
                  </a:lnTo>
                  <a:lnTo>
                    <a:pt x="420" y="942"/>
                  </a:lnTo>
                  <a:lnTo>
                    <a:pt x="431" y="962"/>
                  </a:lnTo>
                  <a:close/>
                  <a:moveTo>
                    <a:pt x="3652" y="820"/>
                  </a:moveTo>
                  <a:lnTo>
                    <a:pt x="3636" y="813"/>
                  </a:lnTo>
                  <a:lnTo>
                    <a:pt x="3621" y="807"/>
                  </a:lnTo>
                  <a:lnTo>
                    <a:pt x="3606" y="802"/>
                  </a:lnTo>
                  <a:lnTo>
                    <a:pt x="3593" y="799"/>
                  </a:lnTo>
                  <a:lnTo>
                    <a:pt x="3579" y="796"/>
                  </a:lnTo>
                  <a:lnTo>
                    <a:pt x="3564" y="795"/>
                  </a:lnTo>
                  <a:lnTo>
                    <a:pt x="3549" y="794"/>
                  </a:lnTo>
                  <a:lnTo>
                    <a:pt x="3533" y="793"/>
                  </a:lnTo>
                  <a:lnTo>
                    <a:pt x="3520" y="794"/>
                  </a:lnTo>
                  <a:lnTo>
                    <a:pt x="3507" y="795"/>
                  </a:lnTo>
                  <a:lnTo>
                    <a:pt x="3494" y="796"/>
                  </a:lnTo>
                  <a:lnTo>
                    <a:pt x="3488" y="797"/>
                  </a:lnTo>
                  <a:lnTo>
                    <a:pt x="3482" y="798"/>
                  </a:lnTo>
                  <a:lnTo>
                    <a:pt x="3470" y="801"/>
                  </a:lnTo>
                  <a:lnTo>
                    <a:pt x="3458" y="804"/>
                  </a:lnTo>
                  <a:lnTo>
                    <a:pt x="3447" y="808"/>
                  </a:lnTo>
                  <a:lnTo>
                    <a:pt x="3437" y="813"/>
                  </a:lnTo>
                  <a:lnTo>
                    <a:pt x="3426" y="818"/>
                  </a:lnTo>
                  <a:lnTo>
                    <a:pt x="3417" y="824"/>
                  </a:lnTo>
                  <a:lnTo>
                    <a:pt x="3407" y="830"/>
                  </a:lnTo>
                  <a:lnTo>
                    <a:pt x="3398" y="837"/>
                  </a:lnTo>
                  <a:lnTo>
                    <a:pt x="3389" y="844"/>
                  </a:lnTo>
                  <a:lnTo>
                    <a:pt x="3381" y="852"/>
                  </a:lnTo>
                  <a:lnTo>
                    <a:pt x="3373" y="860"/>
                  </a:lnTo>
                  <a:lnTo>
                    <a:pt x="3366" y="869"/>
                  </a:lnTo>
                  <a:lnTo>
                    <a:pt x="3359" y="878"/>
                  </a:lnTo>
                  <a:lnTo>
                    <a:pt x="3352" y="888"/>
                  </a:lnTo>
                  <a:lnTo>
                    <a:pt x="3346" y="899"/>
                  </a:lnTo>
                  <a:lnTo>
                    <a:pt x="3340" y="910"/>
                  </a:lnTo>
                  <a:lnTo>
                    <a:pt x="3335" y="921"/>
                  </a:lnTo>
                  <a:lnTo>
                    <a:pt x="3330" y="933"/>
                  </a:lnTo>
                  <a:lnTo>
                    <a:pt x="3325" y="945"/>
                  </a:lnTo>
                  <a:lnTo>
                    <a:pt x="3321" y="958"/>
                  </a:lnTo>
                  <a:lnTo>
                    <a:pt x="3318" y="971"/>
                  </a:lnTo>
                  <a:lnTo>
                    <a:pt x="3315" y="985"/>
                  </a:lnTo>
                  <a:lnTo>
                    <a:pt x="3312" y="999"/>
                  </a:lnTo>
                  <a:lnTo>
                    <a:pt x="3310" y="1013"/>
                  </a:lnTo>
                  <a:lnTo>
                    <a:pt x="3308" y="1028"/>
                  </a:lnTo>
                  <a:lnTo>
                    <a:pt x="3307" y="1044"/>
                  </a:lnTo>
                  <a:lnTo>
                    <a:pt x="3306" y="1059"/>
                  </a:lnTo>
                  <a:lnTo>
                    <a:pt x="3306" y="1076"/>
                  </a:lnTo>
                  <a:lnTo>
                    <a:pt x="3306" y="1478"/>
                  </a:lnTo>
                  <a:lnTo>
                    <a:pt x="3048" y="1478"/>
                  </a:lnTo>
                  <a:lnTo>
                    <a:pt x="3048" y="1024"/>
                  </a:lnTo>
                  <a:lnTo>
                    <a:pt x="3048" y="570"/>
                  </a:lnTo>
                  <a:lnTo>
                    <a:pt x="3297" y="570"/>
                  </a:lnTo>
                  <a:lnTo>
                    <a:pt x="3297" y="776"/>
                  </a:lnTo>
                  <a:lnTo>
                    <a:pt x="3300" y="764"/>
                  </a:lnTo>
                  <a:lnTo>
                    <a:pt x="3304" y="751"/>
                  </a:lnTo>
                  <a:lnTo>
                    <a:pt x="3308" y="739"/>
                  </a:lnTo>
                  <a:lnTo>
                    <a:pt x="3312" y="727"/>
                  </a:lnTo>
                  <a:lnTo>
                    <a:pt x="3317" y="716"/>
                  </a:lnTo>
                  <a:lnTo>
                    <a:pt x="3322" y="705"/>
                  </a:lnTo>
                  <a:lnTo>
                    <a:pt x="3327" y="694"/>
                  </a:lnTo>
                  <a:lnTo>
                    <a:pt x="3333" y="684"/>
                  </a:lnTo>
                  <a:lnTo>
                    <a:pt x="3339" y="674"/>
                  </a:lnTo>
                  <a:lnTo>
                    <a:pt x="3346" y="664"/>
                  </a:lnTo>
                  <a:lnTo>
                    <a:pt x="3352" y="655"/>
                  </a:lnTo>
                  <a:lnTo>
                    <a:pt x="3360" y="646"/>
                  </a:lnTo>
                  <a:lnTo>
                    <a:pt x="3367" y="638"/>
                  </a:lnTo>
                  <a:lnTo>
                    <a:pt x="3375" y="630"/>
                  </a:lnTo>
                  <a:lnTo>
                    <a:pt x="3383" y="622"/>
                  </a:lnTo>
                  <a:lnTo>
                    <a:pt x="3392" y="615"/>
                  </a:lnTo>
                  <a:lnTo>
                    <a:pt x="3396" y="611"/>
                  </a:lnTo>
                  <a:lnTo>
                    <a:pt x="3401" y="608"/>
                  </a:lnTo>
                  <a:lnTo>
                    <a:pt x="3410" y="601"/>
                  </a:lnTo>
                  <a:lnTo>
                    <a:pt x="3419" y="595"/>
                  </a:lnTo>
                  <a:lnTo>
                    <a:pt x="3429" y="590"/>
                  </a:lnTo>
                  <a:lnTo>
                    <a:pt x="3439" y="585"/>
                  </a:lnTo>
                  <a:lnTo>
                    <a:pt x="3450" y="580"/>
                  </a:lnTo>
                  <a:lnTo>
                    <a:pt x="3461" y="576"/>
                  </a:lnTo>
                  <a:lnTo>
                    <a:pt x="3472" y="572"/>
                  </a:lnTo>
                  <a:lnTo>
                    <a:pt x="3483" y="568"/>
                  </a:lnTo>
                  <a:lnTo>
                    <a:pt x="3495" y="565"/>
                  </a:lnTo>
                  <a:lnTo>
                    <a:pt x="3507" y="563"/>
                  </a:lnTo>
                  <a:lnTo>
                    <a:pt x="3519" y="561"/>
                  </a:lnTo>
                  <a:lnTo>
                    <a:pt x="3531" y="559"/>
                  </a:lnTo>
                  <a:lnTo>
                    <a:pt x="3544" y="558"/>
                  </a:lnTo>
                  <a:lnTo>
                    <a:pt x="3557" y="557"/>
                  </a:lnTo>
                  <a:lnTo>
                    <a:pt x="3571" y="557"/>
                  </a:lnTo>
                  <a:lnTo>
                    <a:pt x="3589" y="557"/>
                  </a:lnTo>
                  <a:lnTo>
                    <a:pt x="3599" y="558"/>
                  </a:lnTo>
                  <a:lnTo>
                    <a:pt x="3609" y="559"/>
                  </a:lnTo>
                  <a:lnTo>
                    <a:pt x="3629" y="562"/>
                  </a:lnTo>
                  <a:lnTo>
                    <a:pt x="3652" y="566"/>
                  </a:lnTo>
                  <a:lnTo>
                    <a:pt x="3652" y="820"/>
                  </a:lnTo>
                  <a:close/>
                  <a:moveTo>
                    <a:pt x="4253" y="1478"/>
                  </a:moveTo>
                  <a:lnTo>
                    <a:pt x="4253" y="1275"/>
                  </a:lnTo>
                  <a:lnTo>
                    <a:pt x="4238" y="1278"/>
                  </a:lnTo>
                  <a:lnTo>
                    <a:pt x="4224" y="1281"/>
                  </a:lnTo>
                  <a:lnTo>
                    <a:pt x="4211" y="1283"/>
                  </a:lnTo>
                  <a:lnTo>
                    <a:pt x="4199" y="1284"/>
                  </a:lnTo>
                  <a:lnTo>
                    <a:pt x="4174" y="1286"/>
                  </a:lnTo>
                  <a:lnTo>
                    <a:pt x="4147" y="1286"/>
                  </a:lnTo>
                  <a:lnTo>
                    <a:pt x="4125" y="1286"/>
                  </a:lnTo>
                  <a:lnTo>
                    <a:pt x="4116" y="1285"/>
                  </a:lnTo>
                  <a:lnTo>
                    <a:pt x="4106" y="1284"/>
                  </a:lnTo>
                  <a:lnTo>
                    <a:pt x="4089" y="1281"/>
                  </a:lnTo>
                  <a:lnTo>
                    <a:pt x="4081" y="1280"/>
                  </a:lnTo>
                  <a:lnTo>
                    <a:pt x="4074" y="1278"/>
                  </a:lnTo>
                  <a:lnTo>
                    <a:pt x="4066" y="1275"/>
                  </a:lnTo>
                  <a:lnTo>
                    <a:pt x="4060" y="1272"/>
                  </a:lnTo>
                  <a:lnTo>
                    <a:pt x="4053" y="1269"/>
                  </a:lnTo>
                  <a:lnTo>
                    <a:pt x="4047" y="1266"/>
                  </a:lnTo>
                  <a:lnTo>
                    <a:pt x="4042" y="1262"/>
                  </a:lnTo>
                  <a:lnTo>
                    <a:pt x="4036" y="1258"/>
                  </a:lnTo>
                  <a:lnTo>
                    <a:pt x="4031" y="1253"/>
                  </a:lnTo>
                  <a:lnTo>
                    <a:pt x="4027" y="1248"/>
                  </a:lnTo>
                  <a:lnTo>
                    <a:pt x="4022" y="1243"/>
                  </a:lnTo>
                  <a:lnTo>
                    <a:pt x="4019" y="1238"/>
                  </a:lnTo>
                  <a:lnTo>
                    <a:pt x="4012" y="1225"/>
                  </a:lnTo>
                  <a:lnTo>
                    <a:pt x="4009" y="1218"/>
                  </a:lnTo>
                  <a:lnTo>
                    <a:pt x="4006" y="1211"/>
                  </a:lnTo>
                  <a:lnTo>
                    <a:pt x="4004" y="1203"/>
                  </a:lnTo>
                  <a:lnTo>
                    <a:pt x="4001" y="1195"/>
                  </a:lnTo>
                  <a:lnTo>
                    <a:pt x="3998" y="1178"/>
                  </a:lnTo>
                  <a:lnTo>
                    <a:pt x="3997" y="1168"/>
                  </a:lnTo>
                  <a:lnTo>
                    <a:pt x="3996" y="1158"/>
                  </a:lnTo>
                  <a:lnTo>
                    <a:pt x="3994" y="1137"/>
                  </a:lnTo>
                  <a:lnTo>
                    <a:pt x="3994" y="1114"/>
                  </a:lnTo>
                  <a:lnTo>
                    <a:pt x="3994" y="775"/>
                  </a:lnTo>
                  <a:lnTo>
                    <a:pt x="4242" y="775"/>
                  </a:lnTo>
                  <a:lnTo>
                    <a:pt x="4242" y="574"/>
                  </a:lnTo>
                  <a:lnTo>
                    <a:pt x="3994" y="574"/>
                  </a:lnTo>
                  <a:lnTo>
                    <a:pt x="3994" y="280"/>
                  </a:lnTo>
                  <a:lnTo>
                    <a:pt x="3736" y="426"/>
                  </a:lnTo>
                  <a:lnTo>
                    <a:pt x="3736" y="1160"/>
                  </a:lnTo>
                  <a:lnTo>
                    <a:pt x="3736" y="1182"/>
                  </a:lnTo>
                  <a:lnTo>
                    <a:pt x="3737" y="1202"/>
                  </a:lnTo>
                  <a:lnTo>
                    <a:pt x="3739" y="1222"/>
                  </a:lnTo>
                  <a:lnTo>
                    <a:pt x="3741" y="1241"/>
                  </a:lnTo>
                  <a:lnTo>
                    <a:pt x="3742" y="1251"/>
                  </a:lnTo>
                  <a:lnTo>
                    <a:pt x="3744" y="1260"/>
                  </a:lnTo>
                  <a:lnTo>
                    <a:pt x="3747" y="1278"/>
                  </a:lnTo>
                  <a:lnTo>
                    <a:pt x="3751" y="1295"/>
                  </a:lnTo>
                  <a:lnTo>
                    <a:pt x="3756" y="1311"/>
                  </a:lnTo>
                  <a:lnTo>
                    <a:pt x="3762" y="1326"/>
                  </a:lnTo>
                  <a:lnTo>
                    <a:pt x="3768" y="1341"/>
                  </a:lnTo>
                  <a:lnTo>
                    <a:pt x="3775" y="1355"/>
                  </a:lnTo>
                  <a:lnTo>
                    <a:pt x="3782" y="1369"/>
                  </a:lnTo>
                  <a:lnTo>
                    <a:pt x="3790" y="1381"/>
                  </a:lnTo>
                  <a:lnTo>
                    <a:pt x="3799" y="1393"/>
                  </a:lnTo>
                  <a:lnTo>
                    <a:pt x="3804" y="1399"/>
                  </a:lnTo>
                  <a:lnTo>
                    <a:pt x="3809" y="1405"/>
                  </a:lnTo>
                  <a:lnTo>
                    <a:pt x="3814" y="1410"/>
                  </a:lnTo>
                  <a:lnTo>
                    <a:pt x="3819" y="1415"/>
                  </a:lnTo>
                  <a:lnTo>
                    <a:pt x="3830" y="1425"/>
                  </a:lnTo>
                  <a:lnTo>
                    <a:pt x="3842" y="1434"/>
                  </a:lnTo>
                  <a:lnTo>
                    <a:pt x="3854" y="1443"/>
                  </a:lnTo>
                  <a:lnTo>
                    <a:pt x="3867" y="1451"/>
                  </a:lnTo>
                  <a:lnTo>
                    <a:pt x="3881" y="1458"/>
                  </a:lnTo>
                  <a:lnTo>
                    <a:pt x="3896" y="1465"/>
                  </a:lnTo>
                  <a:lnTo>
                    <a:pt x="3911" y="1470"/>
                  </a:lnTo>
                  <a:lnTo>
                    <a:pt x="3919" y="1473"/>
                  </a:lnTo>
                  <a:lnTo>
                    <a:pt x="3927" y="1476"/>
                  </a:lnTo>
                  <a:lnTo>
                    <a:pt x="3944" y="1480"/>
                  </a:lnTo>
                  <a:lnTo>
                    <a:pt x="3961" y="1484"/>
                  </a:lnTo>
                  <a:lnTo>
                    <a:pt x="3979" y="1488"/>
                  </a:lnTo>
                  <a:lnTo>
                    <a:pt x="3998" y="1491"/>
                  </a:lnTo>
                  <a:lnTo>
                    <a:pt x="4018" y="1493"/>
                  </a:lnTo>
                  <a:lnTo>
                    <a:pt x="4038" y="1494"/>
                  </a:lnTo>
                  <a:lnTo>
                    <a:pt x="4060" y="1495"/>
                  </a:lnTo>
                  <a:lnTo>
                    <a:pt x="4082" y="1495"/>
                  </a:lnTo>
                  <a:lnTo>
                    <a:pt x="4104" y="1495"/>
                  </a:lnTo>
                  <a:lnTo>
                    <a:pt x="4125" y="1495"/>
                  </a:lnTo>
                  <a:lnTo>
                    <a:pt x="4146" y="1493"/>
                  </a:lnTo>
                  <a:lnTo>
                    <a:pt x="4167" y="1492"/>
                  </a:lnTo>
                  <a:lnTo>
                    <a:pt x="4187" y="1490"/>
                  </a:lnTo>
                  <a:lnTo>
                    <a:pt x="4208" y="1487"/>
                  </a:lnTo>
                  <a:lnTo>
                    <a:pt x="4230" y="1483"/>
                  </a:lnTo>
                  <a:lnTo>
                    <a:pt x="4253" y="1478"/>
                  </a:lnTo>
                  <a:close/>
                  <a:moveTo>
                    <a:pt x="2979" y="1024"/>
                  </a:moveTo>
                  <a:lnTo>
                    <a:pt x="2978" y="1050"/>
                  </a:lnTo>
                  <a:lnTo>
                    <a:pt x="2976" y="1075"/>
                  </a:lnTo>
                  <a:lnTo>
                    <a:pt x="2974" y="1100"/>
                  </a:lnTo>
                  <a:lnTo>
                    <a:pt x="2970" y="1125"/>
                  </a:lnTo>
                  <a:lnTo>
                    <a:pt x="2966" y="1149"/>
                  </a:lnTo>
                  <a:lnTo>
                    <a:pt x="2960" y="1172"/>
                  </a:lnTo>
                  <a:lnTo>
                    <a:pt x="2954" y="1195"/>
                  </a:lnTo>
                  <a:lnTo>
                    <a:pt x="2950" y="1206"/>
                  </a:lnTo>
                  <a:lnTo>
                    <a:pt x="2946" y="1217"/>
                  </a:lnTo>
                  <a:lnTo>
                    <a:pt x="2938" y="1238"/>
                  </a:lnTo>
                  <a:lnTo>
                    <a:pt x="2928" y="1259"/>
                  </a:lnTo>
                  <a:lnTo>
                    <a:pt x="2918" y="1279"/>
                  </a:lnTo>
                  <a:lnTo>
                    <a:pt x="2907" y="1299"/>
                  </a:lnTo>
                  <a:lnTo>
                    <a:pt x="2896" y="1317"/>
                  </a:lnTo>
                  <a:lnTo>
                    <a:pt x="2883" y="1335"/>
                  </a:lnTo>
                  <a:lnTo>
                    <a:pt x="2876" y="1344"/>
                  </a:lnTo>
                  <a:lnTo>
                    <a:pt x="2870" y="1352"/>
                  </a:lnTo>
                  <a:lnTo>
                    <a:pt x="2863" y="1360"/>
                  </a:lnTo>
                  <a:lnTo>
                    <a:pt x="2855" y="1368"/>
                  </a:lnTo>
                  <a:lnTo>
                    <a:pt x="2848" y="1376"/>
                  </a:lnTo>
                  <a:lnTo>
                    <a:pt x="2840" y="1384"/>
                  </a:lnTo>
                  <a:lnTo>
                    <a:pt x="2833" y="1391"/>
                  </a:lnTo>
                  <a:lnTo>
                    <a:pt x="2825" y="1399"/>
                  </a:lnTo>
                  <a:lnTo>
                    <a:pt x="2817" y="1406"/>
                  </a:lnTo>
                  <a:lnTo>
                    <a:pt x="2808" y="1412"/>
                  </a:lnTo>
                  <a:lnTo>
                    <a:pt x="2791" y="1425"/>
                  </a:lnTo>
                  <a:lnTo>
                    <a:pt x="2783" y="1431"/>
                  </a:lnTo>
                  <a:lnTo>
                    <a:pt x="2774" y="1437"/>
                  </a:lnTo>
                  <a:lnTo>
                    <a:pt x="2755" y="1448"/>
                  </a:lnTo>
                  <a:lnTo>
                    <a:pt x="2746" y="1453"/>
                  </a:lnTo>
                  <a:lnTo>
                    <a:pt x="2736" y="1458"/>
                  </a:lnTo>
                  <a:lnTo>
                    <a:pt x="2716" y="1467"/>
                  </a:lnTo>
                  <a:lnTo>
                    <a:pt x="2696" y="1476"/>
                  </a:lnTo>
                  <a:lnTo>
                    <a:pt x="2686" y="1479"/>
                  </a:lnTo>
                  <a:lnTo>
                    <a:pt x="2675" y="1483"/>
                  </a:lnTo>
                  <a:lnTo>
                    <a:pt x="2665" y="1486"/>
                  </a:lnTo>
                  <a:lnTo>
                    <a:pt x="2654" y="1489"/>
                  </a:lnTo>
                  <a:lnTo>
                    <a:pt x="2632" y="1494"/>
                  </a:lnTo>
                  <a:lnTo>
                    <a:pt x="2609" y="1498"/>
                  </a:lnTo>
                  <a:lnTo>
                    <a:pt x="2598" y="1499"/>
                  </a:lnTo>
                  <a:lnTo>
                    <a:pt x="2586" y="1501"/>
                  </a:lnTo>
                  <a:lnTo>
                    <a:pt x="2563" y="1502"/>
                  </a:lnTo>
                  <a:lnTo>
                    <a:pt x="2551" y="1503"/>
                  </a:lnTo>
                  <a:lnTo>
                    <a:pt x="2539" y="1503"/>
                  </a:lnTo>
                  <a:lnTo>
                    <a:pt x="2513" y="1502"/>
                  </a:lnTo>
                  <a:lnTo>
                    <a:pt x="2501" y="1502"/>
                  </a:lnTo>
                  <a:lnTo>
                    <a:pt x="2488" y="1501"/>
                  </a:lnTo>
                  <a:lnTo>
                    <a:pt x="2475" y="1500"/>
                  </a:lnTo>
                  <a:lnTo>
                    <a:pt x="2462" y="1498"/>
                  </a:lnTo>
                  <a:lnTo>
                    <a:pt x="2439" y="1494"/>
                  </a:lnTo>
                  <a:lnTo>
                    <a:pt x="2415" y="1489"/>
                  </a:lnTo>
                  <a:lnTo>
                    <a:pt x="2393" y="1484"/>
                  </a:lnTo>
                  <a:lnTo>
                    <a:pt x="2382" y="1480"/>
                  </a:lnTo>
                  <a:lnTo>
                    <a:pt x="2371" y="1477"/>
                  </a:lnTo>
                  <a:lnTo>
                    <a:pt x="2350" y="1469"/>
                  </a:lnTo>
                  <a:lnTo>
                    <a:pt x="2329" y="1460"/>
                  </a:lnTo>
                  <a:lnTo>
                    <a:pt x="2319" y="1455"/>
                  </a:lnTo>
                  <a:lnTo>
                    <a:pt x="2309" y="1450"/>
                  </a:lnTo>
                  <a:lnTo>
                    <a:pt x="2290" y="1440"/>
                  </a:lnTo>
                  <a:lnTo>
                    <a:pt x="2272" y="1428"/>
                  </a:lnTo>
                  <a:lnTo>
                    <a:pt x="2254" y="1415"/>
                  </a:lnTo>
                  <a:lnTo>
                    <a:pt x="2246" y="1409"/>
                  </a:lnTo>
                  <a:lnTo>
                    <a:pt x="2237" y="1402"/>
                  </a:lnTo>
                  <a:lnTo>
                    <a:pt x="2221" y="1388"/>
                  </a:lnTo>
                  <a:lnTo>
                    <a:pt x="2206" y="1372"/>
                  </a:lnTo>
                  <a:lnTo>
                    <a:pt x="2199" y="1364"/>
                  </a:lnTo>
                  <a:lnTo>
                    <a:pt x="2192" y="1356"/>
                  </a:lnTo>
                  <a:lnTo>
                    <a:pt x="2185" y="1348"/>
                  </a:lnTo>
                  <a:lnTo>
                    <a:pt x="2178" y="1339"/>
                  </a:lnTo>
                  <a:lnTo>
                    <a:pt x="2172" y="1330"/>
                  </a:lnTo>
                  <a:lnTo>
                    <a:pt x="2166" y="1321"/>
                  </a:lnTo>
                  <a:lnTo>
                    <a:pt x="2154" y="1303"/>
                  </a:lnTo>
                  <a:lnTo>
                    <a:pt x="2143" y="1283"/>
                  </a:lnTo>
                  <a:lnTo>
                    <a:pt x="2138" y="1273"/>
                  </a:lnTo>
                  <a:lnTo>
                    <a:pt x="2133" y="1263"/>
                  </a:lnTo>
                  <a:lnTo>
                    <a:pt x="2124" y="1242"/>
                  </a:lnTo>
                  <a:lnTo>
                    <a:pt x="2115" y="1220"/>
                  </a:lnTo>
                  <a:lnTo>
                    <a:pt x="2108" y="1197"/>
                  </a:lnTo>
                  <a:lnTo>
                    <a:pt x="2101" y="1174"/>
                  </a:lnTo>
                  <a:lnTo>
                    <a:pt x="2096" y="1150"/>
                  </a:lnTo>
                  <a:lnTo>
                    <a:pt x="2094" y="1138"/>
                  </a:lnTo>
                  <a:lnTo>
                    <a:pt x="2092" y="1125"/>
                  </a:lnTo>
                  <a:lnTo>
                    <a:pt x="2088" y="1100"/>
                  </a:lnTo>
                  <a:lnTo>
                    <a:pt x="2085" y="1074"/>
                  </a:lnTo>
                  <a:lnTo>
                    <a:pt x="2085" y="1061"/>
                  </a:lnTo>
                  <a:lnTo>
                    <a:pt x="2084" y="1047"/>
                  </a:lnTo>
                  <a:lnTo>
                    <a:pt x="2083" y="1020"/>
                  </a:lnTo>
                  <a:lnTo>
                    <a:pt x="2084" y="995"/>
                  </a:lnTo>
                  <a:lnTo>
                    <a:pt x="2085" y="983"/>
                  </a:lnTo>
                  <a:lnTo>
                    <a:pt x="2085" y="970"/>
                  </a:lnTo>
                  <a:lnTo>
                    <a:pt x="2088" y="946"/>
                  </a:lnTo>
                  <a:lnTo>
                    <a:pt x="2092" y="922"/>
                  </a:lnTo>
                  <a:lnTo>
                    <a:pt x="2096" y="899"/>
                  </a:lnTo>
                  <a:lnTo>
                    <a:pt x="2102" y="876"/>
                  </a:lnTo>
                  <a:lnTo>
                    <a:pt x="2108" y="854"/>
                  </a:lnTo>
                  <a:lnTo>
                    <a:pt x="2116" y="832"/>
                  </a:lnTo>
                  <a:lnTo>
                    <a:pt x="2124" y="811"/>
                  </a:lnTo>
                  <a:lnTo>
                    <a:pt x="2133" y="791"/>
                  </a:lnTo>
                  <a:lnTo>
                    <a:pt x="2138" y="781"/>
                  </a:lnTo>
                  <a:lnTo>
                    <a:pt x="2144" y="770"/>
                  </a:lnTo>
                  <a:lnTo>
                    <a:pt x="2155" y="751"/>
                  </a:lnTo>
                  <a:lnTo>
                    <a:pt x="2160" y="742"/>
                  </a:lnTo>
                  <a:lnTo>
                    <a:pt x="2166" y="732"/>
                  </a:lnTo>
                  <a:lnTo>
                    <a:pt x="2173" y="723"/>
                  </a:lnTo>
                  <a:lnTo>
                    <a:pt x="2179" y="715"/>
                  </a:lnTo>
                  <a:lnTo>
                    <a:pt x="2193" y="698"/>
                  </a:lnTo>
                  <a:lnTo>
                    <a:pt x="2207" y="681"/>
                  </a:lnTo>
                  <a:lnTo>
                    <a:pt x="2222" y="666"/>
                  </a:lnTo>
                  <a:lnTo>
                    <a:pt x="2238" y="651"/>
                  </a:lnTo>
                  <a:lnTo>
                    <a:pt x="2255" y="637"/>
                  </a:lnTo>
                  <a:lnTo>
                    <a:pt x="2272" y="624"/>
                  </a:lnTo>
                  <a:lnTo>
                    <a:pt x="2290" y="612"/>
                  </a:lnTo>
                  <a:lnTo>
                    <a:pt x="2309" y="601"/>
                  </a:lnTo>
                  <a:lnTo>
                    <a:pt x="2329" y="591"/>
                  </a:lnTo>
                  <a:lnTo>
                    <a:pt x="2349" y="582"/>
                  </a:lnTo>
                  <a:lnTo>
                    <a:pt x="2359" y="577"/>
                  </a:lnTo>
                  <a:lnTo>
                    <a:pt x="2370" y="573"/>
                  </a:lnTo>
                  <a:lnTo>
                    <a:pt x="2391" y="566"/>
                  </a:lnTo>
                  <a:lnTo>
                    <a:pt x="2413" y="560"/>
                  </a:lnTo>
                  <a:lnTo>
                    <a:pt x="2436" y="555"/>
                  </a:lnTo>
                  <a:lnTo>
                    <a:pt x="2447" y="553"/>
                  </a:lnTo>
                  <a:lnTo>
                    <a:pt x="2459" y="551"/>
                  </a:lnTo>
                  <a:lnTo>
                    <a:pt x="2471" y="549"/>
                  </a:lnTo>
                  <a:lnTo>
                    <a:pt x="2483" y="548"/>
                  </a:lnTo>
                  <a:lnTo>
                    <a:pt x="2508" y="546"/>
                  </a:lnTo>
                  <a:lnTo>
                    <a:pt x="2521" y="546"/>
                  </a:lnTo>
                  <a:lnTo>
                    <a:pt x="2533" y="545"/>
                  </a:lnTo>
                  <a:lnTo>
                    <a:pt x="2559" y="546"/>
                  </a:lnTo>
                  <a:lnTo>
                    <a:pt x="2585" y="548"/>
                  </a:lnTo>
                  <a:lnTo>
                    <a:pt x="2610" y="551"/>
                  </a:lnTo>
                  <a:lnTo>
                    <a:pt x="2634" y="554"/>
                  </a:lnTo>
                  <a:lnTo>
                    <a:pt x="2657" y="559"/>
                  </a:lnTo>
                  <a:lnTo>
                    <a:pt x="2679" y="566"/>
                  </a:lnTo>
                  <a:lnTo>
                    <a:pt x="2701" y="573"/>
                  </a:lnTo>
                  <a:lnTo>
                    <a:pt x="2722" y="581"/>
                  </a:lnTo>
                  <a:lnTo>
                    <a:pt x="2742" y="590"/>
                  </a:lnTo>
                  <a:lnTo>
                    <a:pt x="2762" y="600"/>
                  </a:lnTo>
                  <a:lnTo>
                    <a:pt x="2780" y="611"/>
                  </a:lnTo>
                  <a:lnTo>
                    <a:pt x="2798" y="623"/>
                  </a:lnTo>
                  <a:lnTo>
                    <a:pt x="2815" y="636"/>
                  </a:lnTo>
                  <a:lnTo>
                    <a:pt x="2832" y="650"/>
                  </a:lnTo>
                  <a:lnTo>
                    <a:pt x="2847" y="664"/>
                  </a:lnTo>
                  <a:lnTo>
                    <a:pt x="2862" y="680"/>
                  </a:lnTo>
                  <a:lnTo>
                    <a:pt x="2876" y="696"/>
                  </a:lnTo>
                  <a:lnTo>
                    <a:pt x="2889" y="713"/>
                  </a:lnTo>
                  <a:lnTo>
                    <a:pt x="2901" y="731"/>
                  </a:lnTo>
                  <a:lnTo>
                    <a:pt x="2907" y="740"/>
                  </a:lnTo>
                  <a:lnTo>
                    <a:pt x="2912" y="749"/>
                  </a:lnTo>
                  <a:lnTo>
                    <a:pt x="2917" y="759"/>
                  </a:lnTo>
                  <a:lnTo>
                    <a:pt x="2923" y="769"/>
                  </a:lnTo>
                  <a:lnTo>
                    <a:pt x="2932" y="790"/>
                  </a:lnTo>
                  <a:lnTo>
                    <a:pt x="2941" y="810"/>
                  </a:lnTo>
                  <a:lnTo>
                    <a:pt x="2949" y="832"/>
                  </a:lnTo>
                  <a:lnTo>
                    <a:pt x="2956" y="854"/>
                  </a:lnTo>
                  <a:lnTo>
                    <a:pt x="2962" y="876"/>
                  </a:lnTo>
                  <a:lnTo>
                    <a:pt x="2967" y="899"/>
                  </a:lnTo>
                  <a:lnTo>
                    <a:pt x="2971" y="923"/>
                  </a:lnTo>
                  <a:lnTo>
                    <a:pt x="2974" y="948"/>
                  </a:lnTo>
                  <a:lnTo>
                    <a:pt x="2977" y="972"/>
                  </a:lnTo>
                  <a:lnTo>
                    <a:pt x="2978" y="998"/>
                  </a:lnTo>
                  <a:lnTo>
                    <a:pt x="2979" y="1024"/>
                  </a:lnTo>
                  <a:close/>
                  <a:moveTo>
                    <a:pt x="2718" y="1022"/>
                  </a:moveTo>
                  <a:lnTo>
                    <a:pt x="2718" y="1007"/>
                  </a:lnTo>
                  <a:lnTo>
                    <a:pt x="2717" y="992"/>
                  </a:lnTo>
                  <a:lnTo>
                    <a:pt x="2716" y="978"/>
                  </a:lnTo>
                  <a:lnTo>
                    <a:pt x="2715" y="964"/>
                  </a:lnTo>
                  <a:lnTo>
                    <a:pt x="2713" y="951"/>
                  </a:lnTo>
                  <a:lnTo>
                    <a:pt x="2711" y="938"/>
                  </a:lnTo>
                  <a:lnTo>
                    <a:pt x="2709" y="926"/>
                  </a:lnTo>
                  <a:lnTo>
                    <a:pt x="2706" y="913"/>
                  </a:lnTo>
                  <a:lnTo>
                    <a:pt x="2702" y="902"/>
                  </a:lnTo>
                  <a:lnTo>
                    <a:pt x="2699" y="890"/>
                  </a:lnTo>
                  <a:lnTo>
                    <a:pt x="2695" y="880"/>
                  </a:lnTo>
                  <a:lnTo>
                    <a:pt x="2690" y="869"/>
                  </a:lnTo>
                  <a:lnTo>
                    <a:pt x="2685" y="859"/>
                  </a:lnTo>
                  <a:lnTo>
                    <a:pt x="2680" y="850"/>
                  </a:lnTo>
                  <a:lnTo>
                    <a:pt x="2675" y="841"/>
                  </a:lnTo>
                  <a:lnTo>
                    <a:pt x="2669" y="832"/>
                  </a:lnTo>
                  <a:lnTo>
                    <a:pt x="2663" y="824"/>
                  </a:lnTo>
                  <a:lnTo>
                    <a:pt x="2657" y="816"/>
                  </a:lnTo>
                  <a:lnTo>
                    <a:pt x="2650" y="809"/>
                  </a:lnTo>
                  <a:lnTo>
                    <a:pt x="2643" y="802"/>
                  </a:lnTo>
                  <a:lnTo>
                    <a:pt x="2635" y="796"/>
                  </a:lnTo>
                  <a:lnTo>
                    <a:pt x="2627" y="791"/>
                  </a:lnTo>
                  <a:lnTo>
                    <a:pt x="2619" y="785"/>
                  </a:lnTo>
                  <a:lnTo>
                    <a:pt x="2611" y="781"/>
                  </a:lnTo>
                  <a:lnTo>
                    <a:pt x="2602" y="776"/>
                  </a:lnTo>
                  <a:lnTo>
                    <a:pt x="2593" y="772"/>
                  </a:lnTo>
                  <a:lnTo>
                    <a:pt x="2584" y="769"/>
                  </a:lnTo>
                  <a:lnTo>
                    <a:pt x="2574" y="767"/>
                  </a:lnTo>
                  <a:lnTo>
                    <a:pt x="2565" y="765"/>
                  </a:lnTo>
                  <a:lnTo>
                    <a:pt x="2554" y="763"/>
                  </a:lnTo>
                  <a:lnTo>
                    <a:pt x="2544" y="762"/>
                  </a:lnTo>
                  <a:lnTo>
                    <a:pt x="2533" y="762"/>
                  </a:lnTo>
                  <a:lnTo>
                    <a:pt x="2523" y="762"/>
                  </a:lnTo>
                  <a:lnTo>
                    <a:pt x="2512" y="763"/>
                  </a:lnTo>
                  <a:lnTo>
                    <a:pt x="2502" y="765"/>
                  </a:lnTo>
                  <a:lnTo>
                    <a:pt x="2492" y="767"/>
                  </a:lnTo>
                  <a:lnTo>
                    <a:pt x="2481" y="769"/>
                  </a:lnTo>
                  <a:lnTo>
                    <a:pt x="2472" y="772"/>
                  </a:lnTo>
                  <a:lnTo>
                    <a:pt x="2463" y="776"/>
                  </a:lnTo>
                  <a:lnTo>
                    <a:pt x="2454" y="781"/>
                  </a:lnTo>
                  <a:lnTo>
                    <a:pt x="2446" y="786"/>
                  </a:lnTo>
                  <a:lnTo>
                    <a:pt x="2437" y="791"/>
                  </a:lnTo>
                  <a:lnTo>
                    <a:pt x="2429" y="797"/>
                  </a:lnTo>
                  <a:lnTo>
                    <a:pt x="2422" y="803"/>
                  </a:lnTo>
                  <a:lnTo>
                    <a:pt x="2415" y="810"/>
                  </a:lnTo>
                  <a:lnTo>
                    <a:pt x="2408" y="817"/>
                  </a:lnTo>
                  <a:lnTo>
                    <a:pt x="2401" y="825"/>
                  </a:lnTo>
                  <a:lnTo>
                    <a:pt x="2395" y="833"/>
                  </a:lnTo>
                  <a:lnTo>
                    <a:pt x="2389" y="842"/>
                  </a:lnTo>
                  <a:lnTo>
                    <a:pt x="2383" y="851"/>
                  </a:lnTo>
                  <a:lnTo>
                    <a:pt x="2378" y="860"/>
                  </a:lnTo>
                  <a:lnTo>
                    <a:pt x="2373" y="870"/>
                  </a:lnTo>
                  <a:lnTo>
                    <a:pt x="2368" y="881"/>
                  </a:lnTo>
                  <a:lnTo>
                    <a:pt x="2364" y="891"/>
                  </a:lnTo>
                  <a:lnTo>
                    <a:pt x="2360" y="903"/>
                  </a:lnTo>
                  <a:lnTo>
                    <a:pt x="2357" y="914"/>
                  </a:lnTo>
                  <a:lnTo>
                    <a:pt x="2354" y="926"/>
                  </a:lnTo>
                  <a:lnTo>
                    <a:pt x="2351" y="939"/>
                  </a:lnTo>
                  <a:lnTo>
                    <a:pt x="2349" y="951"/>
                  </a:lnTo>
                  <a:lnTo>
                    <a:pt x="2347" y="964"/>
                  </a:lnTo>
                  <a:lnTo>
                    <a:pt x="2346" y="978"/>
                  </a:lnTo>
                  <a:lnTo>
                    <a:pt x="2344" y="991"/>
                  </a:lnTo>
                  <a:lnTo>
                    <a:pt x="2344" y="1005"/>
                  </a:lnTo>
                  <a:lnTo>
                    <a:pt x="2344" y="1020"/>
                  </a:lnTo>
                  <a:lnTo>
                    <a:pt x="2344" y="1034"/>
                  </a:lnTo>
                  <a:lnTo>
                    <a:pt x="2344" y="1049"/>
                  </a:lnTo>
                  <a:lnTo>
                    <a:pt x="2346" y="1063"/>
                  </a:lnTo>
                  <a:lnTo>
                    <a:pt x="2347" y="1076"/>
                  </a:lnTo>
                  <a:lnTo>
                    <a:pt x="2349" y="1090"/>
                  </a:lnTo>
                  <a:lnTo>
                    <a:pt x="2351" y="1103"/>
                  </a:lnTo>
                  <a:lnTo>
                    <a:pt x="2357" y="1127"/>
                  </a:lnTo>
                  <a:lnTo>
                    <a:pt x="2361" y="1139"/>
                  </a:lnTo>
                  <a:lnTo>
                    <a:pt x="2365" y="1150"/>
                  </a:lnTo>
                  <a:lnTo>
                    <a:pt x="2369" y="1162"/>
                  </a:lnTo>
                  <a:lnTo>
                    <a:pt x="2374" y="1172"/>
                  </a:lnTo>
                  <a:lnTo>
                    <a:pt x="2379" y="1182"/>
                  </a:lnTo>
                  <a:lnTo>
                    <a:pt x="2384" y="1192"/>
                  </a:lnTo>
                  <a:lnTo>
                    <a:pt x="2396" y="1210"/>
                  </a:lnTo>
                  <a:lnTo>
                    <a:pt x="2402" y="1219"/>
                  </a:lnTo>
                  <a:lnTo>
                    <a:pt x="2409" y="1227"/>
                  </a:lnTo>
                  <a:lnTo>
                    <a:pt x="2416" y="1234"/>
                  </a:lnTo>
                  <a:lnTo>
                    <a:pt x="2424" y="1241"/>
                  </a:lnTo>
                  <a:lnTo>
                    <a:pt x="2431" y="1247"/>
                  </a:lnTo>
                  <a:lnTo>
                    <a:pt x="2439" y="1253"/>
                  </a:lnTo>
                  <a:lnTo>
                    <a:pt x="2448" y="1259"/>
                  </a:lnTo>
                  <a:lnTo>
                    <a:pt x="2457" y="1264"/>
                  </a:lnTo>
                  <a:lnTo>
                    <a:pt x="2465" y="1268"/>
                  </a:lnTo>
                  <a:lnTo>
                    <a:pt x="2475" y="1272"/>
                  </a:lnTo>
                  <a:lnTo>
                    <a:pt x="2484" y="1275"/>
                  </a:lnTo>
                  <a:lnTo>
                    <a:pt x="2495" y="1278"/>
                  </a:lnTo>
                  <a:lnTo>
                    <a:pt x="2505" y="1280"/>
                  </a:lnTo>
                  <a:lnTo>
                    <a:pt x="2516" y="1281"/>
                  </a:lnTo>
                  <a:lnTo>
                    <a:pt x="2526" y="1282"/>
                  </a:lnTo>
                  <a:lnTo>
                    <a:pt x="2537" y="1283"/>
                  </a:lnTo>
                  <a:lnTo>
                    <a:pt x="2548" y="1282"/>
                  </a:lnTo>
                  <a:lnTo>
                    <a:pt x="2558" y="1281"/>
                  </a:lnTo>
                  <a:lnTo>
                    <a:pt x="2568" y="1280"/>
                  </a:lnTo>
                  <a:lnTo>
                    <a:pt x="2578" y="1278"/>
                  </a:lnTo>
                  <a:lnTo>
                    <a:pt x="2587" y="1275"/>
                  </a:lnTo>
                  <a:lnTo>
                    <a:pt x="2596" y="1272"/>
                  </a:lnTo>
                  <a:lnTo>
                    <a:pt x="2600" y="1271"/>
                  </a:lnTo>
                  <a:lnTo>
                    <a:pt x="2605" y="1269"/>
                  </a:lnTo>
                  <a:lnTo>
                    <a:pt x="2613" y="1264"/>
                  </a:lnTo>
                  <a:lnTo>
                    <a:pt x="2622" y="1260"/>
                  </a:lnTo>
                  <a:lnTo>
                    <a:pt x="2630" y="1255"/>
                  </a:lnTo>
                  <a:lnTo>
                    <a:pt x="2637" y="1249"/>
                  </a:lnTo>
                  <a:lnTo>
                    <a:pt x="2644" y="1243"/>
                  </a:lnTo>
                  <a:lnTo>
                    <a:pt x="2651" y="1236"/>
                  </a:lnTo>
                  <a:lnTo>
                    <a:pt x="2658" y="1229"/>
                  </a:lnTo>
                  <a:lnTo>
                    <a:pt x="2664" y="1221"/>
                  </a:lnTo>
                  <a:lnTo>
                    <a:pt x="2670" y="1213"/>
                  </a:lnTo>
                  <a:lnTo>
                    <a:pt x="2676" y="1204"/>
                  </a:lnTo>
                  <a:lnTo>
                    <a:pt x="2681" y="1195"/>
                  </a:lnTo>
                  <a:lnTo>
                    <a:pt x="2686" y="1185"/>
                  </a:lnTo>
                  <a:lnTo>
                    <a:pt x="2691" y="1175"/>
                  </a:lnTo>
                  <a:lnTo>
                    <a:pt x="2695" y="1165"/>
                  </a:lnTo>
                  <a:lnTo>
                    <a:pt x="2699" y="1154"/>
                  </a:lnTo>
                  <a:lnTo>
                    <a:pt x="2703" y="1142"/>
                  </a:lnTo>
                  <a:lnTo>
                    <a:pt x="2706" y="1131"/>
                  </a:lnTo>
                  <a:lnTo>
                    <a:pt x="2709" y="1118"/>
                  </a:lnTo>
                  <a:lnTo>
                    <a:pt x="2711" y="1106"/>
                  </a:lnTo>
                  <a:lnTo>
                    <a:pt x="2713" y="1093"/>
                  </a:lnTo>
                  <a:lnTo>
                    <a:pt x="2715" y="1079"/>
                  </a:lnTo>
                  <a:lnTo>
                    <a:pt x="2717" y="1065"/>
                  </a:lnTo>
                  <a:lnTo>
                    <a:pt x="2718" y="1051"/>
                  </a:lnTo>
                  <a:lnTo>
                    <a:pt x="2718" y="1037"/>
                  </a:lnTo>
                  <a:lnTo>
                    <a:pt x="2718" y="1022"/>
                  </a:lnTo>
                  <a:close/>
                  <a:moveTo>
                    <a:pt x="5165" y="1037"/>
                  </a:moveTo>
                  <a:lnTo>
                    <a:pt x="5165" y="570"/>
                  </a:lnTo>
                  <a:lnTo>
                    <a:pt x="4907" y="570"/>
                  </a:lnTo>
                  <a:lnTo>
                    <a:pt x="4907" y="1037"/>
                  </a:lnTo>
                  <a:lnTo>
                    <a:pt x="4906" y="1070"/>
                  </a:lnTo>
                  <a:lnTo>
                    <a:pt x="4905" y="1100"/>
                  </a:lnTo>
                  <a:lnTo>
                    <a:pt x="4904" y="1114"/>
                  </a:lnTo>
                  <a:lnTo>
                    <a:pt x="4903" y="1127"/>
                  </a:lnTo>
                  <a:lnTo>
                    <a:pt x="4900" y="1152"/>
                  </a:lnTo>
                  <a:lnTo>
                    <a:pt x="4895" y="1174"/>
                  </a:lnTo>
                  <a:lnTo>
                    <a:pt x="4890" y="1194"/>
                  </a:lnTo>
                  <a:lnTo>
                    <a:pt x="4887" y="1203"/>
                  </a:lnTo>
                  <a:lnTo>
                    <a:pt x="4883" y="1211"/>
                  </a:lnTo>
                  <a:lnTo>
                    <a:pt x="4879" y="1219"/>
                  </a:lnTo>
                  <a:lnTo>
                    <a:pt x="4875" y="1226"/>
                  </a:lnTo>
                  <a:lnTo>
                    <a:pt x="4866" y="1240"/>
                  </a:lnTo>
                  <a:lnTo>
                    <a:pt x="4860" y="1245"/>
                  </a:lnTo>
                  <a:lnTo>
                    <a:pt x="4855" y="1251"/>
                  </a:lnTo>
                  <a:lnTo>
                    <a:pt x="4849" y="1255"/>
                  </a:lnTo>
                  <a:lnTo>
                    <a:pt x="4843" y="1260"/>
                  </a:lnTo>
                  <a:lnTo>
                    <a:pt x="4836" y="1264"/>
                  </a:lnTo>
                  <a:lnTo>
                    <a:pt x="4829" y="1267"/>
                  </a:lnTo>
                  <a:lnTo>
                    <a:pt x="4821" y="1270"/>
                  </a:lnTo>
                  <a:lnTo>
                    <a:pt x="4813" y="1273"/>
                  </a:lnTo>
                  <a:lnTo>
                    <a:pt x="4805" y="1275"/>
                  </a:lnTo>
                  <a:lnTo>
                    <a:pt x="4796" y="1276"/>
                  </a:lnTo>
                  <a:lnTo>
                    <a:pt x="4787" y="1278"/>
                  </a:lnTo>
                  <a:lnTo>
                    <a:pt x="4777" y="1279"/>
                  </a:lnTo>
                  <a:lnTo>
                    <a:pt x="4767" y="1279"/>
                  </a:lnTo>
                  <a:lnTo>
                    <a:pt x="4757" y="1279"/>
                  </a:lnTo>
                  <a:lnTo>
                    <a:pt x="4746" y="1279"/>
                  </a:lnTo>
                  <a:lnTo>
                    <a:pt x="4735" y="1279"/>
                  </a:lnTo>
                  <a:lnTo>
                    <a:pt x="4725" y="1278"/>
                  </a:lnTo>
                  <a:lnTo>
                    <a:pt x="4715" y="1276"/>
                  </a:lnTo>
                  <a:lnTo>
                    <a:pt x="4706" y="1275"/>
                  </a:lnTo>
                  <a:lnTo>
                    <a:pt x="4697" y="1273"/>
                  </a:lnTo>
                  <a:lnTo>
                    <a:pt x="4689" y="1270"/>
                  </a:lnTo>
                  <a:lnTo>
                    <a:pt x="4681" y="1267"/>
                  </a:lnTo>
                  <a:lnTo>
                    <a:pt x="4674" y="1264"/>
                  </a:lnTo>
                  <a:lnTo>
                    <a:pt x="4667" y="1260"/>
                  </a:lnTo>
                  <a:lnTo>
                    <a:pt x="4660" y="1256"/>
                  </a:lnTo>
                  <a:lnTo>
                    <a:pt x="4654" y="1251"/>
                  </a:lnTo>
                  <a:lnTo>
                    <a:pt x="4648" y="1246"/>
                  </a:lnTo>
                  <a:lnTo>
                    <a:pt x="4642" y="1241"/>
                  </a:lnTo>
                  <a:lnTo>
                    <a:pt x="4637" y="1235"/>
                  </a:lnTo>
                  <a:lnTo>
                    <a:pt x="4632" y="1228"/>
                  </a:lnTo>
                  <a:lnTo>
                    <a:pt x="4627" y="1221"/>
                  </a:lnTo>
                  <a:lnTo>
                    <a:pt x="4623" y="1214"/>
                  </a:lnTo>
                  <a:lnTo>
                    <a:pt x="4619" y="1206"/>
                  </a:lnTo>
                  <a:lnTo>
                    <a:pt x="4616" y="1197"/>
                  </a:lnTo>
                  <a:lnTo>
                    <a:pt x="4613" y="1188"/>
                  </a:lnTo>
                  <a:lnTo>
                    <a:pt x="4610" y="1179"/>
                  </a:lnTo>
                  <a:lnTo>
                    <a:pt x="4607" y="1169"/>
                  </a:lnTo>
                  <a:lnTo>
                    <a:pt x="4605" y="1158"/>
                  </a:lnTo>
                  <a:lnTo>
                    <a:pt x="4603" y="1147"/>
                  </a:lnTo>
                  <a:lnTo>
                    <a:pt x="4601" y="1135"/>
                  </a:lnTo>
                  <a:lnTo>
                    <a:pt x="4600" y="1123"/>
                  </a:lnTo>
                  <a:lnTo>
                    <a:pt x="4599" y="1110"/>
                  </a:lnTo>
                  <a:lnTo>
                    <a:pt x="4598" y="1096"/>
                  </a:lnTo>
                  <a:lnTo>
                    <a:pt x="4597" y="1082"/>
                  </a:lnTo>
                  <a:lnTo>
                    <a:pt x="4597" y="1052"/>
                  </a:lnTo>
                  <a:lnTo>
                    <a:pt x="4597" y="570"/>
                  </a:lnTo>
                  <a:lnTo>
                    <a:pt x="4338" y="570"/>
                  </a:lnTo>
                  <a:lnTo>
                    <a:pt x="4338" y="1048"/>
                  </a:lnTo>
                  <a:lnTo>
                    <a:pt x="4339" y="1067"/>
                  </a:lnTo>
                  <a:lnTo>
                    <a:pt x="4339" y="1084"/>
                  </a:lnTo>
                  <a:lnTo>
                    <a:pt x="4340" y="1118"/>
                  </a:lnTo>
                  <a:lnTo>
                    <a:pt x="4342" y="1149"/>
                  </a:lnTo>
                  <a:lnTo>
                    <a:pt x="4345" y="1178"/>
                  </a:lnTo>
                  <a:lnTo>
                    <a:pt x="4347" y="1192"/>
                  </a:lnTo>
                  <a:lnTo>
                    <a:pt x="4349" y="1205"/>
                  </a:lnTo>
                  <a:lnTo>
                    <a:pt x="4353" y="1230"/>
                  </a:lnTo>
                  <a:lnTo>
                    <a:pt x="4356" y="1242"/>
                  </a:lnTo>
                  <a:lnTo>
                    <a:pt x="4359" y="1254"/>
                  </a:lnTo>
                  <a:lnTo>
                    <a:pt x="4362" y="1265"/>
                  </a:lnTo>
                  <a:lnTo>
                    <a:pt x="4366" y="1275"/>
                  </a:lnTo>
                  <a:lnTo>
                    <a:pt x="4373" y="1296"/>
                  </a:lnTo>
                  <a:lnTo>
                    <a:pt x="4382" y="1315"/>
                  </a:lnTo>
                  <a:lnTo>
                    <a:pt x="4392" y="1333"/>
                  </a:lnTo>
                  <a:lnTo>
                    <a:pt x="4398" y="1341"/>
                  </a:lnTo>
                  <a:lnTo>
                    <a:pt x="4404" y="1350"/>
                  </a:lnTo>
                  <a:lnTo>
                    <a:pt x="4410" y="1358"/>
                  </a:lnTo>
                  <a:lnTo>
                    <a:pt x="4416" y="1366"/>
                  </a:lnTo>
                  <a:lnTo>
                    <a:pt x="4423" y="1373"/>
                  </a:lnTo>
                  <a:lnTo>
                    <a:pt x="4430" y="1381"/>
                  </a:lnTo>
                  <a:lnTo>
                    <a:pt x="4437" y="1388"/>
                  </a:lnTo>
                  <a:lnTo>
                    <a:pt x="4445" y="1396"/>
                  </a:lnTo>
                  <a:lnTo>
                    <a:pt x="4461" y="1410"/>
                  </a:lnTo>
                  <a:lnTo>
                    <a:pt x="4475" y="1421"/>
                  </a:lnTo>
                  <a:lnTo>
                    <a:pt x="4489" y="1431"/>
                  </a:lnTo>
                  <a:lnTo>
                    <a:pt x="4505" y="1440"/>
                  </a:lnTo>
                  <a:lnTo>
                    <a:pt x="4520" y="1449"/>
                  </a:lnTo>
                  <a:lnTo>
                    <a:pt x="4537" y="1457"/>
                  </a:lnTo>
                  <a:lnTo>
                    <a:pt x="4554" y="1464"/>
                  </a:lnTo>
                  <a:lnTo>
                    <a:pt x="4572" y="1471"/>
                  </a:lnTo>
                  <a:lnTo>
                    <a:pt x="4590" y="1477"/>
                  </a:lnTo>
                  <a:lnTo>
                    <a:pt x="4609" y="1482"/>
                  </a:lnTo>
                  <a:lnTo>
                    <a:pt x="4619" y="1484"/>
                  </a:lnTo>
                  <a:lnTo>
                    <a:pt x="4628" y="1486"/>
                  </a:lnTo>
                  <a:lnTo>
                    <a:pt x="4638" y="1489"/>
                  </a:lnTo>
                  <a:lnTo>
                    <a:pt x="4648" y="1490"/>
                  </a:lnTo>
                  <a:lnTo>
                    <a:pt x="4669" y="1494"/>
                  </a:lnTo>
                  <a:lnTo>
                    <a:pt x="4689" y="1496"/>
                  </a:lnTo>
                  <a:lnTo>
                    <a:pt x="4711" y="1498"/>
                  </a:lnTo>
                  <a:lnTo>
                    <a:pt x="4732" y="1499"/>
                  </a:lnTo>
                  <a:lnTo>
                    <a:pt x="4755" y="1499"/>
                  </a:lnTo>
                  <a:lnTo>
                    <a:pt x="4781" y="1499"/>
                  </a:lnTo>
                  <a:lnTo>
                    <a:pt x="4806" y="1497"/>
                  </a:lnTo>
                  <a:lnTo>
                    <a:pt x="4818" y="1496"/>
                  </a:lnTo>
                  <a:lnTo>
                    <a:pt x="4831" y="1494"/>
                  </a:lnTo>
                  <a:lnTo>
                    <a:pt x="4855" y="1491"/>
                  </a:lnTo>
                  <a:lnTo>
                    <a:pt x="4878" y="1486"/>
                  </a:lnTo>
                  <a:lnTo>
                    <a:pt x="4900" y="1480"/>
                  </a:lnTo>
                  <a:lnTo>
                    <a:pt x="4911" y="1477"/>
                  </a:lnTo>
                  <a:lnTo>
                    <a:pt x="4922" y="1474"/>
                  </a:lnTo>
                  <a:lnTo>
                    <a:pt x="4943" y="1466"/>
                  </a:lnTo>
                  <a:lnTo>
                    <a:pt x="4953" y="1462"/>
                  </a:lnTo>
                  <a:lnTo>
                    <a:pt x="4963" y="1457"/>
                  </a:lnTo>
                  <a:lnTo>
                    <a:pt x="4983" y="1448"/>
                  </a:lnTo>
                  <a:lnTo>
                    <a:pt x="5001" y="1437"/>
                  </a:lnTo>
                  <a:lnTo>
                    <a:pt x="5019" y="1426"/>
                  </a:lnTo>
                  <a:lnTo>
                    <a:pt x="5036" y="1413"/>
                  </a:lnTo>
                  <a:lnTo>
                    <a:pt x="5044" y="1407"/>
                  </a:lnTo>
                  <a:lnTo>
                    <a:pt x="5052" y="1400"/>
                  </a:lnTo>
                  <a:lnTo>
                    <a:pt x="5059" y="1393"/>
                  </a:lnTo>
                  <a:lnTo>
                    <a:pt x="5066" y="1386"/>
                  </a:lnTo>
                  <a:lnTo>
                    <a:pt x="5080" y="1370"/>
                  </a:lnTo>
                  <a:lnTo>
                    <a:pt x="5091" y="1357"/>
                  </a:lnTo>
                  <a:lnTo>
                    <a:pt x="5096" y="1350"/>
                  </a:lnTo>
                  <a:lnTo>
                    <a:pt x="5101" y="1344"/>
                  </a:lnTo>
                  <a:lnTo>
                    <a:pt x="5106" y="1336"/>
                  </a:lnTo>
                  <a:lnTo>
                    <a:pt x="5110" y="1329"/>
                  </a:lnTo>
                  <a:lnTo>
                    <a:pt x="5118" y="1314"/>
                  </a:lnTo>
                  <a:lnTo>
                    <a:pt x="5126" y="1298"/>
                  </a:lnTo>
                  <a:lnTo>
                    <a:pt x="5133" y="1280"/>
                  </a:lnTo>
                  <a:lnTo>
                    <a:pt x="5139" y="1262"/>
                  </a:lnTo>
                  <a:lnTo>
                    <a:pt x="5145" y="1243"/>
                  </a:lnTo>
                  <a:lnTo>
                    <a:pt x="5150" y="1222"/>
                  </a:lnTo>
                  <a:lnTo>
                    <a:pt x="5154" y="1200"/>
                  </a:lnTo>
                  <a:lnTo>
                    <a:pt x="5157" y="1177"/>
                  </a:lnTo>
                  <a:lnTo>
                    <a:pt x="5160" y="1152"/>
                  </a:lnTo>
                  <a:lnTo>
                    <a:pt x="5162" y="1126"/>
                  </a:lnTo>
                  <a:lnTo>
                    <a:pt x="5163" y="1112"/>
                  </a:lnTo>
                  <a:lnTo>
                    <a:pt x="5164" y="1098"/>
                  </a:lnTo>
                  <a:lnTo>
                    <a:pt x="5165" y="1068"/>
                  </a:lnTo>
                  <a:lnTo>
                    <a:pt x="5165" y="1037"/>
                  </a:lnTo>
                  <a:close/>
                  <a:moveTo>
                    <a:pt x="6630" y="1478"/>
                  </a:moveTo>
                  <a:lnTo>
                    <a:pt x="6630" y="957"/>
                  </a:lnTo>
                  <a:lnTo>
                    <a:pt x="6629" y="905"/>
                  </a:lnTo>
                  <a:lnTo>
                    <a:pt x="6629" y="881"/>
                  </a:lnTo>
                  <a:lnTo>
                    <a:pt x="6628" y="859"/>
                  </a:lnTo>
                  <a:lnTo>
                    <a:pt x="6626" y="838"/>
                  </a:lnTo>
                  <a:lnTo>
                    <a:pt x="6625" y="819"/>
                  </a:lnTo>
                  <a:lnTo>
                    <a:pt x="6623" y="801"/>
                  </a:lnTo>
                  <a:lnTo>
                    <a:pt x="6620" y="784"/>
                  </a:lnTo>
                  <a:lnTo>
                    <a:pt x="6617" y="767"/>
                  </a:lnTo>
                  <a:lnTo>
                    <a:pt x="6614" y="752"/>
                  </a:lnTo>
                  <a:lnTo>
                    <a:pt x="6611" y="738"/>
                  </a:lnTo>
                  <a:lnTo>
                    <a:pt x="6607" y="725"/>
                  </a:lnTo>
                  <a:lnTo>
                    <a:pt x="6602" y="713"/>
                  </a:lnTo>
                  <a:lnTo>
                    <a:pt x="6597" y="701"/>
                  </a:lnTo>
                  <a:lnTo>
                    <a:pt x="6592" y="690"/>
                  </a:lnTo>
                  <a:lnTo>
                    <a:pt x="6586" y="680"/>
                  </a:lnTo>
                  <a:lnTo>
                    <a:pt x="6582" y="672"/>
                  </a:lnTo>
                  <a:lnTo>
                    <a:pt x="6577" y="665"/>
                  </a:lnTo>
                  <a:lnTo>
                    <a:pt x="6567" y="651"/>
                  </a:lnTo>
                  <a:lnTo>
                    <a:pt x="6561" y="645"/>
                  </a:lnTo>
                  <a:lnTo>
                    <a:pt x="6556" y="638"/>
                  </a:lnTo>
                  <a:lnTo>
                    <a:pt x="6543" y="626"/>
                  </a:lnTo>
                  <a:lnTo>
                    <a:pt x="6530" y="615"/>
                  </a:lnTo>
                  <a:lnTo>
                    <a:pt x="6523" y="609"/>
                  </a:lnTo>
                  <a:lnTo>
                    <a:pt x="6516" y="604"/>
                  </a:lnTo>
                  <a:lnTo>
                    <a:pt x="6501" y="594"/>
                  </a:lnTo>
                  <a:lnTo>
                    <a:pt x="6485" y="586"/>
                  </a:lnTo>
                  <a:lnTo>
                    <a:pt x="6477" y="582"/>
                  </a:lnTo>
                  <a:lnTo>
                    <a:pt x="6468" y="578"/>
                  </a:lnTo>
                  <a:lnTo>
                    <a:pt x="6451" y="571"/>
                  </a:lnTo>
                  <a:lnTo>
                    <a:pt x="6433" y="565"/>
                  </a:lnTo>
                  <a:lnTo>
                    <a:pt x="6414" y="560"/>
                  </a:lnTo>
                  <a:lnTo>
                    <a:pt x="6405" y="558"/>
                  </a:lnTo>
                  <a:lnTo>
                    <a:pt x="6395" y="556"/>
                  </a:lnTo>
                  <a:lnTo>
                    <a:pt x="6375" y="553"/>
                  </a:lnTo>
                  <a:lnTo>
                    <a:pt x="6355" y="552"/>
                  </a:lnTo>
                  <a:lnTo>
                    <a:pt x="6345" y="551"/>
                  </a:lnTo>
                  <a:lnTo>
                    <a:pt x="6335" y="551"/>
                  </a:lnTo>
                  <a:lnTo>
                    <a:pt x="6322" y="551"/>
                  </a:lnTo>
                  <a:lnTo>
                    <a:pt x="6310" y="552"/>
                  </a:lnTo>
                  <a:lnTo>
                    <a:pt x="6298" y="553"/>
                  </a:lnTo>
                  <a:lnTo>
                    <a:pt x="6286" y="554"/>
                  </a:lnTo>
                  <a:lnTo>
                    <a:pt x="6275" y="556"/>
                  </a:lnTo>
                  <a:lnTo>
                    <a:pt x="6264" y="558"/>
                  </a:lnTo>
                  <a:lnTo>
                    <a:pt x="6253" y="561"/>
                  </a:lnTo>
                  <a:lnTo>
                    <a:pt x="6242" y="564"/>
                  </a:lnTo>
                  <a:lnTo>
                    <a:pt x="6231" y="567"/>
                  </a:lnTo>
                  <a:lnTo>
                    <a:pt x="6221" y="571"/>
                  </a:lnTo>
                  <a:lnTo>
                    <a:pt x="6211" y="575"/>
                  </a:lnTo>
                  <a:lnTo>
                    <a:pt x="6201" y="580"/>
                  </a:lnTo>
                  <a:lnTo>
                    <a:pt x="6191" y="585"/>
                  </a:lnTo>
                  <a:lnTo>
                    <a:pt x="6181" y="590"/>
                  </a:lnTo>
                  <a:lnTo>
                    <a:pt x="6172" y="596"/>
                  </a:lnTo>
                  <a:lnTo>
                    <a:pt x="6163" y="602"/>
                  </a:lnTo>
                  <a:lnTo>
                    <a:pt x="6154" y="609"/>
                  </a:lnTo>
                  <a:lnTo>
                    <a:pt x="6146" y="616"/>
                  </a:lnTo>
                  <a:lnTo>
                    <a:pt x="6137" y="624"/>
                  </a:lnTo>
                  <a:lnTo>
                    <a:pt x="6129" y="632"/>
                  </a:lnTo>
                  <a:lnTo>
                    <a:pt x="6121" y="640"/>
                  </a:lnTo>
                  <a:lnTo>
                    <a:pt x="6113" y="649"/>
                  </a:lnTo>
                  <a:lnTo>
                    <a:pt x="6105" y="658"/>
                  </a:lnTo>
                  <a:lnTo>
                    <a:pt x="6098" y="668"/>
                  </a:lnTo>
                  <a:lnTo>
                    <a:pt x="6091" y="678"/>
                  </a:lnTo>
                  <a:lnTo>
                    <a:pt x="6084" y="688"/>
                  </a:lnTo>
                  <a:lnTo>
                    <a:pt x="6077" y="699"/>
                  </a:lnTo>
                  <a:lnTo>
                    <a:pt x="6070" y="711"/>
                  </a:lnTo>
                  <a:lnTo>
                    <a:pt x="6064" y="723"/>
                  </a:lnTo>
                  <a:lnTo>
                    <a:pt x="6057" y="735"/>
                  </a:lnTo>
                  <a:lnTo>
                    <a:pt x="6051" y="748"/>
                  </a:lnTo>
                  <a:lnTo>
                    <a:pt x="6045" y="761"/>
                  </a:lnTo>
                  <a:lnTo>
                    <a:pt x="6039" y="736"/>
                  </a:lnTo>
                  <a:lnTo>
                    <a:pt x="6035" y="724"/>
                  </a:lnTo>
                  <a:lnTo>
                    <a:pt x="6031" y="712"/>
                  </a:lnTo>
                  <a:lnTo>
                    <a:pt x="6022" y="690"/>
                  </a:lnTo>
                  <a:lnTo>
                    <a:pt x="6017" y="679"/>
                  </a:lnTo>
                  <a:lnTo>
                    <a:pt x="6012" y="669"/>
                  </a:lnTo>
                  <a:lnTo>
                    <a:pt x="6001" y="650"/>
                  </a:lnTo>
                  <a:lnTo>
                    <a:pt x="5995" y="642"/>
                  </a:lnTo>
                  <a:lnTo>
                    <a:pt x="5989" y="633"/>
                  </a:lnTo>
                  <a:lnTo>
                    <a:pt x="5982" y="625"/>
                  </a:lnTo>
                  <a:lnTo>
                    <a:pt x="5975" y="618"/>
                  </a:lnTo>
                  <a:lnTo>
                    <a:pt x="5968" y="610"/>
                  </a:lnTo>
                  <a:lnTo>
                    <a:pt x="5961" y="604"/>
                  </a:lnTo>
                  <a:lnTo>
                    <a:pt x="5953" y="597"/>
                  </a:lnTo>
                  <a:lnTo>
                    <a:pt x="5945" y="591"/>
                  </a:lnTo>
                  <a:lnTo>
                    <a:pt x="5937" y="586"/>
                  </a:lnTo>
                  <a:lnTo>
                    <a:pt x="5928" y="581"/>
                  </a:lnTo>
                  <a:lnTo>
                    <a:pt x="5919" y="576"/>
                  </a:lnTo>
                  <a:lnTo>
                    <a:pt x="5910" y="572"/>
                  </a:lnTo>
                  <a:lnTo>
                    <a:pt x="5900" y="568"/>
                  </a:lnTo>
                  <a:lnTo>
                    <a:pt x="5890" y="564"/>
                  </a:lnTo>
                  <a:lnTo>
                    <a:pt x="5880" y="561"/>
                  </a:lnTo>
                  <a:lnTo>
                    <a:pt x="5870" y="558"/>
                  </a:lnTo>
                  <a:lnTo>
                    <a:pt x="5859" y="556"/>
                  </a:lnTo>
                  <a:lnTo>
                    <a:pt x="5848" y="554"/>
                  </a:lnTo>
                  <a:lnTo>
                    <a:pt x="5837" y="553"/>
                  </a:lnTo>
                  <a:lnTo>
                    <a:pt x="5825" y="552"/>
                  </a:lnTo>
                  <a:lnTo>
                    <a:pt x="5813" y="551"/>
                  </a:lnTo>
                  <a:lnTo>
                    <a:pt x="5801" y="551"/>
                  </a:lnTo>
                  <a:lnTo>
                    <a:pt x="5775" y="552"/>
                  </a:lnTo>
                  <a:lnTo>
                    <a:pt x="5763" y="553"/>
                  </a:lnTo>
                  <a:lnTo>
                    <a:pt x="5751" y="554"/>
                  </a:lnTo>
                  <a:lnTo>
                    <a:pt x="5740" y="556"/>
                  </a:lnTo>
                  <a:lnTo>
                    <a:pt x="5729" y="558"/>
                  </a:lnTo>
                  <a:lnTo>
                    <a:pt x="5718" y="560"/>
                  </a:lnTo>
                  <a:lnTo>
                    <a:pt x="5707" y="563"/>
                  </a:lnTo>
                  <a:lnTo>
                    <a:pt x="5697" y="567"/>
                  </a:lnTo>
                  <a:lnTo>
                    <a:pt x="5687" y="570"/>
                  </a:lnTo>
                  <a:lnTo>
                    <a:pt x="5677" y="574"/>
                  </a:lnTo>
                  <a:lnTo>
                    <a:pt x="5667" y="579"/>
                  </a:lnTo>
                  <a:lnTo>
                    <a:pt x="5658" y="584"/>
                  </a:lnTo>
                  <a:lnTo>
                    <a:pt x="5649" y="589"/>
                  </a:lnTo>
                  <a:lnTo>
                    <a:pt x="5640" y="595"/>
                  </a:lnTo>
                  <a:lnTo>
                    <a:pt x="5631" y="601"/>
                  </a:lnTo>
                  <a:lnTo>
                    <a:pt x="5622" y="607"/>
                  </a:lnTo>
                  <a:lnTo>
                    <a:pt x="5614" y="614"/>
                  </a:lnTo>
                  <a:lnTo>
                    <a:pt x="5606" y="622"/>
                  </a:lnTo>
                  <a:lnTo>
                    <a:pt x="5598" y="629"/>
                  </a:lnTo>
                  <a:lnTo>
                    <a:pt x="5590" y="637"/>
                  </a:lnTo>
                  <a:lnTo>
                    <a:pt x="5582" y="646"/>
                  </a:lnTo>
                  <a:lnTo>
                    <a:pt x="5575" y="655"/>
                  </a:lnTo>
                  <a:lnTo>
                    <a:pt x="5568" y="665"/>
                  </a:lnTo>
                  <a:lnTo>
                    <a:pt x="5553" y="685"/>
                  </a:lnTo>
                  <a:lnTo>
                    <a:pt x="5546" y="695"/>
                  </a:lnTo>
                  <a:lnTo>
                    <a:pt x="5540" y="707"/>
                  </a:lnTo>
                  <a:lnTo>
                    <a:pt x="5533" y="718"/>
                  </a:lnTo>
                  <a:lnTo>
                    <a:pt x="5526" y="730"/>
                  </a:lnTo>
                  <a:lnTo>
                    <a:pt x="5513" y="756"/>
                  </a:lnTo>
                  <a:lnTo>
                    <a:pt x="5513" y="570"/>
                  </a:lnTo>
                  <a:lnTo>
                    <a:pt x="5264" y="570"/>
                  </a:lnTo>
                  <a:lnTo>
                    <a:pt x="5264" y="1024"/>
                  </a:lnTo>
                  <a:lnTo>
                    <a:pt x="5264" y="1478"/>
                  </a:lnTo>
                  <a:lnTo>
                    <a:pt x="5523" y="1478"/>
                  </a:lnTo>
                  <a:lnTo>
                    <a:pt x="5523" y="1057"/>
                  </a:lnTo>
                  <a:lnTo>
                    <a:pt x="5523" y="1035"/>
                  </a:lnTo>
                  <a:lnTo>
                    <a:pt x="5523" y="1015"/>
                  </a:lnTo>
                  <a:lnTo>
                    <a:pt x="5524" y="997"/>
                  </a:lnTo>
                  <a:lnTo>
                    <a:pt x="5525" y="988"/>
                  </a:lnTo>
                  <a:lnTo>
                    <a:pt x="5526" y="979"/>
                  </a:lnTo>
                  <a:lnTo>
                    <a:pt x="5528" y="963"/>
                  </a:lnTo>
                  <a:lnTo>
                    <a:pt x="5530" y="948"/>
                  </a:lnTo>
                  <a:lnTo>
                    <a:pt x="5533" y="935"/>
                  </a:lnTo>
                  <a:lnTo>
                    <a:pt x="5536" y="922"/>
                  </a:lnTo>
                  <a:lnTo>
                    <a:pt x="5541" y="907"/>
                  </a:lnTo>
                  <a:lnTo>
                    <a:pt x="5546" y="893"/>
                  </a:lnTo>
                  <a:lnTo>
                    <a:pt x="5552" y="879"/>
                  </a:lnTo>
                  <a:lnTo>
                    <a:pt x="5559" y="867"/>
                  </a:lnTo>
                  <a:lnTo>
                    <a:pt x="5567" y="855"/>
                  </a:lnTo>
                  <a:lnTo>
                    <a:pt x="5575" y="844"/>
                  </a:lnTo>
                  <a:lnTo>
                    <a:pt x="5584" y="834"/>
                  </a:lnTo>
                  <a:lnTo>
                    <a:pt x="5593" y="824"/>
                  </a:lnTo>
                  <a:lnTo>
                    <a:pt x="5598" y="820"/>
                  </a:lnTo>
                  <a:lnTo>
                    <a:pt x="5603" y="816"/>
                  </a:lnTo>
                  <a:lnTo>
                    <a:pt x="5614" y="809"/>
                  </a:lnTo>
                  <a:lnTo>
                    <a:pt x="5625" y="802"/>
                  </a:lnTo>
                  <a:lnTo>
                    <a:pt x="5631" y="800"/>
                  </a:lnTo>
                  <a:lnTo>
                    <a:pt x="5636" y="797"/>
                  </a:lnTo>
                  <a:lnTo>
                    <a:pt x="5648" y="793"/>
                  </a:lnTo>
                  <a:lnTo>
                    <a:pt x="5661" y="790"/>
                  </a:lnTo>
                  <a:lnTo>
                    <a:pt x="5667" y="789"/>
                  </a:lnTo>
                  <a:lnTo>
                    <a:pt x="5673" y="788"/>
                  </a:lnTo>
                  <a:lnTo>
                    <a:pt x="5680" y="788"/>
                  </a:lnTo>
                  <a:lnTo>
                    <a:pt x="5686" y="788"/>
                  </a:lnTo>
                  <a:lnTo>
                    <a:pt x="5696" y="788"/>
                  </a:lnTo>
                  <a:lnTo>
                    <a:pt x="5705" y="789"/>
                  </a:lnTo>
                  <a:lnTo>
                    <a:pt x="5714" y="790"/>
                  </a:lnTo>
                  <a:lnTo>
                    <a:pt x="5723" y="793"/>
                  </a:lnTo>
                  <a:lnTo>
                    <a:pt x="5732" y="795"/>
                  </a:lnTo>
                  <a:lnTo>
                    <a:pt x="5739" y="799"/>
                  </a:lnTo>
                  <a:lnTo>
                    <a:pt x="5747" y="802"/>
                  </a:lnTo>
                  <a:lnTo>
                    <a:pt x="5754" y="807"/>
                  </a:lnTo>
                  <a:lnTo>
                    <a:pt x="5761" y="812"/>
                  </a:lnTo>
                  <a:lnTo>
                    <a:pt x="5767" y="817"/>
                  </a:lnTo>
                  <a:lnTo>
                    <a:pt x="5773" y="823"/>
                  </a:lnTo>
                  <a:lnTo>
                    <a:pt x="5779" y="830"/>
                  </a:lnTo>
                  <a:lnTo>
                    <a:pt x="5784" y="837"/>
                  </a:lnTo>
                  <a:lnTo>
                    <a:pt x="5789" y="845"/>
                  </a:lnTo>
                  <a:lnTo>
                    <a:pt x="5793" y="853"/>
                  </a:lnTo>
                  <a:lnTo>
                    <a:pt x="5797" y="861"/>
                  </a:lnTo>
                  <a:lnTo>
                    <a:pt x="5800" y="868"/>
                  </a:lnTo>
                  <a:lnTo>
                    <a:pt x="5802" y="875"/>
                  </a:lnTo>
                  <a:lnTo>
                    <a:pt x="5806" y="890"/>
                  </a:lnTo>
                  <a:lnTo>
                    <a:pt x="5809" y="906"/>
                  </a:lnTo>
                  <a:lnTo>
                    <a:pt x="5812" y="924"/>
                  </a:lnTo>
                  <a:lnTo>
                    <a:pt x="5814" y="945"/>
                  </a:lnTo>
                  <a:lnTo>
                    <a:pt x="5816" y="969"/>
                  </a:lnTo>
                  <a:lnTo>
                    <a:pt x="5816" y="981"/>
                  </a:lnTo>
                  <a:lnTo>
                    <a:pt x="5816" y="995"/>
                  </a:lnTo>
                  <a:lnTo>
                    <a:pt x="5817" y="1024"/>
                  </a:lnTo>
                  <a:lnTo>
                    <a:pt x="5817" y="1478"/>
                  </a:lnTo>
                  <a:lnTo>
                    <a:pt x="6077" y="1478"/>
                  </a:lnTo>
                  <a:lnTo>
                    <a:pt x="6077" y="1041"/>
                  </a:lnTo>
                  <a:lnTo>
                    <a:pt x="6077" y="1026"/>
                  </a:lnTo>
                  <a:lnTo>
                    <a:pt x="6077" y="1011"/>
                  </a:lnTo>
                  <a:lnTo>
                    <a:pt x="6078" y="997"/>
                  </a:lnTo>
                  <a:lnTo>
                    <a:pt x="6079" y="983"/>
                  </a:lnTo>
                  <a:lnTo>
                    <a:pt x="6081" y="970"/>
                  </a:lnTo>
                  <a:lnTo>
                    <a:pt x="6083" y="957"/>
                  </a:lnTo>
                  <a:lnTo>
                    <a:pt x="6085" y="944"/>
                  </a:lnTo>
                  <a:lnTo>
                    <a:pt x="6087" y="932"/>
                  </a:lnTo>
                  <a:lnTo>
                    <a:pt x="6093" y="910"/>
                  </a:lnTo>
                  <a:lnTo>
                    <a:pt x="6096" y="899"/>
                  </a:lnTo>
                  <a:lnTo>
                    <a:pt x="6100" y="889"/>
                  </a:lnTo>
                  <a:lnTo>
                    <a:pt x="6104" y="879"/>
                  </a:lnTo>
                  <a:lnTo>
                    <a:pt x="6108" y="870"/>
                  </a:lnTo>
                  <a:lnTo>
                    <a:pt x="6113" y="861"/>
                  </a:lnTo>
                  <a:lnTo>
                    <a:pt x="6118" y="853"/>
                  </a:lnTo>
                  <a:lnTo>
                    <a:pt x="6123" y="845"/>
                  </a:lnTo>
                  <a:lnTo>
                    <a:pt x="6129" y="838"/>
                  </a:lnTo>
                  <a:lnTo>
                    <a:pt x="6135" y="831"/>
                  </a:lnTo>
                  <a:lnTo>
                    <a:pt x="6141" y="824"/>
                  </a:lnTo>
                  <a:lnTo>
                    <a:pt x="6148" y="819"/>
                  </a:lnTo>
                  <a:lnTo>
                    <a:pt x="6155" y="813"/>
                  </a:lnTo>
                  <a:lnTo>
                    <a:pt x="6162" y="808"/>
                  </a:lnTo>
                  <a:lnTo>
                    <a:pt x="6169" y="804"/>
                  </a:lnTo>
                  <a:lnTo>
                    <a:pt x="6177" y="800"/>
                  </a:lnTo>
                  <a:lnTo>
                    <a:pt x="6185" y="797"/>
                  </a:lnTo>
                  <a:lnTo>
                    <a:pt x="6194" y="794"/>
                  </a:lnTo>
                  <a:lnTo>
                    <a:pt x="6202" y="792"/>
                  </a:lnTo>
                  <a:lnTo>
                    <a:pt x="6211" y="790"/>
                  </a:lnTo>
                  <a:lnTo>
                    <a:pt x="6221" y="789"/>
                  </a:lnTo>
                  <a:lnTo>
                    <a:pt x="6230" y="788"/>
                  </a:lnTo>
                  <a:lnTo>
                    <a:pt x="6240" y="788"/>
                  </a:lnTo>
                  <a:lnTo>
                    <a:pt x="6252" y="788"/>
                  </a:lnTo>
                  <a:lnTo>
                    <a:pt x="6263" y="789"/>
                  </a:lnTo>
                  <a:lnTo>
                    <a:pt x="6273" y="791"/>
                  </a:lnTo>
                  <a:lnTo>
                    <a:pt x="6283" y="793"/>
                  </a:lnTo>
                  <a:lnTo>
                    <a:pt x="6293" y="796"/>
                  </a:lnTo>
                  <a:lnTo>
                    <a:pt x="6302" y="800"/>
                  </a:lnTo>
                  <a:lnTo>
                    <a:pt x="6306" y="802"/>
                  </a:lnTo>
                  <a:lnTo>
                    <a:pt x="6310" y="804"/>
                  </a:lnTo>
                  <a:lnTo>
                    <a:pt x="6318" y="809"/>
                  </a:lnTo>
                  <a:lnTo>
                    <a:pt x="6325" y="815"/>
                  </a:lnTo>
                  <a:lnTo>
                    <a:pt x="6332" y="821"/>
                  </a:lnTo>
                  <a:lnTo>
                    <a:pt x="6338" y="829"/>
                  </a:lnTo>
                  <a:lnTo>
                    <a:pt x="6344" y="837"/>
                  </a:lnTo>
                  <a:lnTo>
                    <a:pt x="6349" y="845"/>
                  </a:lnTo>
                  <a:lnTo>
                    <a:pt x="6353" y="855"/>
                  </a:lnTo>
                  <a:lnTo>
                    <a:pt x="6357" y="865"/>
                  </a:lnTo>
                  <a:lnTo>
                    <a:pt x="6360" y="876"/>
                  </a:lnTo>
                  <a:lnTo>
                    <a:pt x="6362" y="887"/>
                  </a:lnTo>
                  <a:lnTo>
                    <a:pt x="6364" y="900"/>
                  </a:lnTo>
                  <a:lnTo>
                    <a:pt x="6366" y="915"/>
                  </a:lnTo>
                  <a:lnTo>
                    <a:pt x="6367" y="931"/>
                  </a:lnTo>
                  <a:lnTo>
                    <a:pt x="6369" y="969"/>
                  </a:lnTo>
                  <a:lnTo>
                    <a:pt x="6370" y="990"/>
                  </a:lnTo>
                  <a:lnTo>
                    <a:pt x="6370" y="1011"/>
                  </a:lnTo>
                  <a:lnTo>
                    <a:pt x="6370" y="1478"/>
                  </a:lnTo>
                  <a:lnTo>
                    <a:pt x="6630" y="1478"/>
                  </a:lnTo>
                  <a:close/>
                  <a:moveTo>
                    <a:pt x="2027" y="314"/>
                  </a:moveTo>
                  <a:lnTo>
                    <a:pt x="2012" y="315"/>
                  </a:lnTo>
                  <a:lnTo>
                    <a:pt x="2005" y="316"/>
                  </a:lnTo>
                  <a:lnTo>
                    <a:pt x="1998" y="317"/>
                  </a:lnTo>
                  <a:lnTo>
                    <a:pt x="1991" y="318"/>
                  </a:lnTo>
                  <a:lnTo>
                    <a:pt x="1985" y="320"/>
                  </a:lnTo>
                  <a:lnTo>
                    <a:pt x="1979" y="322"/>
                  </a:lnTo>
                  <a:lnTo>
                    <a:pt x="1972" y="324"/>
                  </a:lnTo>
                  <a:lnTo>
                    <a:pt x="1961" y="330"/>
                  </a:lnTo>
                  <a:lnTo>
                    <a:pt x="1955" y="333"/>
                  </a:lnTo>
                  <a:lnTo>
                    <a:pt x="1950" y="337"/>
                  </a:lnTo>
                  <a:lnTo>
                    <a:pt x="1940" y="344"/>
                  </a:lnTo>
                  <a:lnTo>
                    <a:pt x="1935" y="349"/>
                  </a:lnTo>
                  <a:lnTo>
                    <a:pt x="1931" y="353"/>
                  </a:lnTo>
                  <a:lnTo>
                    <a:pt x="1923" y="363"/>
                  </a:lnTo>
                  <a:lnTo>
                    <a:pt x="1919" y="369"/>
                  </a:lnTo>
                  <a:lnTo>
                    <a:pt x="1916" y="374"/>
                  </a:lnTo>
                  <a:lnTo>
                    <a:pt x="1913" y="380"/>
                  </a:lnTo>
                  <a:lnTo>
                    <a:pt x="1910" y="386"/>
                  </a:lnTo>
                  <a:lnTo>
                    <a:pt x="1905" y="399"/>
                  </a:lnTo>
                  <a:lnTo>
                    <a:pt x="1901" y="413"/>
                  </a:lnTo>
                  <a:lnTo>
                    <a:pt x="1899" y="420"/>
                  </a:lnTo>
                  <a:lnTo>
                    <a:pt x="1898" y="427"/>
                  </a:lnTo>
                  <a:lnTo>
                    <a:pt x="1896" y="443"/>
                  </a:lnTo>
                  <a:lnTo>
                    <a:pt x="1896" y="451"/>
                  </a:lnTo>
                  <a:lnTo>
                    <a:pt x="1896" y="459"/>
                  </a:lnTo>
                  <a:lnTo>
                    <a:pt x="1896" y="571"/>
                  </a:lnTo>
                  <a:lnTo>
                    <a:pt x="2079" y="571"/>
                  </a:lnTo>
                  <a:lnTo>
                    <a:pt x="2079" y="777"/>
                  </a:lnTo>
                  <a:lnTo>
                    <a:pt x="1896" y="777"/>
                  </a:lnTo>
                  <a:lnTo>
                    <a:pt x="1896" y="1479"/>
                  </a:lnTo>
                  <a:lnTo>
                    <a:pt x="1645" y="1479"/>
                  </a:lnTo>
                  <a:lnTo>
                    <a:pt x="1645" y="779"/>
                  </a:lnTo>
                  <a:lnTo>
                    <a:pt x="1529" y="779"/>
                  </a:lnTo>
                  <a:lnTo>
                    <a:pt x="1529" y="576"/>
                  </a:lnTo>
                  <a:lnTo>
                    <a:pt x="1645" y="576"/>
                  </a:lnTo>
                  <a:lnTo>
                    <a:pt x="1645" y="482"/>
                  </a:lnTo>
                  <a:lnTo>
                    <a:pt x="1645" y="447"/>
                  </a:lnTo>
                  <a:lnTo>
                    <a:pt x="1646" y="430"/>
                  </a:lnTo>
                  <a:lnTo>
                    <a:pt x="1647" y="412"/>
                  </a:lnTo>
                  <a:lnTo>
                    <a:pt x="1649" y="395"/>
                  </a:lnTo>
                  <a:lnTo>
                    <a:pt x="1650" y="377"/>
                  </a:lnTo>
                  <a:lnTo>
                    <a:pt x="1653" y="360"/>
                  </a:lnTo>
                  <a:lnTo>
                    <a:pt x="1655" y="343"/>
                  </a:lnTo>
                  <a:lnTo>
                    <a:pt x="1659" y="326"/>
                  </a:lnTo>
                  <a:lnTo>
                    <a:pt x="1663" y="310"/>
                  </a:lnTo>
                  <a:lnTo>
                    <a:pt x="1667" y="294"/>
                  </a:lnTo>
                  <a:lnTo>
                    <a:pt x="1672" y="278"/>
                  </a:lnTo>
                  <a:lnTo>
                    <a:pt x="1678" y="262"/>
                  </a:lnTo>
                  <a:lnTo>
                    <a:pt x="1685" y="247"/>
                  </a:lnTo>
                  <a:lnTo>
                    <a:pt x="1692" y="233"/>
                  </a:lnTo>
                  <a:lnTo>
                    <a:pt x="1696" y="225"/>
                  </a:lnTo>
                  <a:lnTo>
                    <a:pt x="1700" y="218"/>
                  </a:lnTo>
                  <a:lnTo>
                    <a:pt x="1705" y="212"/>
                  </a:lnTo>
                  <a:lnTo>
                    <a:pt x="1709" y="205"/>
                  </a:lnTo>
                  <a:lnTo>
                    <a:pt x="1719" y="192"/>
                  </a:lnTo>
                  <a:lnTo>
                    <a:pt x="1730" y="180"/>
                  </a:lnTo>
                  <a:lnTo>
                    <a:pt x="1742" y="168"/>
                  </a:lnTo>
                  <a:lnTo>
                    <a:pt x="1755" y="157"/>
                  </a:lnTo>
                  <a:lnTo>
                    <a:pt x="1761" y="152"/>
                  </a:lnTo>
                  <a:lnTo>
                    <a:pt x="1769" y="147"/>
                  </a:lnTo>
                  <a:lnTo>
                    <a:pt x="1784" y="137"/>
                  </a:lnTo>
                  <a:lnTo>
                    <a:pt x="1791" y="133"/>
                  </a:lnTo>
                  <a:lnTo>
                    <a:pt x="1800" y="129"/>
                  </a:lnTo>
                  <a:lnTo>
                    <a:pt x="1817" y="121"/>
                  </a:lnTo>
                  <a:lnTo>
                    <a:pt x="1826" y="117"/>
                  </a:lnTo>
                  <a:lnTo>
                    <a:pt x="1835" y="114"/>
                  </a:lnTo>
                  <a:lnTo>
                    <a:pt x="1855" y="108"/>
                  </a:lnTo>
                  <a:lnTo>
                    <a:pt x="1876" y="103"/>
                  </a:lnTo>
                  <a:lnTo>
                    <a:pt x="1899" y="99"/>
                  </a:lnTo>
                  <a:lnTo>
                    <a:pt x="1910" y="98"/>
                  </a:lnTo>
                  <a:lnTo>
                    <a:pt x="1923" y="96"/>
                  </a:lnTo>
                  <a:lnTo>
                    <a:pt x="1948" y="95"/>
                  </a:lnTo>
                  <a:lnTo>
                    <a:pt x="1961" y="94"/>
                  </a:lnTo>
                  <a:lnTo>
                    <a:pt x="1974" y="94"/>
                  </a:lnTo>
                  <a:lnTo>
                    <a:pt x="1999" y="94"/>
                  </a:lnTo>
                  <a:lnTo>
                    <a:pt x="2021" y="95"/>
                  </a:lnTo>
                  <a:lnTo>
                    <a:pt x="2041" y="97"/>
                  </a:lnTo>
                  <a:lnTo>
                    <a:pt x="2061" y="99"/>
                  </a:lnTo>
                  <a:lnTo>
                    <a:pt x="2080" y="102"/>
                  </a:lnTo>
                  <a:lnTo>
                    <a:pt x="2100" y="106"/>
                  </a:lnTo>
                  <a:lnTo>
                    <a:pt x="2122" y="110"/>
                  </a:lnTo>
                  <a:lnTo>
                    <a:pt x="2146" y="115"/>
                  </a:lnTo>
                  <a:lnTo>
                    <a:pt x="2146" y="330"/>
                  </a:lnTo>
                  <a:lnTo>
                    <a:pt x="2122" y="325"/>
                  </a:lnTo>
                  <a:lnTo>
                    <a:pt x="2110" y="322"/>
                  </a:lnTo>
                  <a:lnTo>
                    <a:pt x="2097" y="319"/>
                  </a:lnTo>
                  <a:lnTo>
                    <a:pt x="2082" y="317"/>
                  </a:lnTo>
                  <a:lnTo>
                    <a:pt x="2066" y="316"/>
                  </a:lnTo>
                  <a:lnTo>
                    <a:pt x="2048" y="315"/>
                  </a:lnTo>
                  <a:lnTo>
                    <a:pt x="2027" y="31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1259949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mall Picture" preserve="1" userDrawn="1">
  <p:cSld name="title_and_picture_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0388" y="1484313"/>
            <a:ext cx="4248592" cy="46085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7.12.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97020" y="1484314"/>
            <a:ext cx="4248594" cy="4608512"/>
          </a:xfrm>
          <a:solidFill>
            <a:srgbClr val="EAEAEA"/>
          </a:solidFill>
        </p:spPr>
        <p:txBody>
          <a:bodyPr/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575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Picture 1/1" preserve="1" userDrawn="1">
  <p:cSld name="title_and_picture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7.12.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60388" y="1484314"/>
            <a:ext cx="8785226" cy="4608512"/>
          </a:xfrm>
          <a:solidFill>
            <a:srgbClr val="EAEAEA"/>
          </a:solidFill>
        </p:spPr>
        <p:txBody>
          <a:bodyPr/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4185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7.12.2016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5583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7.12.2016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5657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ogan" preserve="1" userDrawn="1">
  <p:cSld name="slog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dirty="0" smtClean="0"/>
              <a:t>7.12.2016</a:t>
            </a:r>
            <a:endParaRPr lang="en-US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60388" y="2564909"/>
            <a:ext cx="8785224" cy="1656457"/>
          </a:xfrm>
        </p:spPr>
        <p:txBody>
          <a:bodyPr anchor="ctr" anchorCtr="0"/>
          <a:lstStyle>
            <a:lvl1pPr algn="ctr">
              <a:defRPr sz="5000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6207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Picture" preserve="1" userDrawn="1">
  <p:cSld name="title_slid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/>
          <p:cNvGrpSpPr/>
          <p:nvPr userDrawn="1"/>
        </p:nvGrpSpPr>
        <p:grpSpPr>
          <a:xfrm>
            <a:off x="7869324" y="6201308"/>
            <a:ext cx="1728192" cy="504056"/>
            <a:chOff x="10164484" y="6201308"/>
            <a:chExt cx="1728192" cy="504056"/>
          </a:xfrm>
        </p:grpSpPr>
        <p:sp>
          <p:nvSpPr>
            <p:cNvPr id="20" name="Rectangle 19"/>
            <p:cNvSpPr/>
            <p:nvPr userDrawn="1"/>
          </p:nvSpPr>
          <p:spPr>
            <a:xfrm>
              <a:off x="10164484" y="6201308"/>
              <a:ext cx="1728192" cy="504056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1" name="Freeform 6"/>
            <p:cNvSpPr>
              <a:spLocks noChangeAspect="1" noEditPoints="1"/>
            </p:cNvSpPr>
            <p:nvPr userDrawn="1"/>
          </p:nvSpPr>
          <p:spPr bwMode="auto">
            <a:xfrm>
              <a:off x="10421059" y="6308725"/>
              <a:ext cx="1220079" cy="288000"/>
            </a:xfrm>
            <a:custGeom>
              <a:avLst/>
              <a:gdLst>
                <a:gd name="T0" fmla="*/ 317 w 6630"/>
                <a:gd name="T1" fmla="*/ 622 h 1565"/>
                <a:gd name="T2" fmla="*/ 549 w 6630"/>
                <a:gd name="T3" fmla="*/ 281 h 1565"/>
                <a:gd name="T4" fmla="*/ 146 w 6630"/>
                <a:gd name="T5" fmla="*/ 254 h 1565"/>
                <a:gd name="T6" fmla="*/ 2 w 6630"/>
                <a:gd name="T7" fmla="*/ 668 h 1565"/>
                <a:gd name="T8" fmla="*/ 113 w 6630"/>
                <a:gd name="T9" fmla="*/ 1146 h 1565"/>
                <a:gd name="T10" fmla="*/ 417 w 6630"/>
                <a:gd name="T11" fmla="*/ 1452 h 1565"/>
                <a:gd name="T12" fmla="*/ 862 w 6630"/>
                <a:gd name="T13" fmla="*/ 1565 h 1565"/>
                <a:gd name="T14" fmla="*/ 1067 w 6630"/>
                <a:gd name="T15" fmla="*/ 1206 h 1565"/>
                <a:gd name="T16" fmla="*/ 718 w 6630"/>
                <a:gd name="T17" fmla="*/ 1244 h 1565"/>
                <a:gd name="T18" fmla="*/ 395 w 6630"/>
                <a:gd name="T19" fmla="*/ 1028 h 1565"/>
                <a:gd name="T20" fmla="*/ 689 w 6630"/>
                <a:gd name="T21" fmla="*/ 1169 h 1565"/>
                <a:gd name="T22" fmla="*/ 1039 w 6630"/>
                <a:gd name="T23" fmla="*/ 1148 h 1565"/>
                <a:gd name="T24" fmla="*/ 1292 w 6630"/>
                <a:gd name="T25" fmla="*/ 840 h 1565"/>
                <a:gd name="T26" fmla="*/ 1208 w 6630"/>
                <a:gd name="T27" fmla="*/ 435 h 1565"/>
                <a:gd name="T28" fmla="*/ 902 w 6630"/>
                <a:gd name="T29" fmla="*/ 264 h 1565"/>
                <a:gd name="T30" fmla="*/ 518 w 6630"/>
                <a:gd name="T31" fmla="*/ 388 h 1565"/>
                <a:gd name="T32" fmla="*/ 372 w 6630"/>
                <a:gd name="T33" fmla="*/ 702 h 1565"/>
                <a:gd name="T34" fmla="*/ 3593 w 6630"/>
                <a:gd name="T35" fmla="*/ 799 h 1565"/>
                <a:gd name="T36" fmla="*/ 3366 w 6630"/>
                <a:gd name="T37" fmla="*/ 869 h 1565"/>
                <a:gd name="T38" fmla="*/ 3297 w 6630"/>
                <a:gd name="T39" fmla="*/ 570 h 1565"/>
                <a:gd name="T40" fmla="*/ 3419 w 6630"/>
                <a:gd name="T41" fmla="*/ 595 h 1565"/>
                <a:gd name="T42" fmla="*/ 4253 w 6630"/>
                <a:gd name="T43" fmla="*/ 1275 h 1565"/>
                <a:gd name="T44" fmla="*/ 4022 w 6630"/>
                <a:gd name="T45" fmla="*/ 1243 h 1565"/>
                <a:gd name="T46" fmla="*/ 3739 w 6630"/>
                <a:gd name="T47" fmla="*/ 1222 h 1565"/>
                <a:gd name="T48" fmla="*/ 3881 w 6630"/>
                <a:gd name="T49" fmla="*/ 1458 h 1565"/>
                <a:gd name="T50" fmla="*/ 2979 w 6630"/>
                <a:gd name="T51" fmla="*/ 1024 h 1565"/>
                <a:gd name="T52" fmla="*/ 2840 w 6630"/>
                <a:gd name="T53" fmla="*/ 1384 h 1565"/>
                <a:gd name="T54" fmla="*/ 2563 w 6630"/>
                <a:gd name="T55" fmla="*/ 1502 h 1565"/>
                <a:gd name="T56" fmla="*/ 2237 w 6630"/>
                <a:gd name="T57" fmla="*/ 1402 h 1565"/>
                <a:gd name="T58" fmla="*/ 2085 w 6630"/>
                <a:gd name="T59" fmla="*/ 1074 h 1565"/>
                <a:gd name="T60" fmla="*/ 2179 w 6630"/>
                <a:gd name="T61" fmla="*/ 715 h 1565"/>
                <a:gd name="T62" fmla="*/ 2521 w 6630"/>
                <a:gd name="T63" fmla="*/ 546 h 1565"/>
                <a:gd name="T64" fmla="*/ 2907 w 6630"/>
                <a:gd name="T65" fmla="*/ 740 h 1565"/>
                <a:gd name="T66" fmla="*/ 2711 w 6630"/>
                <a:gd name="T67" fmla="*/ 938 h 1565"/>
                <a:gd name="T68" fmla="*/ 2584 w 6630"/>
                <a:gd name="T69" fmla="*/ 769 h 1565"/>
                <a:gd name="T70" fmla="*/ 2395 w 6630"/>
                <a:gd name="T71" fmla="*/ 833 h 1565"/>
                <a:gd name="T72" fmla="*/ 2349 w 6630"/>
                <a:gd name="T73" fmla="*/ 1090 h 1565"/>
                <a:gd name="T74" fmla="*/ 2495 w 6630"/>
                <a:gd name="T75" fmla="*/ 1278 h 1565"/>
                <a:gd name="T76" fmla="*/ 2670 w 6630"/>
                <a:gd name="T77" fmla="*/ 1213 h 1565"/>
                <a:gd name="T78" fmla="*/ 4906 w 6630"/>
                <a:gd name="T79" fmla="*/ 1070 h 1565"/>
                <a:gd name="T80" fmla="*/ 4796 w 6630"/>
                <a:gd name="T81" fmla="*/ 1276 h 1565"/>
                <a:gd name="T82" fmla="*/ 4627 w 6630"/>
                <a:gd name="T83" fmla="*/ 1221 h 1565"/>
                <a:gd name="T84" fmla="*/ 4342 w 6630"/>
                <a:gd name="T85" fmla="*/ 1149 h 1565"/>
                <a:gd name="T86" fmla="*/ 4475 w 6630"/>
                <a:gd name="T87" fmla="*/ 1421 h 1565"/>
                <a:gd name="T88" fmla="*/ 4831 w 6630"/>
                <a:gd name="T89" fmla="*/ 1494 h 1565"/>
                <a:gd name="T90" fmla="*/ 5106 w 6630"/>
                <a:gd name="T91" fmla="*/ 1336 h 1565"/>
                <a:gd name="T92" fmla="*/ 6626 w 6630"/>
                <a:gd name="T93" fmla="*/ 838 h 1565"/>
                <a:gd name="T94" fmla="*/ 6501 w 6630"/>
                <a:gd name="T95" fmla="*/ 594 h 1565"/>
                <a:gd name="T96" fmla="*/ 6231 w 6630"/>
                <a:gd name="T97" fmla="*/ 567 h 1565"/>
                <a:gd name="T98" fmla="*/ 6057 w 6630"/>
                <a:gd name="T99" fmla="*/ 735 h 1565"/>
                <a:gd name="T100" fmla="*/ 5910 w 6630"/>
                <a:gd name="T101" fmla="*/ 572 h 1565"/>
                <a:gd name="T102" fmla="*/ 5667 w 6630"/>
                <a:gd name="T103" fmla="*/ 579 h 1565"/>
                <a:gd name="T104" fmla="*/ 5264 w 6630"/>
                <a:gd name="T105" fmla="*/ 1024 h 1565"/>
                <a:gd name="T106" fmla="*/ 5598 w 6630"/>
                <a:gd name="T107" fmla="*/ 820 h 1565"/>
                <a:gd name="T108" fmla="*/ 5767 w 6630"/>
                <a:gd name="T109" fmla="*/ 817 h 1565"/>
                <a:gd name="T110" fmla="*/ 6077 w 6630"/>
                <a:gd name="T111" fmla="*/ 1011 h 1565"/>
                <a:gd name="T112" fmla="*/ 6169 w 6630"/>
                <a:gd name="T113" fmla="*/ 804 h 1565"/>
                <a:gd name="T114" fmla="*/ 6344 w 6630"/>
                <a:gd name="T115" fmla="*/ 837 h 1565"/>
                <a:gd name="T116" fmla="*/ 1972 w 6630"/>
                <a:gd name="T117" fmla="*/ 324 h 1565"/>
                <a:gd name="T118" fmla="*/ 2079 w 6630"/>
                <a:gd name="T119" fmla="*/ 777 h 1565"/>
                <a:gd name="T120" fmla="*/ 1685 w 6630"/>
                <a:gd name="T121" fmla="*/ 247 h 1565"/>
                <a:gd name="T122" fmla="*/ 1910 w 6630"/>
                <a:gd name="T123" fmla="*/ 98 h 1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630" h="1565">
                  <a:moveTo>
                    <a:pt x="375" y="995"/>
                  </a:moveTo>
                  <a:lnTo>
                    <a:pt x="362" y="972"/>
                  </a:lnTo>
                  <a:lnTo>
                    <a:pt x="351" y="949"/>
                  </a:lnTo>
                  <a:lnTo>
                    <a:pt x="341" y="925"/>
                  </a:lnTo>
                  <a:lnTo>
                    <a:pt x="333" y="901"/>
                  </a:lnTo>
                  <a:lnTo>
                    <a:pt x="329" y="889"/>
                  </a:lnTo>
                  <a:lnTo>
                    <a:pt x="325" y="876"/>
                  </a:lnTo>
                  <a:lnTo>
                    <a:pt x="319" y="851"/>
                  </a:lnTo>
                  <a:lnTo>
                    <a:pt x="314" y="826"/>
                  </a:lnTo>
                  <a:lnTo>
                    <a:pt x="310" y="801"/>
                  </a:lnTo>
                  <a:lnTo>
                    <a:pt x="309" y="788"/>
                  </a:lnTo>
                  <a:lnTo>
                    <a:pt x="308" y="775"/>
                  </a:lnTo>
                  <a:lnTo>
                    <a:pt x="307" y="762"/>
                  </a:lnTo>
                  <a:lnTo>
                    <a:pt x="306" y="749"/>
                  </a:lnTo>
                  <a:lnTo>
                    <a:pt x="306" y="724"/>
                  </a:lnTo>
                  <a:lnTo>
                    <a:pt x="307" y="698"/>
                  </a:lnTo>
                  <a:lnTo>
                    <a:pt x="309" y="673"/>
                  </a:lnTo>
                  <a:lnTo>
                    <a:pt x="311" y="660"/>
                  </a:lnTo>
                  <a:lnTo>
                    <a:pt x="313" y="647"/>
                  </a:lnTo>
                  <a:lnTo>
                    <a:pt x="315" y="635"/>
                  </a:lnTo>
                  <a:lnTo>
                    <a:pt x="317" y="622"/>
                  </a:lnTo>
                  <a:lnTo>
                    <a:pt x="323" y="597"/>
                  </a:lnTo>
                  <a:lnTo>
                    <a:pt x="330" y="572"/>
                  </a:lnTo>
                  <a:lnTo>
                    <a:pt x="338" y="548"/>
                  </a:lnTo>
                  <a:lnTo>
                    <a:pt x="348" y="524"/>
                  </a:lnTo>
                  <a:lnTo>
                    <a:pt x="358" y="500"/>
                  </a:lnTo>
                  <a:lnTo>
                    <a:pt x="364" y="488"/>
                  </a:lnTo>
                  <a:lnTo>
                    <a:pt x="370" y="477"/>
                  </a:lnTo>
                  <a:lnTo>
                    <a:pt x="376" y="465"/>
                  </a:lnTo>
                  <a:lnTo>
                    <a:pt x="383" y="454"/>
                  </a:lnTo>
                  <a:lnTo>
                    <a:pt x="397" y="432"/>
                  </a:lnTo>
                  <a:lnTo>
                    <a:pt x="404" y="421"/>
                  </a:lnTo>
                  <a:lnTo>
                    <a:pt x="412" y="410"/>
                  </a:lnTo>
                  <a:lnTo>
                    <a:pt x="428" y="390"/>
                  </a:lnTo>
                  <a:lnTo>
                    <a:pt x="445" y="369"/>
                  </a:lnTo>
                  <a:lnTo>
                    <a:pt x="464" y="350"/>
                  </a:lnTo>
                  <a:lnTo>
                    <a:pt x="483" y="331"/>
                  </a:lnTo>
                  <a:lnTo>
                    <a:pt x="504" y="314"/>
                  </a:lnTo>
                  <a:lnTo>
                    <a:pt x="515" y="305"/>
                  </a:lnTo>
                  <a:lnTo>
                    <a:pt x="526" y="297"/>
                  </a:lnTo>
                  <a:lnTo>
                    <a:pt x="537" y="289"/>
                  </a:lnTo>
                  <a:lnTo>
                    <a:pt x="549" y="281"/>
                  </a:lnTo>
                  <a:lnTo>
                    <a:pt x="573" y="267"/>
                  </a:lnTo>
                  <a:lnTo>
                    <a:pt x="629" y="57"/>
                  </a:lnTo>
                  <a:lnTo>
                    <a:pt x="419" y="0"/>
                  </a:lnTo>
                  <a:lnTo>
                    <a:pt x="401" y="11"/>
                  </a:lnTo>
                  <a:lnTo>
                    <a:pt x="383" y="23"/>
                  </a:lnTo>
                  <a:lnTo>
                    <a:pt x="365" y="35"/>
                  </a:lnTo>
                  <a:lnTo>
                    <a:pt x="347" y="47"/>
                  </a:lnTo>
                  <a:lnTo>
                    <a:pt x="330" y="60"/>
                  </a:lnTo>
                  <a:lnTo>
                    <a:pt x="314" y="73"/>
                  </a:lnTo>
                  <a:lnTo>
                    <a:pt x="297" y="86"/>
                  </a:lnTo>
                  <a:lnTo>
                    <a:pt x="282" y="100"/>
                  </a:lnTo>
                  <a:lnTo>
                    <a:pt x="266" y="114"/>
                  </a:lnTo>
                  <a:lnTo>
                    <a:pt x="251" y="128"/>
                  </a:lnTo>
                  <a:lnTo>
                    <a:pt x="237" y="143"/>
                  </a:lnTo>
                  <a:lnTo>
                    <a:pt x="222" y="158"/>
                  </a:lnTo>
                  <a:lnTo>
                    <a:pt x="209" y="173"/>
                  </a:lnTo>
                  <a:lnTo>
                    <a:pt x="195" y="188"/>
                  </a:lnTo>
                  <a:lnTo>
                    <a:pt x="182" y="204"/>
                  </a:lnTo>
                  <a:lnTo>
                    <a:pt x="170" y="220"/>
                  </a:lnTo>
                  <a:lnTo>
                    <a:pt x="158" y="237"/>
                  </a:lnTo>
                  <a:lnTo>
                    <a:pt x="146" y="254"/>
                  </a:lnTo>
                  <a:lnTo>
                    <a:pt x="135" y="270"/>
                  </a:lnTo>
                  <a:lnTo>
                    <a:pt x="124" y="288"/>
                  </a:lnTo>
                  <a:lnTo>
                    <a:pt x="114" y="305"/>
                  </a:lnTo>
                  <a:lnTo>
                    <a:pt x="104" y="323"/>
                  </a:lnTo>
                  <a:lnTo>
                    <a:pt x="94" y="341"/>
                  </a:lnTo>
                  <a:lnTo>
                    <a:pt x="85" y="359"/>
                  </a:lnTo>
                  <a:lnTo>
                    <a:pt x="76" y="377"/>
                  </a:lnTo>
                  <a:lnTo>
                    <a:pt x="68" y="395"/>
                  </a:lnTo>
                  <a:lnTo>
                    <a:pt x="61" y="414"/>
                  </a:lnTo>
                  <a:lnTo>
                    <a:pt x="53" y="433"/>
                  </a:lnTo>
                  <a:lnTo>
                    <a:pt x="47" y="452"/>
                  </a:lnTo>
                  <a:lnTo>
                    <a:pt x="40" y="471"/>
                  </a:lnTo>
                  <a:lnTo>
                    <a:pt x="29" y="509"/>
                  </a:lnTo>
                  <a:lnTo>
                    <a:pt x="24" y="529"/>
                  </a:lnTo>
                  <a:lnTo>
                    <a:pt x="19" y="548"/>
                  </a:lnTo>
                  <a:lnTo>
                    <a:pt x="15" y="568"/>
                  </a:lnTo>
                  <a:lnTo>
                    <a:pt x="12" y="588"/>
                  </a:lnTo>
                  <a:lnTo>
                    <a:pt x="9" y="608"/>
                  </a:lnTo>
                  <a:lnTo>
                    <a:pt x="6" y="628"/>
                  </a:lnTo>
                  <a:lnTo>
                    <a:pt x="4" y="648"/>
                  </a:lnTo>
                  <a:lnTo>
                    <a:pt x="2" y="668"/>
                  </a:lnTo>
                  <a:lnTo>
                    <a:pt x="1" y="688"/>
                  </a:lnTo>
                  <a:lnTo>
                    <a:pt x="0" y="708"/>
                  </a:lnTo>
                  <a:lnTo>
                    <a:pt x="0" y="749"/>
                  </a:lnTo>
                  <a:lnTo>
                    <a:pt x="1" y="769"/>
                  </a:lnTo>
                  <a:lnTo>
                    <a:pt x="2" y="790"/>
                  </a:lnTo>
                  <a:lnTo>
                    <a:pt x="4" y="810"/>
                  </a:lnTo>
                  <a:lnTo>
                    <a:pt x="6" y="831"/>
                  </a:lnTo>
                  <a:lnTo>
                    <a:pt x="13" y="871"/>
                  </a:lnTo>
                  <a:lnTo>
                    <a:pt x="16" y="891"/>
                  </a:lnTo>
                  <a:lnTo>
                    <a:pt x="21" y="911"/>
                  </a:lnTo>
                  <a:lnTo>
                    <a:pt x="25" y="932"/>
                  </a:lnTo>
                  <a:lnTo>
                    <a:pt x="31" y="952"/>
                  </a:lnTo>
                  <a:lnTo>
                    <a:pt x="36" y="972"/>
                  </a:lnTo>
                  <a:lnTo>
                    <a:pt x="43" y="991"/>
                  </a:lnTo>
                  <a:lnTo>
                    <a:pt x="57" y="1031"/>
                  </a:lnTo>
                  <a:lnTo>
                    <a:pt x="65" y="1050"/>
                  </a:lnTo>
                  <a:lnTo>
                    <a:pt x="73" y="1070"/>
                  </a:lnTo>
                  <a:lnTo>
                    <a:pt x="82" y="1089"/>
                  </a:lnTo>
                  <a:lnTo>
                    <a:pt x="92" y="1108"/>
                  </a:lnTo>
                  <a:lnTo>
                    <a:pt x="102" y="1127"/>
                  </a:lnTo>
                  <a:lnTo>
                    <a:pt x="113" y="1146"/>
                  </a:lnTo>
                  <a:lnTo>
                    <a:pt x="124" y="1165"/>
                  </a:lnTo>
                  <a:lnTo>
                    <a:pt x="135" y="1183"/>
                  </a:lnTo>
                  <a:lnTo>
                    <a:pt x="147" y="1201"/>
                  </a:lnTo>
                  <a:lnTo>
                    <a:pt x="159" y="1218"/>
                  </a:lnTo>
                  <a:lnTo>
                    <a:pt x="172" y="1235"/>
                  </a:lnTo>
                  <a:lnTo>
                    <a:pt x="185" y="1252"/>
                  </a:lnTo>
                  <a:lnTo>
                    <a:pt x="198" y="1268"/>
                  </a:lnTo>
                  <a:lnTo>
                    <a:pt x="212" y="1284"/>
                  </a:lnTo>
                  <a:lnTo>
                    <a:pt x="226" y="1299"/>
                  </a:lnTo>
                  <a:lnTo>
                    <a:pt x="240" y="1314"/>
                  </a:lnTo>
                  <a:lnTo>
                    <a:pt x="255" y="1329"/>
                  </a:lnTo>
                  <a:lnTo>
                    <a:pt x="270" y="1343"/>
                  </a:lnTo>
                  <a:lnTo>
                    <a:pt x="285" y="1357"/>
                  </a:lnTo>
                  <a:lnTo>
                    <a:pt x="301" y="1370"/>
                  </a:lnTo>
                  <a:lnTo>
                    <a:pt x="317" y="1383"/>
                  </a:lnTo>
                  <a:lnTo>
                    <a:pt x="333" y="1396"/>
                  </a:lnTo>
                  <a:lnTo>
                    <a:pt x="349" y="1408"/>
                  </a:lnTo>
                  <a:lnTo>
                    <a:pt x="366" y="1419"/>
                  </a:lnTo>
                  <a:lnTo>
                    <a:pt x="383" y="1431"/>
                  </a:lnTo>
                  <a:lnTo>
                    <a:pt x="400" y="1441"/>
                  </a:lnTo>
                  <a:lnTo>
                    <a:pt x="417" y="1452"/>
                  </a:lnTo>
                  <a:lnTo>
                    <a:pt x="435" y="1462"/>
                  </a:lnTo>
                  <a:lnTo>
                    <a:pt x="453" y="1471"/>
                  </a:lnTo>
                  <a:lnTo>
                    <a:pt x="471" y="1480"/>
                  </a:lnTo>
                  <a:lnTo>
                    <a:pt x="489" y="1489"/>
                  </a:lnTo>
                  <a:lnTo>
                    <a:pt x="508" y="1497"/>
                  </a:lnTo>
                  <a:lnTo>
                    <a:pt x="526" y="1505"/>
                  </a:lnTo>
                  <a:lnTo>
                    <a:pt x="545" y="1512"/>
                  </a:lnTo>
                  <a:lnTo>
                    <a:pt x="564" y="1519"/>
                  </a:lnTo>
                  <a:lnTo>
                    <a:pt x="583" y="1525"/>
                  </a:lnTo>
                  <a:lnTo>
                    <a:pt x="622" y="1536"/>
                  </a:lnTo>
                  <a:lnTo>
                    <a:pt x="641" y="1541"/>
                  </a:lnTo>
                  <a:lnTo>
                    <a:pt x="661" y="1546"/>
                  </a:lnTo>
                  <a:lnTo>
                    <a:pt x="680" y="1550"/>
                  </a:lnTo>
                  <a:lnTo>
                    <a:pt x="700" y="1554"/>
                  </a:lnTo>
                  <a:lnTo>
                    <a:pt x="720" y="1557"/>
                  </a:lnTo>
                  <a:lnTo>
                    <a:pt x="740" y="1559"/>
                  </a:lnTo>
                  <a:lnTo>
                    <a:pt x="760" y="1561"/>
                  </a:lnTo>
                  <a:lnTo>
                    <a:pt x="780" y="1563"/>
                  </a:lnTo>
                  <a:lnTo>
                    <a:pt x="800" y="1564"/>
                  </a:lnTo>
                  <a:lnTo>
                    <a:pt x="821" y="1565"/>
                  </a:lnTo>
                  <a:lnTo>
                    <a:pt x="862" y="1565"/>
                  </a:lnTo>
                  <a:lnTo>
                    <a:pt x="882" y="1564"/>
                  </a:lnTo>
                  <a:lnTo>
                    <a:pt x="903" y="1563"/>
                  </a:lnTo>
                  <a:lnTo>
                    <a:pt x="923" y="1561"/>
                  </a:lnTo>
                  <a:lnTo>
                    <a:pt x="943" y="1559"/>
                  </a:lnTo>
                  <a:lnTo>
                    <a:pt x="984" y="1553"/>
                  </a:lnTo>
                  <a:lnTo>
                    <a:pt x="1004" y="1549"/>
                  </a:lnTo>
                  <a:lnTo>
                    <a:pt x="1024" y="1545"/>
                  </a:lnTo>
                  <a:lnTo>
                    <a:pt x="1044" y="1540"/>
                  </a:lnTo>
                  <a:lnTo>
                    <a:pt x="1064" y="1535"/>
                  </a:lnTo>
                  <a:lnTo>
                    <a:pt x="1084" y="1529"/>
                  </a:lnTo>
                  <a:lnTo>
                    <a:pt x="1104" y="1522"/>
                  </a:lnTo>
                  <a:lnTo>
                    <a:pt x="1143" y="1508"/>
                  </a:lnTo>
                  <a:lnTo>
                    <a:pt x="1163" y="1500"/>
                  </a:lnTo>
                  <a:lnTo>
                    <a:pt x="1182" y="1492"/>
                  </a:lnTo>
                  <a:lnTo>
                    <a:pt x="1202" y="1483"/>
                  </a:lnTo>
                  <a:lnTo>
                    <a:pt x="1221" y="1473"/>
                  </a:lnTo>
                  <a:lnTo>
                    <a:pt x="1240" y="1463"/>
                  </a:lnTo>
                  <a:lnTo>
                    <a:pt x="1259" y="1453"/>
                  </a:lnTo>
                  <a:lnTo>
                    <a:pt x="1105" y="1187"/>
                  </a:lnTo>
                  <a:lnTo>
                    <a:pt x="1080" y="1200"/>
                  </a:lnTo>
                  <a:lnTo>
                    <a:pt x="1067" y="1206"/>
                  </a:lnTo>
                  <a:lnTo>
                    <a:pt x="1055" y="1212"/>
                  </a:lnTo>
                  <a:lnTo>
                    <a:pt x="1029" y="1223"/>
                  </a:lnTo>
                  <a:lnTo>
                    <a:pt x="1016" y="1227"/>
                  </a:lnTo>
                  <a:lnTo>
                    <a:pt x="1004" y="1232"/>
                  </a:lnTo>
                  <a:lnTo>
                    <a:pt x="991" y="1236"/>
                  </a:lnTo>
                  <a:lnTo>
                    <a:pt x="978" y="1240"/>
                  </a:lnTo>
                  <a:lnTo>
                    <a:pt x="965" y="1243"/>
                  </a:lnTo>
                  <a:lnTo>
                    <a:pt x="952" y="1246"/>
                  </a:lnTo>
                  <a:lnTo>
                    <a:pt x="939" y="1248"/>
                  </a:lnTo>
                  <a:lnTo>
                    <a:pt x="926" y="1251"/>
                  </a:lnTo>
                  <a:lnTo>
                    <a:pt x="899" y="1254"/>
                  </a:lnTo>
                  <a:lnTo>
                    <a:pt x="873" y="1257"/>
                  </a:lnTo>
                  <a:lnTo>
                    <a:pt x="860" y="1257"/>
                  </a:lnTo>
                  <a:lnTo>
                    <a:pt x="847" y="1258"/>
                  </a:lnTo>
                  <a:lnTo>
                    <a:pt x="820" y="1257"/>
                  </a:lnTo>
                  <a:lnTo>
                    <a:pt x="794" y="1256"/>
                  </a:lnTo>
                  <a:lnTo>
                    <a:pt x="768" y="1253"/>
                  </a:lnTo>
                  <a:lnTo>
                    <a:pt x="756" y="1251"/>
                  </a:lnTo>
                  <a:lnTo>
                    <a:pt x="743" y="1249"/>
                  </a:lnTo>
                  <a:lnTo>
                    <a:pt x="730" y="1247"/>
                  </a:lnTo>
                  <a:lnTo>
                    <a:pt x="718" y="1244"/>
                  </a:lnTo>
                  <a:lnTo>
                    <a:pt x="693" y="1238"/>
                  </a:lnTo>
                  <a:lnTo>
                    <a:pt x="680" y="1234"/>
                  </a:lnTo>
                  <a:lnTo>
                    <a:pt x="668" y="1230"/>
                  </a:lnTo>
                  <a:lnTo>
                    <a:pt x="644" y="1222"/>
                  </a:lnTo>
                  <a:lnTo>
                    <a:pt x="632" y="1217"/>
                  </a:lnTo>
                  <a:lnTo>
                    <a:pt x="620" y="1212"/>
                  </a:lnTo>
                  <a:lnTo>
                    <a:pt x="597" y="1201"/>
                  </a:lnTo>
                  <a:lnTo>
                    <a:pt x="574" y="1189"/>
                  </a:lnTo>
                  <a:lnTo>
                    <a:pt x="552" y="1176"/>
                  </a:lnTo>
                  <a:lnTo>
                    <a:pt x="541" y="1170"/>
                  </a:lnTo>
                  <a:lnTo>
                    <a:pt x="531" y="1162"/>
                  </a:lnTo>
                  <a:lnTo>
                    <a:pt x="520" y="1155"/>
                  </a:lnTo>
                  <a:lnTo>
                    <a:pt x="510" y="1148"/>
                  </a:lnTo>
                  <a:lnTo>
                    <a:pt x="490" y="1132"/>
                  </a:lnTo>
                  <a:lnTo>
                    <a:pt x="471" y="1115"/>
                  </a:lnTo>
                  <a:lnTo>
                    <a:pt x="453" y="1097"/>
                  </a:lnTo>
                  <a:lnTo>
                    <a:pt x="444" y="1088"/>
                  </a:lnTo>
                  <a:lnTo>
                    <a:pt x="435" y="1078"/>
                  </a:lnTo>
                  <a:lnTo>
                    <a:pt x="418" y="1059"/>
                  </a:lnTo>
                  <a:lnTo>
                    <a:pt x="403" y="1038"/>
                  </a:lnTo>
                  <a:lnTo>
                    <a:pt x="395" y="1028"/>
                  </a:lnTo>
                  <a:lnTo>
                    <a:pt x="388" y="1017"/>
                  </a:lnTo>
                  <a:lnTo>
                    <a:pt x="381" y="1006"/>
                  </a:lnTo>
                  <a:lnTo>
                    <a:pt x="375" y="995"/>
                  </a:lnTo>
                  <a:close/>
                  <a:moveTo>
                    <a:pt x="431" y="962"/>
                  </a:moveTo>
                  <a:lnTo>
                    <a:pt x="443" y="982"/>
                  </a:lnTo>
                  <a:lnTo>
                    <a:pt x="456" y="1000"/>
                  </a:lnTo>
                  <a:lnTo>
                    <a:pt x="469" y="1018"/>
                  </a:lnTo>
                  <a:lnTo>
                    <a:pt x="484" y="1035"/>
                  </a:lnTo>
                  <a:lnTo>
                    <a:pt x="499" y="1052"/>
                  </a:lnTo>
                  <a:lnTo>
                    <a:pt x="516" y="1067"/>
                  </a:lnTo>
                  <a:lnTo>
                    <a:pt x="532" y="1082"/>
                  </a:lnTo>
                  <a:lnTo>
                    <a:pt x="550" y="1096"/>
                  </a:lnTo>
                  <a:lnTo>
                    <a:pt x="568" y="1109"/>
                  </a:lnTo>
                  <a:lnTo>
                    <a:pt x="587" y="1121"/>
                  </a:lnTo>
                  <a:lnTo>
                    <a:pt x="597" y="1127"/>
                  </a:lnTo>
                  <a:lnTo>
                    <a:pt x="606" y="1133"/>
                  </a:lnTo>
                  <a:lnTo>
                    <a:pt x="626" y="1143"/>
                  </a:lnTo>
                  <a:lnTo>
                    <a:pt x="647" y="1153"/>
                  </a:lnTo>
                  <a:lnTo>
                    <a:pt x="667" y="1161"/>
                  </a:lnTo>
                  <a:lnTo>
                    <a:pt x="678" y="1165"/>
                  </a:lnTo>
                  <a:lnTo>
                    <a:pt x="689" y="1169"/>
                  </a:lnTo>
                  <a:lnTo>
                    <a:pt x="710" y="1175"/>
                  </a:lnTo>
                  <a:lnTo>
                    <a:pt x="721" y="1178"/>
                  </a:lnTo>
                  <a:lnTo>
                    <a:pt x="732" y="1181"/>
                  </a:lnTo>
                  <a:lnTo>
                    <a:pt x="743" y="1183"/>
                  </a:lnTo>
                  <a:lnTo>
                    <a:pt x="754" y="1185"/>
                  </a:lnTo>
                  <a:lnTo>
                    <a:pt x="777" y="1189"/>
                  </a:lnTo>
                  <a:lnTo>
                    <a:pt x="799" y="1191"/>
                  </a:lnTo>
                  <a:lnTo>
                    <a:pt x="811" y="1192"/>
                  </a:lnTo>
                  <a:lnTo>
                    <a:pt x="822" y="1193"/>
                  </a:lnTo>
                  <a:lnTo>
                    <a:pt x="846" y="1193"/>
                  </a:lnTo>
                  <a:lnTo>
                    <a:pt x="858" y="1193"/>
                  </a:lnTo>
                  <a:lnTo>
                    <a:pt x="869" y="1192"/>
                  </a:lnTo>
                  <a:lnTo>
                    <a:pt x="892" y="1190"/>
                  </a:lnTo>
                  <a:lnTo>
                    <a:pt x="904" y="1188"/>
                  </a:lnTo>
                  <a:lnTo>
                    <a:pt x="915" y="1187"/>
                  </a:lnTo>
                  <a:lnTo>
                    <a:pt x="938" y="1182"/>
                  </a:lnTo>
                  <a:lnTo>
                    <a:pt x="961" y="1177"/>
                  </a:lnTo>
                  <a:lnTo>
                    <a:pt x="984" y="1170"/>
                  </a:lnTo>
                  <a:lnTo>
                    <a:pt x="1006" y="1162"/>
                  </a:lnTo>
                  <a:lnTo>
                    <a:pt x="1028" y="1153"/>
                  </a:lnTo>
                  <a:lnTo>
                    <a:pt x="1039" y="1148"/>
                  </a:lnTo>
                  <a:lnTo>
                    <a:pt x="1050" y="1142"/>
                  </a:lnTo>
                  <a:lnTo>
                    <a:pt x="1072" y="1130"/>
                  </a:lnTo>
                  <a:lnTo>
                    <a:pt x="1093" y="1117"/>
                  </a:lnTo>
                  <a:lnTo>
                    <a:pt x="1104" y="1111"/>
                  </a:lnTo>
                  <a:lnTo>
                    <a:pt x="1114" y="1103"/>
                  </a:lnTo>
                  <a:lnTo>
                    <a:pt x="1133" y="1089"/>
                  </a:lnTo>
                  <a:lnTo>
                    <a:pt x="1151" y="1073"/>
                  </a:lnTo>
                  <a:lnTo>
                    <a:pt x="1160" y="1065"/>
                  </a:lnTo>
                  <a:lnTo>
                    <a:pt x="1169" y="1057"/>
                  </a:lnTo>
                  <a:lnTo>
                    <a:pt x="1185" y="1040"/>
                  </a:lnTo>
                  <a:lnTo>
                    <a:pt x="1200" y="1022"/>
                  </a:lnTo>
                  <a:lnTo>
                    <a:pt x="1215" y="1004"/>
                  </a:lnTo>
                  <a:lnTo>
                    <a:pt x="1228" y="985"/>
                  </a:lnTo>
                  <a:lnTo>
                    <a:pt x="1240" y="965"/>
                  </a:lnTo>
                  <a:lnTo>
                    <a:pt x="1246" y="955"/>
                  </a:lnTo>
                  <a:lnTo>
                    <a:pt x="1251" y="945"/>
                  </a:lnTo>
                  <a:lnTo>
                    <a:pt x="1262" y="925"/>
                  </a:lnTo>
                  <a:lnTo>
                    <a:pt x="1271" y="904"/>
                  </a:lnTo>
                  <a:lnTo>
                    <a:pt x="1279" y="883"/>
                  </a:lnTo>
                  <a:lnTo>
                    <a:pt x="1286" y="862"/>
                  </a:lnTo>
                  <a:lnTo>
                    <a:pt x="1292" y="840"/>
                  </a:lnTo>
                  <a:lnTo>
                    <a:pt x="1297" y="818"/>
                  </a:lnTo>
                  <a:lnTo>
                    <a:pt x="1301" y="796"/>
                  </a:lnTo>
                  <a:lnTo>
                    <a:pt x="1304" y="772"/>
                  </a:lnTo>
                  <a:lnTo>
                    <a:pt x="1306" y="750"/>
                  </a:lnTo>
                  <a:lnTo>
                    <a:pt x="1307" y="728"/>
                  </a:lnTo>
                  <a:lnTo>
                    <a:pt x="1307" y="705"/>
                  </a:lnTo>
                  <a:lnTo>
                    <a:pt x="1306" y="683"/>
                  </a:lnTo>
                  <a:lnTo>
                    <a:pt x="1303" y="661"/>
                  </a:lnTo>
                  <a:lnTo>
                    <a:pt x="1300" y="639"/>
                  </a:lnTo>
                  <a:lnTo>
                    <a:pt x="1296" y="617"/>
                  </a:lnTo>
                  <a:lnTo>
                    <a:pt x="1290" y="595"/>
                  </a:lnTo>
                  <a:lnTo>
                    <a:pt x="1284" y="573"/>
                  </a:lnTo>
                  <a:lnTo>
                    <a:pt x="1276" y="552"/>
                  </a:lnTo>
                  <a:lnTo>
                    <a:pt x="1272" y="542"/>
                  </a:lnTo>
                  <a:lnTo>
                    <a:pt x="1267" y="531"/>
                  </a:lnTo>
                  <a:lnTo>
                    <a:pt x="1262" y="521"/>
                  </a:lnTo>
                  <a:lnTo>
                    <a:pt x="1257" y="511"/>
                  </a:lnTo>
                  <a:lnTo>
                    <a:pt x="1247" y="491"/>
                  </a:lnTo>
                  <a:lnTo>
                    <a:pt x="1235" y="472"/>
                  </a:lnTo>
                  <a:lnTo>
                    <a:pt x="1222" y="453"/>
                  </a:lnTo>
                  <a:lnTo>
                    <a:pt x="1208" y="435"/>
                  </a:lnTo>
                  <a:lnTo>
                    <a:pt x="1194" y="418"/>
                  </a:lnTo>
                  <a:lnTo>
                    <a:pt x="1178" y="401"/>
                  </a:lnTo>
                  <a:lnTo>
                    <a:pt x="1162" y="386"/>
                  </a:lnTo>
                  <a:lnTo>
                    <a:pt x="1145" y="371"/>
                  </a:lnTo>
                  <a:lnTo>
                    <a:pt x="1128" y="357"/>
                  </a:lnTo>
                  <a:lnTo>
                    <a:pt x="1119" y="350"/>
                  </a:lnTo>
                  <a:lnTo>
                    <a:pt x="1110" y="344"/>
                  </a:lnTo>
                  <a:lnTo>
                    <a:pt x="1091" y="332"/>
                  </a:lnTo>
                  <a:lnTo>
                    <a:pt x="1082" y="326"/>
                  </a:lnTo>
                  <a:lnTo>
                    <a:pt x="1072" y="320"/>
                  </a:lnTo>
                  <a:lnTo>
                    <a:pt x="1052" y="310"/>
                  </a:lnTo>
                  <a:lnTo>
                    <a:pt x="1032" y="300"/>
                  </a:lnTo>
                  <a:lnTo>
                    <a:pt x="1011" y="292"/>
                  </a:lnTo>
                  <a:lnTo>
                    <a:pt x="1000" y="288"/>
                  </a:lnTo>
                  <a:lnTo>
                    <a:pt x="990" y="284"/>
                  </a:lnTo>
                  <a:lnTo>
                    <a:pt x="968" y="278"/>
                  </a:lnTo>
                  <a:lnTo>
                    <a:pt x="957" y="275"/>
                  </a:lnTo>
                  <a:lnTo>
                    <a:pt x="946" y="272"/>
                  </a:lnTo>
                  <a:lnTo>
                    <a:pt x="935" y="270"/>
                  </a:lnTo>
                  <a:lnTo>
                    <a:pt x="924" y="267"/>
                  </a:lnTo>
                  <a:lnTo>
                    <a:pt x="902" y="264"/>
                  </a:lnTo>
                  <a:lnTo>
                    <a:pt x="879" y="261"/>
                  </a:lnTo>
                  <a:lnTo>
                    <a:pt x="868" y="261"/>
                  </a:lnTo>
                  <a:lnTo>
                    <a:pt x="856" y="260"/>
                  </a:lnTo>
                  <a:lnTo>
                    <a:pt x="833" y="260"/>
                  </a:lnTo>
                  <a:lnTo>
                    <a:pt x="821" y="260"/>
                  </a:lnTo>
                  <a:lnTo>
                    <a:pt x="809" y="261"/>
                  </a:lnTo>
                  <a:lnTo>
                    <a:pt x="786" y="263"/>
                  </a:lnTo>
                  <a:lnTo>
                    <a:pt x="775" y="264"/>
                  </a:lnTo>
                  <a:lnTo>
                    <a:pt x="763" y="266"/>
                  </a:lnTo>
                  <a:lnTo>
                    <a:pt x="740" y="270"/>
                  </a:lnTo>
                  <a:lnTo>
                    <a:pt x="718" y="276"/>
                  </a:lnTo>
                  <a:lnTo>
                    <a:pt x="695" y="283"/>
                  </a:lnTo>
                  <a:lnTo>
                    <a:pt x="672" y="291"/>
                  </a:lnTo>
                  <a:lnTo>
                    <a:pt x="650" y="300"/>
                  </a:lnTo>
                  <a:lnTo>
                    <a:pt x="627" y="311"/>
                  </a:lnTo>
                  <a:lnTo>
                    <a:pt x="605" y="323"/>
                  </a:lnTo>
                  <a:lnTo>
                    <a:pt x="584" y="336"/>
                  </a:lnTo>
                  <a:lnTo>
                    <a:pt x="564" y="350"/>
                  </a:lnTo>
                  <a:lnTo>
                    <a:pt x="545" y="364"/>
                  </a:lnTo>
                  <a:lnTo>
                    <a:pt x="527" y="380"/>
                  </a:lnTo>
                  <a:lnTo>
                    <a:pt x="518" y="388"/>
                  </a:lnTo>
                  <a:lnTo>
                    <a:pt x="510" y="396"/>
                  </a:lnTo>
                  <a:lnTo>
                    <a:pt x="493" y="413"/>
                  </a:lnTo>
                  <a:lnTo>
                    <a:pt x="478" y="431"/>
                  </a:lnTo>
                  <a:lnTo>
                    <a:pt x="471" y="440"/>
                  </a:lnTo>
                  <a:lnTo>
                    <a:pt x="464" y="449"/>
                  </a:lnTo>
                  <a:lnTo>
                    <a:pt x="451" y="468"/>
                  </a:lnTo>
                  <a:lnTo>
                    <a:pt x="438" y="487"/>
                  </a:lnTo>
                  <a:lnTo>
                    <a:pt x="433" y="497"/>
                  </a:lnTo>
                  <a:lnTo>
                    <a:pt x="427" y="507"/>
                  </a:lnTo>
                  <a:lnTo>
                    <a:pt x="417" y="528"/>
                  </a:lnTo>
                  <a:lnTo>
                    <a:pt x="408" y="549"/>
                  </a:lnTo>
                  <a:lnTo>
                    <a:pt x="404" y="559"/>
                  </a:lnTo>
                  <a:lnTo>
                    <a:pt x="400" y="570"/>
                  </a:lnTo>
                  <a:lnTo>
                    <a:pt x="392" y="591"/>
                  </a:lnTo>
                  <a:lnTo>
                    <a:pt x="386" y="613"/>
                  </a:lnTo>
                  <a:lnTo>
                    <a:pt x="384" y="624"/>
                  </a:lnTo>
                  <a:lnTo>
                    <a:pt x="381" y="635"/>
                  </a:lnTo>
                  <a:lnTo>
                    <a:pt x="379" y="646"/>
                  </a:lnTo>
                  <a:lnTo>
                    <a:pt x="377" y="657"/>
                  </a:lnTo>
                  <a:lnTo>
                    <a:pt x="374" y="679"/>
                  </a:lnTo>
                  <a:lnTo>
                    <a:pt x="372" y="702"/>
                  </a:lnTo>
                  <a:lnTo>
                    <a:pt x="371" y="724"/>
                  </a:lnTo>
                  <a:lnTo>
                    <a:pt x="371" y="747"/>
                  </a:lnTo>
                  <a:lnTo>
                    <a:pt x="372" y="758"/>
                  </a:lnTo>
                  <a:lnTo>
                    <a:pt x="372" y="769"/>
                  </a:lnTo>
                  <a:lnTo>
                    <a:pt x="373" y="781"/>
                  </a:lnTo>
                  <a:lnTo>
                    <a:pt x="375" y="792"/>
                  </a:lnTo>
                  <a:lnTo>
                    <a:pt x="378" y="815"/>
                  </a:lnTo>
                  <a:lnTo>
                    <a:pt x="382" y="837"/>
                  </a:lnTo>
                  <a:lnTo>
                    <a:pt x="388" y="858"/>
                  </a:lnTo>
                  <a:lnTo>
                    <a:pt x="394" y="880"/>
                  </a:lnTo>
                  <a:lnTo>
                    <a:pt x="402" y="901"/>
                  </a:lnTo>
                  <a:lnTo>
                    <a:pt x="406" y="911"/>
                  </a:lnTo>
                  <a:lnTo>
                    <a:pt x="410" y="922"/>
                  </a:lnTo>
                  <a:lnTo>
                    <a:pt x="415" y="932"/>
                  </a:lnTo>
                  <a:lnTo>
                    <a:pt x="420" y="942"/>
                  </a:lnTo>
                  <a:lnTo>
                    <a:pt x="431" y="962"/>
                  </a:lnTo>
                  <a:close/>
                  <a:moveTo>
                    <a:pt x="3652" y="820"/>
                  </a:moveTo>
                  <a:lnTo>
                    <a:pt x="3636" y="813"/>
                  </a:lnTo>
                  <a:lnTo>
                    <a:pt x="3621" y="807"/>
                  </a:lnTo>
                  <a:lnTo>
                    <a:pt x="3606" y="802"/>
                  </a:lnTo>
                  <a:lnTo>
                    <a:pt x="3593" y="799"/>
                  </a:lnTo>
                  <a:lnTo>
                    <a:pt x="3579" y="796"/>
                  </a:lnTo>
                  <a:lnTo>
                    <a:pt x="3564" y="795"/>
                  </a:lnTo>
                  <a:lnTo>
                    <a:pt x="3549" y="794"/>
                  </a:lnTo>
                  <a:lnTo>
                    <a:pt x="3533" y="793"/>
                  </a:lnTo>
                  <a:lnTo>
                    <a:pt x="3520" y="794"/>
                  </a:lnTo>
                  <a:lnTo>
                    <a:pt x="3507" y="795"/>
                  </a:lnTo>
                  <a:lnTo>
                    <a:pt x="3494" y="796"/>
                  </a:lnTo>
                  <a:lnTo>
                    <a:pt x="3488" y="797"/>
                  </a:lnTo>
                  <a:lnTo>
                    <a:pt x="3482" y="798"/>
                  </a:lnTo>
                  <a:lnTo>
                    <a:pt x="3470" y="801"/>
                  </a:lnTo>
                  <a:lnTo>
                    <a:pt x="3458" y="804"/>
                  </a:lnTo>
                  <a:lnTo>
                    <a:pt x="3447" y="808"/>
                  </a:lnTo>
                  <a:lnTo>
                    <a:pt x="3437" y="813"/>
                  </a:lnTo>
                  <a:lnTo>
                    <a:pt x="3426" y="818"/>
                  </a:lnTo>
                  <a:lnTo>
                    <a:pt x="3417" y="824"/>
                  </a:lnTo>
                  <a:lnTo>
                    <a:pt x="3407" y="830"/>
                  </a:lnTo>
                  <a:lnTo>
                    <a:pt x="3398" y="837"/>
                  </a:lnTo>
                  <a:lnTo>
                    <a:pt x="3389" y="844"/>
                  </a:lnTo>
                  <a:lnTo>
                    <a:pt x="3381" y="852"/>
                  </a:lnTo>
                  <a:lnTo>
                    <a:pt x="3373" y="860"/>
                  </a:lnTo>
                  <a:lnTo>
                    <a:pt x="3366" y="869"/>
                  </a:lnTo>
                  <a:lnTo>
                    <a:pt x="3359" y="878"/>
                  </a:lnTo>
                  <a:lnTo>
                    <a:pt x="3352" y="888"/>
                  </a:lnTo>
                  <a:lnTo>
                    <a:pt x="3346" y="899"/>
                  </a:lnTo>
                  <a:lnTo>
                    <a:pt x="3340" y="910"/>
                  </a:lnTo>
                  <a:lnTo>
                    <a:pt x="3335" y="921"/>
                  </a:lnTo>
                  <a:lnTo>
                    <a:pt x="3330" y="933"/>
                  </a:lnTo>
                  <a:lnTo>
                    <a:pt x="3325" y="945"/>
                  </a:lnTo>
                  <a:lnTo>
                    <a:pt x="3321" y="958"/>
                  </a:lnTo>
                  <a:lnTo>
                    <a:pt x="3318" y="971"/>
                  </a:lnTo>
                  <a:lnTo>
                    <a:pt x="3315" y="985"/>
                  </a:lnTo>
                  <a:lnTo>
                    <a:pt x="3312" y="999"/>
                  </a:lnTo>
                  <a:lnTo>
                    <a:pt x="3310" y="1013"/>
                  </a:lnTo>
                  <a:lnTo>
                    <a:pt x="3308" y="1028"/>
                  </a:lnTo>
                  <a:lnTo>
                    <a:pt x="3307" y="1044"/>
                  </a:lnTo>
                  <a:lnTo>
                    <a:pt x="3306" y="1059"/>
                  </a:lnTo>
                  <a:lnTo>
                    <a:pt x="3306" y="1076"/>
                  </a:lnTo>
                  <a:lnTo>
                    <a:pt x="3306" y="1478"/>
                  </a:lnTo>
                  <a:lnTo>
                    <a:pt x="3048" y="1478"/>
                  </a:lnTo>
                  <a:lnTo>
                    <a:pt x="3048" y="1024"/>
                  </a:lnTo>
                  <a:lnTo>
                    <a:pt x="3048" y="570"/>
                  </a:lnTo>
                  <a:lnTo>
                    <a:pt x="3297" y="570"/>
                  </a:lnTo>
                  <a:lnTo>
                    <a:pt x="3297" y="776"/>
                  </a:lnTo>
                  <a:lnTo>
                    <a:pt x="3300" y="764"/>
                  </a:lnTo>
                  <a:lnTo>
                    <a:pt x="3304" y="751"/>
                  </a:lnTo>
                  <a:lnTo>
                    <a:pt x="3308" y="739"/>
                  </a:lnTo>
                  <a:lnTo>
                    <a:pt x="3312" y="727"/>
                  </a:lnTo>
                  <a:lnTo>
                    <a:pt x="3317" y="716"/>
                  </a:lnTo>
                  <a:lnTo>
                    <a:pt x="3322" y="705"/>
                  </a:lnTo>
                  <a:lnTo>
                    <a:pt x="3327" y="694"/>
                  </a:lnTo>
                  <a:lnTo>
                    <a:pt x="3333" y="684"/>
                  </a:lnTo>
                  <a:lnTo>
                    <a:pt x="3339" y="674"/>
                  </a:lnTo>
                  <a:lnTo>
                    <a:pt x="3346" y="664"/>
                  </a:lnTo>
                  <a:lnTo>
                    <a:pt x="3352" y="655"/>
                  </a:lnTo>
                  <a:lnTo>
                    <a:pt x="3360" y="646"/>
                  </a:lnTo>
                  <a:lnTo>
                    <a:pt x="3367" y="638"/>
                  </a:lnTo>
                  <a:lnTo>
                    <a:pt x="3375" y="630"/>
                  </a:lnTo>
                  <a:lnTo>
                    <a:pt x="3383" y="622"/>
                  </a:lnTo>
                  <a:lnTo>
                    <a:pt x="3392" y="615"/>
                  </a:lnTo>
                  <a:lnTo>
                    <a:pt x="3396" y="611"/>
                  </a:lnTo>
                  <a:lnTo>
                    <a:pt x="3401" y="608"/>
                  </a:lnTo>
                  <a:lnTo>
                    <a:pt x="3410" y="601"/>
                  </a:lnTo>
                  <a:lnTo>
                    <a:pt x="3419" y="595"/>
                  </a:lnTo>
                  <a:lnTo>
                    <a:pt x="3429" y="590"/>
                  </a:lnTo>
                  <a:lnTo>
                    <a:pt x="3439" y="585"/>
                  </a:lnTo>
                  <a:lnTo>
                    <a:pt x="3450" y="580"/>
                  </a:lnTo>
                  <a:lnTo>
                    <a:pt x="3461" y="576"/>
                  </a:lnTo>
                  <a:lnTo>
                    <a:pt x="3472" y="572"/>
                  </a:lnTo>
                  <a:lnTo>
                    <a:pt x="3483" y="568"/>
                  </a:lnTo>
                  <a:lnTo>
                    <a:pt x="3495" y="565"/>
                  </a:lnTo>
                  <a:lnTo>
                    <a:pt x="3507" y="563"/>
                  </a:lnTo>
                  <a:lnTo>
                    <a:pt x="3519" y="561"/>
                  </a:lnTo>
                  <a:lnTo>
                    <a:pt x="3531" y="559"/>
                  </a:lnTo>
                  <a:lnTo>
                    <a:pt x="3544" y="558"/>
                  </a:lnTo>
                  <a:lnTo>
                    <a:pt x="3557" y="557"/>
                  </a:lnTo>
                  <a:lnTo>
                    <a:pt x="3571" y="557"/>
                  </a:lnTo>
                  <a:lnTo>
                    <a:pt x="3589" y="557"/>
                  </a:lnTo>
                  <a:lnTo>
                    <a:pt x="3599" y="558"/>
                  </a:lnTo>
                  <a:lnTo>
                    <a:pt x="3609" y="559"/>
                  </a:lnTo>
                  <a:lnTo>
                    <a:pt x="3629" y="562"/>
                  </a:lnTo>
                  <a:lnTo>
                    <a:pt x="3652" y="566"/>
                  </a:lnTo>
                  <a:lnTo>
                    <a:pt x="3652" y="820"/>
                  </a:lnTo>
                  <a:close/>
                  <a:moveTo>
                    <a:pt x="4253" y="1478"/>
                  </a:moveTo>
                  <a:lnTo>
                    <a:pt x="4253" y="1275"/>
                  </a:lnTo>
                  <a:lnTo>
                    <a:pt x="4238" y="1278"/>
                  </a:lnTo>
                  <a:lnTo>
                    <a:pt x="4224" y="1281"/>
                  </a:lnTo>
                  <a:lnTo>
                    <a:pt x="4211" y="1283"/>
                  </a:lnTo>
                  <a:lnTo>
                    <a:pt x="4199" y="1284"/>
                  </a:lnTo>
                  <a:lnTo>
                    <a:pt x="4174" y="1286"/>
                  </a:lnTo>
                  <a:lnTo>
                    <a:pt x="4147" y="1286"/>
                  </a:lnTo>
                  <a:lnTo>
                    <a:pt x="4125" y="1286"/>
                  </a:lnTo>
                  <a:lnTo>
                    <a:pt x="4116" y="1285"/>
                  </a:lnTo>
                  <a:lnTo>
                    <a:pt x="4106" y="1284"/>
                  </a:lnTo>
                  <a:lnTo>
                    <a:pt x="4089" y="1281"/>
                  </a:lnTo>
                  <a:lnTo>
                    <a:pt x="4081" y="1280"/>
                  </a:lnTo>
                  <a:lnTo>
                    <a:pt x="4074" y="1278"/>
                  </a:lnTo>
                  <a:lnTo>
                    <a:pt x="4066" y="1275"/>
                  </a:lnTo>
                  <a:lnTo>
                    <a:pt x="4060" y="1272"/>
                  </a:lnTo>
                  <a:lnTo>
                    <a:pt x="4053" y="1269"/>
                  </a:lnTo>
                  <a:lnTo>
                    <a:pt x="4047" y="1266"/>
                  </a:lnTo>
                  <a:lnTo>
                    <a:pt x="4042" y="1262"/>
                  </a:lnTo>
                  <a:lnTo>
                    <a:pt x="4036" y="1258"/>
                  </a:lnTo>
                  <a:lnTo>
                    <a:pt x="4031" y="1253"/>
                  </a:lnTo>
                  <a:lnTo>
                    <a:pt x="4027" y="1248"/>
                  </a:lnTo>
                  <a:lnTo>
                    <a:pt x="4022" y="1243"/>
                  </a:lnTo>
                  <a:lnTo>
                    <a:pt x="4019" y="1238"/>
                  </a:lnTo>
                  <a:lnTo>
                    <a:pt x="4012" y="1225"/>
                  </a:lnTo>
                  <a:lnTo>
                    <a:pt x="4009" y="1218"/>
                  </a:lnTo>
                  <a:lnTo>
                    <a:pt x="4006" y="1211"/>
                  </a:lnTo>
                  <a:lnTo>
                    <a:pt x="4004" y="1203"/>
                  </a:lnTo>
                  <a:lnTo>
                    <a:pt x="4001" y="1195"/>
                  </a:lnTo>
                  <a:lnTo>
                    <a:pt x="3998" y="1178"/>
                  </a:lnTo>
                  <a:lnTo>
                    <a:pt x="3997" y="1168"/>
                  </a:lnTo>
                  <a:lnTo>
                    <a:pt x="3996" y="1158"/>
                  </a:lnTo>
                  <a:lnTo>
                    <a:pt x="3994" y="1137"/>
                  </a:lnTo>
                  <a:lnTo>
                    <a:pt x="3994" y="1114"/>
                  </a:lnTo>
                  <a:lnTo>
                    <a:pt x="3994" y="775"/>
                  </a:lnTo>
                  <a:lnTo>
                    <a:pt x="4242" y="775"/>
                  </a:lnTo>
                  <a:lnTo>
                    <a:pt x="4242" y="574"/>
                  </a:lnTo>
                  <a:lnTo>
                    <a:pt x="3994" y="574"/>
                  </a:lnTo>
                  <a:lnTo>
                    <a:pt x="3994" y="280"/>
                  </a:lnTo>
                  <a:lnTo>
                    <a:pt x="3736" y="426"/>
                  </a:lnTo>
                  <a:lnTo>
                    <a:pt x="3736" y="1160"/>
                  </a:lnTo>
                  <a:lnTo>
                    <a:pt x="3736" y="1182"/>
                  </a:lnTo>
                  <a:lnTo>
                    <a:pt x="3737" y="1202"/>
                  </a:lnTo>
                  <a:lnTo>
                    <a:pt x="3739" y="1222"/>
                  </a:lnTo>
                  <a:lnTo>
                    <a:pt x="3741" y="1241"/>
                  </a:lnTo>
                  <a:lnTo>
                    <a:pt x="3742" y="1251"/>
                  </a:lnTo>
                  <a:lnTo>
                    <a:pt x="3744" y="1260"/>
                  </a:lnTo>
                  <a:lnTo>
                    <a:pt x="3747" y="1278"/>
                  </a:lnTo>
                  <a:lnTo>
                    <a:pt x="3751" y="1295"/>
                  </a:lnTo>
                  <a:lnTo>
                    <a:pt x="3756" y="1311"/>
                  </a:lnTo>
                  <a:lnTo>
                    <a:pt x="3762" y="1326"/>
                  </a:lnTo>
                  <a:lnTo>
                    <a:pt x="3768" y="1341"/>
                  </a:lnTo>
                  <a:lnTo>
                    <a:pt x="3775" y="1355"/>
                  </a:lnTo>
                  <a:lnTo>
                    <a:pt x="3782" y="1369"/>
                  </a:lnTo>
                  <a:lnTo>
                    <a:pt x="3790" y="1381"/>
                  </a:lnTo>
                  <a:lnTo>
                    <a:pt x="3799" y="1393"/>
                  </a:lnTo>
                  <a:lnTo>
                    <a:pt x="3804" y="1399"/>
                  </a:lnTo>
                  <a:lnTo>
                    <a:pt x="3809" y="1405"/>
                  </a:lnTo>
                  <a:lnTo>
                    <a:pt x="3814" y="1410"/>
                  </a:lnTo>
                  <a:lnTo>
                    <a:pt x="3819" y="1415"/>
                  </a:lnTo>
                  <a:lnTo>
                    <a:pt x="3830" y="1425"/>
                  </a:lnTo>
                  <a:lnTo>
                    <a:pt x="3842" y="1434"/>
                  </a:lnTo>
                  <a:lnTo>
                    <a:pt x="3854" y="1443"/>
                  </a:lnTo>
                  <a:lnTo>
                    <a:pt x="3867" y="1451"/>
                  </a:lnTo>
                  <a:lnTo>
                    <a:pt x="3881" y="1458"/>
                  </a:lnTo>
                  <a:lnTo>
                    <a:pt x="3896" y="1465"/>
                  </a:lnTo>
                  <a:lnTo>
                    <a:pt x="3911" y="1470"/>
                  </a:lnTo>
                  <a:lnTo>
                    <a:pt x="3919" y="1473"/>
                  </a:lnTo>
                  <a:lnTo>
                    <a:pt x="3927" y="1476"/>
                  </a:lnTo>
                  <a:lnTo>
                    <a:pt x="3944" y="1480"/>
                  </a:lnTo>
                  <a:lnTo>
                    <a:pt x="3961" y="1484"/>
                  </a:lnTo>
                  <a:lnTo>
                    <a:pt x="3979" y="1488"/>
                  </a:lnTo>
                  <a:lnTo>
                    <a:pt x="3998" y="1491"/>
                  </a:lnTo>
                  <a:lnTo>
                    <a:pt x="4018" y="1493"/>
                  </a:lnTo>
                  <a:lnTo>
                    <a:pt x="4038" y="1494"/>
                  </a:lnTo>
                  <a:lnTo>
                    <a:pt x="4060" y="1495"/>
                  </a:lnTo>
                  <a:lnTo>
                    <a:pt x="4082" y="1495"/>
                  </a:lnTo>
                  <a:lnTo>
                    <a:pt x="4104" y="1495"/>
                  </a:lnTo>
                  <a:lnTo>
                    <a:pt x="4125" y="1495"/>
                  </a:lnTo>
                  <a:lnTo>
                    <a:pt x="4146" y="1493"/>
                  </a:lnTo>
                  <a:lnTo>
                    <a:pt x="4167" y="1492"/>
                  </a:lnTo>
                  <a:lnTo>
                    <a:pt x="4187" y="1490"/>
                  </a:lnTo>
                  <a:lnTo>
                    <a:pt x="4208" y="1487"/>
                  </a:lnTo>
                  <a:lnTo>
                    <a:pt x="4230" y="1483"/>
                  </a:lnTo>
                  <a:lnTo>
                    <a:pt x="4253" y="1478"/>
                  </a:lnTo>
                  <a:close/>
                  <a:moveTo>
                    <a:pt x="2979" y="1024"/>
                  </a:moveTo>
                  <a:lnTo>
                    <a:pt x="2978" y="1050"/>
                  </a:lnTo>
                  <a:lnTo>
                    <a:pt x="2976" y="1075"/>
                  </a:lnTo>
                  <a:lnTo>
                    <a:pt x="2974" y="1100"/>
                  </a:lnTo>
                  <a:lnTo>
                    <a:pt x="2970" y="1125"/>
                  </a:lnTo>
                  <a:lnTo>
                    <a:pt x="2966" y="1149"/>
                  </a:lnTo>
                  <a:lnTo>
                    <a:pt x="2960" y="1172"/>
                  </a:lnTo>
                  <a:lnTo>
                    <a:pt x="2954" y="1195"/>
                  </a:lnTo>
                  <a:lnTo>
                    <a:pt x="2950" y="1206"/>
                  </a:lnTo>
                  <a:lnTo>
                    <a:pt x="2946" y="1217"/>
                  </a:lnTo>
                  <a:lnTo>
                    <a:pt x="2938" y="1238"/>
                  </a:lnTo>
                  <a:lnTo>
                    <a:pt x="2928" y="1259"/>
                  </a:lnTo>
                  <a:lnTo>
                    <a:pt x="2918" y="1279"/>
                  </a:lnTo>
                  <a:lnTo>
                    <a:pt x="2907" y="1299"/>
                  </a:lnTo>
                  <a:lnTo>
                    <a:pt x="2896" y="1317"/>
                  </a:lnTo>
                  <a:lnTo>
                    <a:pt x="2883" y="1335"/>
                  </a:lnTo>
                  <a:lnTo>
                    <a:pt x="2876" y="1344"/>
                  </a:lnTo>
                  <a:lnTo>
                    <a:pt x="2870" y="1352"/>
                  </a:lnTo>
                  <a:lnTo>
                    <a:pt x="2863" y="1360"/>
                  </a:lnTo>
                  <a:lnTo>
                    <a:pt x="2855" y="1368"/>
                  </a:lnTo>
                  <a:lnTo>
                    <a:pt x="2848" y="1376"/>
                  </a:lnTo>
                  <a:lnTo>
                    <a:pt x="2840" y="1384"/>
                  </a:lnTo>
                  <a:lnTo>
                    <a:pt x="2833" y="1391"/>
                  </a:lnTo>
                  <a:lnTo>
                    <a:pt x="2825" y="1399"/>
                  </a:lnTo>
                  <a:lnTo>
                    <a:pt x="2817" y="1406"/>
                  </a:lnTo>
                  <a:lnTo>
                    <a:pt x="2808" y="1412"/>
                  </a:lnTo>
                  <a:lnTo>
                    <a:pt x="2791" y="1425"/>
                  </a:lnTo>
                  <a:lnTo>
                    <a:pt x="2783" y="1431"/>
                  </a:lnTo>
                  <a:lnTo>
                    <a:pt x="2774" y="1437"/>
                  </a:lnTo>
                  <a:lnTo>
                    <a:pt x="2755" y="1448"/>
                  </a:lnTo>
                  <a:lnTo>
                    <a:pt x="2746" y="1453"/>
                  </a:lnTo>
                  <a:lnTo>
                    <a:pt x="2736" y="1458"/>
                  </a:lnTo>
                  <a:lnTo>
                    <a:pt x="2716" y="1467"/>
                  </a:lnTo>
                  <a:lnTo>
                    <a:pt x="2696" y="1476"/>
                  </a:lnTo>
                  <a:lnTo>
                    <a:pt x="2686" y="1479"/>
                  </a:lnTo>
                  <a:lnTo>
                    <a:pt x="2675" y="1483"/>
                  </a:lnTo>
                  <a:lnTo>
                    <a:pt x="2665" y="1486"/>
                  </a:lnTo>
                  <a:lnTo>
                    <a:pt x="2654" y="1489"/>
                  </a:lnTo>
                  <a:lnTo>
                    <a:pt x="2632" y="1494"/>
                  </a:lnTo>
                  <a:lnTo>
                    <a:pt x="2609" y="1498"/>
                  </a:lnTo>
                  <a:lnTo>
                    <a:pt x="2598" y="1499"/>
                  </a:lnTo>
                  <a:lnTo>
                    <a:pt x="2586" y="1501"/>
                  </a:lnTo>
                  <a:lnTo>
                    <a:pt x="2563" y="1502"/>
                  </a:lnTo>
                  <a:lnTo>
                    <a:pt x="2551" y="1503"/>
                  </a:lnTo>
                  <a:lnTo>
                    <a:pt x="2539" y="1503"/>
                  </a:lnTo>
                  <a:lnTo>
                    <a:pt x="2513" y="1502"/>
                  </a:lnTo>
                  <a:lnTo>
                    <a:pt x="2501" y="1502"/>
                  </a:lnTo>
                  <a:lnTo>
                    <a:pt x="2488" y="1501"/>
                  </a:lnTo>
                  <a:lnTo>
                    <a:pt x="2475" y="1500"/>
                  </a:lnTo>
                  <a:lnTo>
                    <a:pt x="2462" y="1498"/>
                  </a:lnTo>
                  <a:lnTo>
                    <a:pt x="2439" y="1494"/>
                  </a:lnTo>
                  <a:lnTo>
                    <a:pt x="2415" y="1489"/>
                  </a:lnTo>
                  <a:lnTo>
                    <a:pt x="2393" y="1484"/>
                  </a:lnTo>
                  <a:lnTo>
                    <a:pt x="2382" y="1480"/>
                  </a:lnTo>
                  <a:lnTo>
                    <a:pt x="2371" y="1477"/>
                  </a:lnTo>
                  <a:lnTo>
                    <a:pt x="2350" y="1469"/>
                  </a:lnTo>
                  <a:lnTo>
                    <a:pt x="2329" y="1460"/>
                  </a:lnTo>
                  <a:lnTo>
                    <a:pt x="2319" y="1455"/>
                  </a:lnTo>
                  <a:lnTo>
                    <a:pt x="2309" y="1450"/>
                  </a:lnTo>
                  <a:lnTo>
                    <a:pt x="2290" y="1440"/>
                  </a:lnTo>
                  <a:lnTo>
                    <a:pt x="2272" y="1428"/>
                  </a:lnTo>
                  <a:lnTo>
                    <a:pt x="2254" y="1415"/>
                  </a:lnTo>
                  <a:lnTo>
                    <a:pt x="2246" y="1409"/>
                  </a:lnTo>
                  <a:lnTo>
                    <a:pt x="2237" y="1402"/>
                  </a:lnTo>
                  <a:lnTo>
                    <a:pt x="2221" y="1388"/>
                  </a:lnTo>
                  <a:lnTo>
                    <a:pt x="2206" y="1372"/>
                  </a:lnTo>
                  <a:lnTo>
                    <a:pt x="2199" y="1364"/>
                  </a:lnTo>
                  <a:lnTo>
                    <a:pt x="2192" y="1356"/>
                  </a:lnTo>
                  <a:lnTo>
                    <a:pt x="2185" y="1348"/>
                  </a:lnTo>
                  <a:lnTo>
                    <a:pt x="2178" y="1339"/>
                  </a:lnTo>
                  <a:lnTo>
                    <a:pt x="2172" y="1330"/>
                  </a:lnTo>
                  <a:lnTo>
                    <a:pt x="2166" y="1321"/>
                  </a:lnTo>
                  <a:lnTo>
                    <a:pt x="2154" y="1303"/>
                  </a:lnTo>
                  <a:lnTo>
                    <a:pt x="2143" y="1283"/>
                  </a:lnTo>
                  <a:lnTo>
                    <a:pt x="2138" y="1273"/>
                  </a:lnTo>
                  <a:lnTo>
                    <a:pt x="2133" y="1263"/>
                  </a:lnTo>
                  <a:lnTo>
                    <a:pt x="2124" y="1242"/>
                  </a:lnTo>
                  <a:lnTo>
                    <a:pt x="2115" y="1220"/>
                  </a:lnTo>
                  <a:lnTo>
                    <a:pt x="2108" y="1197"/>
                  </a:lnTo>
                  <a:lnTo>
                    <a:pt x="2101" y="1174"/>
                  </a:lnTo>
                  <a:lnTo>
                    <a:pt x="2096" y="1150"/>
                  </a:lnTo>
                  <a:lnTo>
                    <a:pt x="2094" y="1138"/>
                  </a:lnTo>
                  <a:lnTo>
                    <a:pt x="2092" y="1125"/>
                  </a:lnTo>
                  <a:lnTo>
                    <a:pt x="2088" y="1100"/>
                  </a:lnTo>
                  <a:lnTo>
                    <a:pt x="2085" y="1074"/>
                  </a:lnTo>
                  <a:lnTo>
                    <a:pt x="2085" y="1061"/>
                  </a:lnTo>
                  <a:lnTo>
                    <a:pt x="2084" y="1047"/>
                  </a:lnTo>
                  <a:lnTo>
                    <a:pt x="2083" y="1020"/>
                  </a:lnTo>
                  <a:lnTo>
                    <a:pt x="2084" y="995"/>
                  </a:lnTo>
                  <a:lnTo>
                    <a:pt x="2085" y="983"/>
                  </a:lnTo>
                  <a:lnTo>
                    <a:pt x="2085" y="970"/>
                  </a:lnTo>
                  <a:lnTo>
                    <a:pt x="2088" y="946"/>
                  </a:lnTo>
                  <a:lnTo>
                    <a:pt x="2092" y="922"/>
                  </a:lnTo>
                  <a:lnTo>
                    <a:pt x="2096" y="899"/>
                  </a:lnTo>
                  <a:lnTo>
                    <a:pt x="2102" y="876"/>
                  </a:lnTo>
                  <a:lnTo>
                    <a:pt x="2108" y="854"/>
                  </a:lnTo>
                  <a:lnTo>
                    <a:pt x="2116" y="832"/>
                  </a:lnTo>
                  <a:lnTo>
                    <a:pt x="2124" y="811"/>
                  </a:lnTo>
                  <a:lnTo>
                    <a:pt x="2133" y="791"/>
                  </a:lnTo>
                  <a:lnTo>
                    <a:pt x="2138" y="781"/>
                  </a:lnTo>
                  <a:lnTo>
                    <a:pt x="2144" y="770"/>
                  </a:lnTo>
                  <a:lnTo>
                    <a:pt x="2155" y="751"/>
                  </a:lnTo>
                  <a:lnTo>
                    <a:pt x="2160" y="742"/>
                  </a:lnTo>
                  <a:lnTo>
                    <a:pt x="2166" y="732"/>
                  </a:lnTo>
                  <a:lnTo>
                    <a:pt x="2173" y="723"/>
                  </a:lnTo>
                  <a:lnTo>
                    <a:pt x="2179" y="715"/>
                  </a:lnTo>
                  <a:lnTo>
                    <a:pt x="2193" y="698"/>
                  </a:lnTo>
                  <a:lnTo>
                    <a:pt x="2207" y="681"/>
                  </a:lnTo>
                  <a:lnTo>
                    <a:pt x="2222" y="666"/>
                  </a:lnTo>
                  <a:lnTo>
                    <a:pt x="2238" y="651"/>
                  </a:lnTo>
                  <a:lnTo>
                    <a:pt x="2255" y="637"/>
                  </a:lnTo>
                  <a:lnTo>
                    <a:pt x="2272" y="624"/>
                  </a:lnTo>
                  <a:lnTo>
                    <a:pt x="2290" y="612"/>
                  </a:lnTo>
                  <a:lnTo>
                    <a:pt x="2309" y="601"/>
                  </a:lnTo>
                  <a:lnTo>
                    <a:pt x="2329" y="591"/>
                  </a:lnTo>
                  <a:lnTo>
                    <a:pt x="2349" y="582"/>
                  </a:lnTo>
                  <a:lnTo>
                    <a:pt x="2359" y="577"/>
                  </a:lnTo>
                  <a:lnTo>
                    <a:pt x="2370" y="573"/>
                  </a:lnTo>
                  <a:lnTo>
                    <a:pt x="2391" y="566"/>
                  </a:lnTo>
                  <a:lnTo>
                    <a:pt x="2413" y="560"/>
                  </a:lnTo>
                  <a:lnTo>
                    <a:pt x="2436" y="555"/>
                  </a:lnTo>
                  <a:lnTo>
                    <a:pt x="2447" y="553"/>
                  </a:lnTo>
                  <a:lnTo>
                    <a:pt x="2459" y="551"/>
                  </a:lnTo>
                  <a:lnTo>
                    <a:pt x="2471" y="549"/>
                  </a:lnTo>
                  <a:lnTo>
                    <a:pt x="2483" y="548"/>
                  </a:lnTo>
                  <a:lnTo>
                    <a:pt x="2508" y="546"/>
                  </a:lnTo>
                  <a:lnTo>
                    <a:pt x="2521" y="546"/>
                  </a:lnTo>
                  <a:lnTo>
                    <a:pt x="2533" y="545"/>
                  </a:lnTo>
                  <a:lnTo>
                    <a:pt x="2559" y="546"/>
                  </a:lnTo>
                  <a:lnTo>
                    <a:pt x="2585" y="548"/>
                  </a:lnTo>
                  <a:lnTo>
                    <a:pt x="2610" y="551"/>
                  </a:lnTo>
                  <a:lnTo>
                    <a:pt x="2634" y="554"/>
                  </a:lnTo>
                  <a:lnTo>
                    <a:pt x="2657" y="559"/>
                  </a:lnTo>
                  <a:lnTo>
                    <a:pt x="2679" y="566"/>
                  </a:lnTo>
                  <a:lnTo>
                    <a:pt x="2701" y="573"/>
                  </a:lnTo>
                  <a:lnTo>
                    <a:pt x="2722" y="581"/>
                  </a:lnTo>
                  <a:lnTo>
                    <a:pt x="2742" y="590"/>
                  </a:lnTo>
                  <a:lnTo>
                    <a:pt x="2762" y="600"/>
                  </a:lnTo>
                  <a:lnTo>
                    <a:pt x="2780" y="611"/>
                  </a:lnTo>
                  <a:lnTo>
                    <a:pt x="2798" y="623"/>
                  </a:lnTo>
                  <a:lnTo>
                    <a:pt x="2815" y="636"/>
                  </a:lnTo>
                  <a:lnTo>
                    <a:pt x="2832" y="650"/>
                  </a:lnTo>
                  <a:lnTo>
                    <a:pt x="2847" y="664"/>
                  </a:lnTo>
                  <a:lnTo>
                    <a:pt x="2862" y="680"/>
                  </a:lnTo>
                  <a:lnTo>
                    <a:pt x="2876" y="696"/>
                  </a:lnTo>
                  <a:lnTo>
                    <a:pt x="2889" y="713"/>
                  </a:lnTo>
                  <a:lnTo>
                    <a:pt x="2901" y="731"/>
                  </a:lnTo>
                  <a:lnTo>
                    <a:pt x="2907" y="740"/>
                  </a:lnTo>
                  <a:lnTo>
                    <a:pt x="2912" y="749"/>
                  </a:lnTo>
                  <a:lnTo>
                    <a:pt x="2917" y="759"/>
                  </a:lnTo>
                  <a:lnTo>
                    <a:pt x="2923" y="769"/>
                  </a:lnTo>
                  <a:lnTo>
                    <a:pt x="2932" y="790"/>
                  </a:lnTo>
                  <a:lnTo>
                    <a:pt x="2941" y="810"/>
                  </a:lnTo>
                  <a:lnTo>
                    <a:pt x="2949" y="832"/>
                  </a:lnTo>
                  <a:lnTo>
                    <a:pt x="2956" y="854"/>
                  </a:lnTo>
                  <a:lnTo>
                    <a:pt x="2962" y="876"/>
                  </a:lnTo>
                  <a:lnTo>
                    <a:pt x="2967" y="899"/>
                  </a:lnTo>
                  <a:lnTo>
                    <a:pt x="2971" y="923"/>
                  </a:lnTo>
                  <a:lnTo>
                    <a:pt x="2974" y="948"/>
                  </a:lnTo>
                  <a:lnTo>
                    <a:pt x="2977" y="972"/>
                  </a:lnTo>
                  <a:lnTo>
                    <a:pt x="2978" y="998"/>
                  </a:lnTo>
                  <a:lnTo>
                    <a:pt x="2979" y="1024"/>
                  </a:lnTo>
                  <a:close/>
                  <a:moveTo>
                    <a:pt x="2718" y="1022"/>
                  </a:moveTo>
                  <a:lnTo>
                    <a:pt x="2718" y="1007"/>
                  </a:lnTo>
                  <a:lnTo>
                    <a:pt x="2717" y="992"/>
                  </a:lnTo>
                  <a:lnTo>
                    <a:pt x="2716" y="978"/>
                  </a:lnTo>
                  <a:lnTo>
                    <a:pt x="2715" y="964"/>
                  </a:lnTo>
                  <a:lnTo>
                    <a:pt x="2713" y="951"/>
                  </a:lnTo>
                  <a:lnTo>
                    <a:pt x="2711" y="938"/>
                  </a:lnTo>
                  <a:lnTo>
                    <a:pt x="2709" y="926"/>
                  </a:lnTo>
                  <a:lnTo>
                    <a:pt x="2706" y="913"/>
                  </a:lnTo>
                  <a:lnTo>
                    <a:pt x="2702" y="902"/>
                  </a:lnTo>
                  <a:lnTo>
                    <a:pt x="2699" y="890"/>
                  </a:lnTo>
                  <a:lnTo>
                    <a:pt x="2695" y="880"/>
                  </a:lnTo>
                  <a:lnTo>
                    <a:pt x="2690" y="869"/>
                  </a:lnTo>
                  <a:lnTo>
                    <a:pt x="2685" y="859"/>
                  </a:lnTo>
                  <a:lnTo>
                    <a:pt x="2680" y="850"/>
                  </a:lnTo>
                  <a:lnTo>
                    <a:pt x="2675" y="841"/>
                  </a:lnTo>
                  <a:lnTo>
                    <a:pt x="2669" y="832"/>
                  </a:lnTo>
                  <a:lnTo>
                    <a:pt x="2663" y="824"/>
                  </a:lnTo>
                  <a:lnTo>
                    <a:pt x="2657" y="816"/>
                  </a:lnTo>
                  <a:lnTo>
                    <a:pt x="2650" y="809"/>
                  </a:lnTo>
                  <a:lnTo>
                    <a:pt x="2643" y="802"/>
                  </a:lnTo>
                  <a:lnTo>
                    <a:pt x="2635" y="796"/>
                  </a:lnTo>
                  <a:lnTo>
                    <a:pt x="2627" y="791"/>
                  </a:lnTo>
                  <a:lnTo>
                    <a:pt x="2619" y="785"/>
                  </a:lnTo>
                  <a:lnTo>
                    <a:pt x="2611" y="781"/>
                  </a:lnTo>
                  <a:lnTo>
                    <a:pt x="2602" y="776"/>
                  </a:lnTo>
                  <a:lnTo>
                    <a:pt x="2593" y="772"/>
                  </a:lnTo>
                  <a:lnTo>
                    <a:pt x="2584" y="769"/>
                  </a:lnTo>
                  <a:lnTo>
                    <a:pt x="2574" y="767"/>
                  </a:lnTo>
                  <a:lnTo>
                    <a:pt x="2565" y="765"/>
                  </a:lnTo>
                  <a:lnTo>
                    <a:pt x="2554" y="763"/>
                  </a:lnTo>
                  <a:lnTo>
                    <a:pt x="2544" y="762"/>
                  </a:lnTo>
                  <a:lnTo>
                    <a:pt x="2533" y="762"/>
                  </a:lnTo>
                  <a:lnTo>
                    <a:pt x="2523" y="762"/>
                  </a:lnTo>
                  <a:lnTo>
                    <a:pt x="2512" y="763"/>
                  </a:lnTo>
                  <a:lnTo>
                    <a:pt x="2502" y="765"/>
                  </a:lnTo>
                  <a:lnTo>
                    <a:pt x="2492" y="767"/>
                  </a:lnTo>
                  <a:lnTo>
                    <a:pt x="2481" y="769"/>
                  </a:lnTo>
                  <a:lnTo>
                    <a:pt x="2472" y="772"/>
                  </a:lnTo>
                  <a:lnTo>
                    <a:pt x="2463" y="776"/>
                  </a:lnTo>
                  <a:lnTo>
                    <a:pt x="2454" y="781"/>
                  </a:lnTo>
                  <a:lnTo>
                    <a:pt x="2446" y="786"/>
                  </a:lnTo>
                  <a:lnTo>
                    <a:pt x="2437" y="791"/>
                  </a:lnTo>
                  <a:lnTo>
                    <a:pt x="2429" y="797"/>
                  </a:lnTo>
                  <a:lnTo>
                    <a:pt x="2422" y="803"/>
                  </a:lnTo>
                  <a:lnTo>
                    <a:pt x="2415" y="810"/>
                  </a:lnTo>
                  <a:lnTo>
                    <a:pt x="2408" y="817"/>
                  </a:lnTo>
                  <a:lnTo>
                    <a:pt x="2401" y="825"/>
                  </a:lnTo>
                  <a:lnTo>
                    <a:pt x="2395" y="833"/>
                  </a:lnTo>
                  <a:lnTo>
                    <a:pt x="2389" y="842"/>
                  </a:lnTo>
                  <a:lnTo>
                    <a:pt x="2383" y="851"/>
                  </a:lnTo>
                  <a:lnTo>
                    <a:pt x="2378" y="860"/>
                  </a:lnTo>
                  <a:lnTo>
                    <a:pt x="2373" y="870"/>
                  </a:lnTo>
                  <a:lnTo>
                    <a:pt x="2368" y="881"/>
                  </a:lnTo>
                  <a:lnTo>
                    <a:pt x="2364" y="891"/>
                  </a:lnTo>
                  <a:lnTo>
                    <a:pt x="2360" y="903"/>
                  </a:lnTo>
                  <a:lnTo>
                    <a:pt x="2357" y="914"/>
                  </a:lnTo>
                  <a:lnTo>
                    <a:pt x="2354" y="926"/>
                  </a:lnTo>
                  <a:lnTo>
                    <a:pt x="2351" y="939"/>
                  </a:lnTo>
                  <a:lnTo>
                    <a:pt x="2349" y="951"/>
                  </a:lnTo>
                  <a:lnTo>
                    <a:pt x="2347" y="964"/>
                  </a:lnTo>
                  <a:lnTo>
                    <a:pt x="2346" y="978"/>
                  </a:lnTo>
                  <a:lnTo>
                    <a:pt x="2344" y="991"/>
                  </a:lnTo>
                  <a:lnTo>
                    <a:pt x="2344" y="1005"/>
                  </a:lnTo>
                  <a:lnTo>
                    <a:pt x="2344" y="1020"/>
                  </a:lnTo>
                  <a:lnTo>
                    <a:pt x="2344" y="1034"/>
                  </a:lnTo>
                  <a:lnTo>
                    <a:pt x="2344" y="1049"/>
                  </a:lnTo>
                  <a:lnTo>
                    <a:pt x="2346" y="1063"/>
                  </a:lnTo>
                  <a:lnTo>
                    <a:pt x="2347" y="1076"/>
                  </a:lnTo>
                  <a:lnTo>
                    <a:pt x="2349" y="1090"/>
                  </a:lnTo>
                  <a:lnTo>
                    <a:pt x="2351" y="1103"/>
                  </a:lnTo>
                  <a:lnTo>
                    <a:pt x="2357" y="1127"/>
                  </a:lnTo>
                  <a:lnTo>
                    <a:pt x="2361" y="1139"/>
                  </a:lnTo>
                  <a:lnTo>
                    <a:pt x="2365" y="1150"/>
                  </a:lnTo>
                  <a:lnTo>
                    <a:pt x="2369" y="1162"/>
                  </a:lnTo>
                  <a:lnTo>
                    <a:pt x="2374" y="1172"/>
                  </a:lnTo>
                  <a:lnTo>
                    <a:pt x="2379" y="1182"/>
                  </a:lnTo>
                  <a:lnTo>
                    <a:pt x="2384" y="1192"/>
                  </a:lnTo>
                  <a:lnTo>
                    <a:pt x="2396" y="1210"/>
                  </a:lnTo>
                  <a:lnTo>
                    <a:pt x="2402" y="1219"/>
                  </a:lnTo>
                  <a:lnTo>
                    <a:pt x="2409" y="1227"/>
                  </a:lnTo>
                  <a:lnTo>
                    <a:pt x="2416" y="1234"/>
                  </a:lnTo>
                  <a:lnTo>
                    <a:pt x="2424" y="1241"/>
                  </a:lnTo>
                  <a:lnTo>
                    <a:pt x="2431" y="1247"/>
                  </a:lnTo>
                  <a:lnTo>
                    <a:pt x="2439" y="1253"/>
                  </a:lnTo>
                  <a:lnTo>
                    <a:pt x="2448" y="1259"/>
                  </a:lnTo>
                  <a:lnTo>
                    <a:pt x="2457" y="1264"/>
                  </a:lnTo>
                  <a:lnTo>
                    <a:pt x="2465" y="1268"/>
                  </a:lnTo>
                  <a:lnTo>
                    <a:pt x="2475" y="1272"/>
                  </a:lnTo>
                  <a:lnTo>
                    <a:pt x="2484" y="1275"/>
                  </a:lnTo>
                  <a:lnTo>
                    <a:pt x="2495" y="1278"/>
                  </a:lnTo>
                  <a:lnTo>
                    <a:pt x="2505" y="1280"/>
                  </a:lnTo>
                  <a:lnTo>
                    <a:pt x="2516" y="1281"/>
                  </a:lnTo>
                  <a:lnTo>
                    <a:pt x="2526" y="1282"/>
                  </a:lnTo>
                  <a:lnTo>
                    <a:pt x="2537" y="1283"/>
                  </a:lnTo>
                  <a:lnTo>
                    <a:pt x="2548" y="1282"/>
                  </a:lnTo>
                  <a:lnTo>
                    <a:pt x="2558" y="1281"/>
                  </a:lnTo>
                  <a:lnTo>
                    <a:pt x="2568" y="1280"/>
                  </a:lnTo>
                  <a:lnTo>
                    <a:pt x="2578" y="1278"/>
                  </a:lnTo>
                  <a:lnTo>
                    <a:pt x="2587" y="1275"/>
                  </a:lnTo>
                  <a:lnTo>
                    <a:pt x="2596" y="1272"/>
                  </a:lnTo>
                  <a:lnTo>
                    <a:pt x="2600" y="1271"/>
                  </a:lnTo>
                  <a:lnTo>
                    <a:pt x="2605" y="1269"/>
                  </a:lnTo>
                  <a:lnTo>
                    <a:pt x="2613" y="1264"/>
                  </a:lnTo>
                  <a:lnTo>
                    <a:pt x="2622" y="1260"/>
                  </a:lnTo>
                  <a:lnTo>
                    <a:pt x="2630" y="1255"/>
                  </a:lnTo>
                  <a:lnTo>
                    <a:pt x="2637" y="1249"/>
                  </a:lnTo>
                  <a:lnTo>
                    <a:pt x="2644" y="1243"/>
                  </a:lnTo>
                  <a:lnTo>
                    <a:pt x="2651" y="1236"/>
                  </a:lnTo>
                  <a:lnTo>
                    <a:pt x="2658" y="1229"/>
                  </a:lnTo>
                  <a:lnTo>
                    <a:pt x="2664" y="1221"/>
                  </a:lnTo>
                  <a:lnTo>
                    <a:pt x="2670" y="1213"/>
                  </a:lnTo>
                  <a:lnTo>
                    <a:pt x="2676" y="1204"/>
                  </a:lnTo>
                  <a:lnTo>
                    <a:pt x="2681" y="1195"/>
                  </a:lnTo>
                  <a:lnTo>
                    <a:pt x="2686" y="1185"/>
                  </a:lnTo>
                  <a:lnTo>
                    <a:pt x="2691" y="1175"/>
                  </a:lnTo>
                  <a:lnTo>
                    <a:pt x="2695" y="1165"/>
                  </a:lnTo>
                  <a:lnTo>
                    <a:pt x="2699" y="1154"/>
                  </a:lnTo>
                  <a:lnTo>
                    <a:pt x="2703" y="1142"/>
                  </a:lnTo>
                  <a:lnTo>
                    <a:pt x="2706" y="1131"/>
                  </a:lnTo>
                  <a:lnTo>
                    <a:pt x="2709" y="1118"/>
                  </a:lnTo>
                  <a:lnTo>
                    <a:pt x="2711" y="1106"/>
                  </a:lnTo>
                  <a:lnTo>
                    <a:pt x="2713" y="1093"/>
                  </a:lnTo>
                  <a:lnTo>
                    <a:pt x="2715" y="1079"/>
                  </a:lnTo>
                  <a:lnTo>
                    <a:pt x="2717" y="1065"/>
                  </a:lnTo>
                  <a:lnTo>
                    <a:pt x="2718" y="1051"/>
                  </a:lnTo>
                  <a:lnTo>
                    <a:pt x="2718" y="1037"/>
                  </a:lnTo>
                  <a:lnTo>
                    <a:pt x="2718" y="1022"/>
                  </a:lnTo>
                  <a:close/>
                  <a:moveTo>
                    <a:pt x="5165" y="1037"/>
                  </a:moveTo>
                  <a:lnTo>
                    <a:pt x="5165" y="570"/>
                  </a:lnTo>
                  <a:lnTo>
                    <a:pt x="4907" y="570"/>
                  </a:lnTo>
                  <a:lnTo>
                    <a:pt x="4907" y="1037"/>
                  </a:lnTo>
                  <a:lnTo>
                    <a:pt x="4906" y="1070"/>
                  </a:lnTo>
                  <a:lnTo>
                    <a:pt x="4905" y="1100"/>
                  </a:lnTo>
                  <a:lnTo>
                    <a:pt x="4904" y="1114"/>
                  </a:lnTo>
                  <a:lnTo>
                    <a:pt x="4903" y="1127"/>
                  </a:lnTo>
                  <a:lnTo>
                    <a:pt x="4900" y="1152"/>
                  </a:lnTo>
                  <a:lnTo>
                    <a:pt x="4895" y="1174"/>
                  </a:lnTo>
                  <a:lnTo>
                    <a:pt x="4890" y="1194"/>
                  </a:lnTo>
                  <a:lnTo>
                    <a:pt x="4887" y="1203"/>
                  </a:lnTo>
                  <a:lnTo>
                    <a:pt x="4883" y="1211"/>
                  </a:lnTo>
                  <a:lnTo>
                    <a:pt x="4879" y="1219"/>
                  </a:lnTo>
                  <a:lnTo>
                    <a:pt x="4875" y="1226"/>
                  </a:lnTo>
                  <a:lnTo>
                    <a:pt x="4866" y="1240"/>
                  </a:lnTo>
                  <a:lnTo>
                    <a:pt x="4860" y="1245"/>
                  </a:lnTo>
                  <a:lnTo>
                    <a:pt x="4855" y="1251"/>
                  </a:lnTo>
                  <a:lnTo>
                    <a:pt x="4849" y="1255"/>
                  </a:lnTo>
                  <a:lnTo>
                    <a:pt x="4843" y="1260"/>
                  </a:lnTo>
                  <a:lnTo>
                    <a:pt x="4836" y="1264"/>
                  </a:lnTo>
                  <a:lnTo>
                    <a:pt x="4829" y="1267"/>
                  </a:lnTo>
                  <a:lnTo>
                    <a:pt x="4821" y="1270"/>
                  </a:lnTo>
                  <a:lnTo>
                    <a:pt x="4813" y="1273"/>
                  </a:lnTo>
                  <a:lnTo>
                    <a:pt x="4805" y="1275"/>
                  </a:lnTo>
                  <a:lnTo>
                    <a:pt x="4796" y="1276"/>
                  </a:lnTo>
                  <a:lnTo>
                    <a:pt x="4787" y="1278"/>
                  </a:lnTo>
                  <a:lnTo>
                    <a:pt x="4777" y="1279"/>
                  </a:lnTo>
                  <a:lnTo>
                    <a:pt x="4767" y="1279"/>
                  </a:lnTo>
                  <a:lnTo>
                    <a:pt x="4757" y="1279"/>
                  </a:lnTo>
                  <a:lnTo>
                    <a:pt x="4746" y="1279"/>
                  </a:lnTo>
                  <a:lnTo>
                    <a:pt x="4735" y="1279"/>
                  </a:lnTo>
                  <a:lnTo>
                    <a:pt x="4725" y="1278"/>
                  </a:lnTo>
                  <a:lnTo>
                    <a:pt x="4715" y="1276"/>
                  </a:lnTo>
                  <a:lnTo>
                    <a:pt x="4706" y="1275"/>
                  </a:lnTo>
                  <a:lnTo>
                    <a:pt x="4697" y="1273"/>
                  </a:lnTo>
                  <a:lnTo>
                    <a:pt x="4689" y="1270"/>
                  </a:lnTo>
                  <a:lnTo>
                    <a:pt x="4681" y="1267"/>
                  </a:lnTo>
                  <a:lnTo>
                    <a:pt x="4674" y="1264"/>
                  </a:lnTo>
                  <a:lnTo>
                    <a:pt x="4667" y="1260"/>
                  </a:lnTo>
                  <a:lnTo>
                    <a:pt x="4660" y="1256"/>
                  </a:lnTo>
                  <a:lnTo>
                    <a:pt x="4654" y="1251"/>
                  </a:lnTo>
                  <a:lnTo>
                    <a:pt x="4648" y="1246"/>
                  </a:lnTo>
                  <a:lnTo>
                    <a:pt x="4642" y="1241"/>
                  </a:lnTo>
                  <a:lnTo>
                    <a:pt x="4637" y="1235"/>
                  </a:lnTo>
                  <a:lnTo>
                    <a:pt x="4632" y="1228"/>
                  </a:lnTo>
                  <a:lnTo>
                    <a:pt x="4627" y="1221"/>
                  </a:lnTo>
                  <a:lnTo>
                    <a:pt x="4623" y="1214"/>
                  </a:lnTo>
                  <a:lnTo>
                    <a:pt x="4619" y="1206"/>
                  </a:lnTo>
                  <a:lnTo>
                    <a:pt x="4616" y="1197"/>
                  </a:lnTo>
                  <a:lnTo>
                    <a:pt x="4613" y="1188"/>
                  </a:lnTo>
                  <a:lnTo>
                    <a:pt x="4610" y="1179"/>
                  </a:lnTo>
                  <a:lnTo>
                    <a:pt x="4607" y="1169"/>
                  </a:lnTo>
                  <a:lnTo>
                    <a:pt x="4605" y="1158"/>
                  </a:lnTo>
                  <a:lnTo>
                    <a:pt x="4603" y="1147"/>
                  </a:lnTo>
                  <a:lnTo>
                    <a:pt x="4601" y="1135"/>
                  </a:lnTo>
                  <a:lnTo>
                    <a:pt x="4600" y="1123"/>
                  </a:lnTo>
                  <a:lnTo>
                    <a:pt x="4599" y="1110"/>
                  </a:lnTo>
                  <a:lnTo>
                    <a:pt x="4598" y="1096"/>
                  </a:lnTo>
                  <a:lnTo>
                    <a:pt x="4597" y="1082"/>
                  </a:lnTo>
                  <a:lnTo>
                    <a:pt x="4597" y="1052"/>
                  </a:lnTo>
                  <a:lnTo>
                    <a:pt x="4597" y="570"/>
                  </a:lnTo>
                  <a:lnTo>
                    <a:pt x="4338" y="570"/>
                  </a:lnTo>
                  <a:lnTo>
                    <a:pt x="4338" y="1048"/>
                  </a:lnTo>
                  <a:lnTo>
                    <a:pt x="4339" y="1067"/>
                  </a:lnTo>
                  <a:lnTo>
                    <a:pt x="4339" y="1084"/>
                  </a:lnTo>
                  <a:lnTo>
                    <a:pt x="4340" y="1118"/>
                  </a:lnTo>
                  <a:lnTo>
                    <a:pt x="4342" y="1149"/>
                  </a:lnTo>
                  <a:lnTo>
                    <a:pt x="4345" y="1178"/>
                  </a:lnTo>
                  <a:lnTo>
                    <a:pt x="4347" y="1192"/>
                  </a:lnTo>
                  <a:lnTo>
                    <a:pt x="4349" y="1205"/>
                  </a:lnTo>
                  <a:lnTo>
                    <a:pt x="4353" y="1230"/>
                  </a:lnTo>
                  <a:lnTo>
                    <a:pt x="4356" y="1242"/>
                  </a:lnTo>
                  <a:lnTo>
                    <a:pt x="4359" y="1254"/>
                  </a:lnTo>
                  <a:lnTo>
                    <a:pt x="4362" y="1265"/>
                  </a:lnTo>
                  <a:lnTo>
                    <a:pt x="4366" y="1275"/>
                  </a:lnTo>
                  <a:lnTo>
                    <a:pt x="4373" y="1296"/>
                  </a:lnTo>
                  <a:lnTo>
                    <a:pt x="4382" y="1315"/>
                  </a:lnTo>
                  <a:lnTo>
                    <a:pt x="4392" y="1333"/>
                  </a:lnTo>
                  <a:lnTo>
                    <a:pt x="4398" y="1341"/>
                  </a:lnTo>
                  <a:lnTo>
                    <a:pt x="4404" y="1350"/>
                  </a:lnTo>
                  <a:lnTo>
                    <a:pt x="4410" y="1358"/>
                  </a:lnTo>
                  <a:lnTo>
                    <a:pt x="4416" y="1366"/>
                  </a:lnTo>
                  <a:lnTo>
                    <a:pt x="4423" y="1373"/>
                  </a:lnTo>
                  <a:lnTo>
                    <a:pt x="4430" y="1381"/>
                  </a:lnTo>
                  <a:lnTo>
                    <a:pt x="4437" y="1388"/>
                  </a:lnTo>
                  <a:lnTo>
                    <a:pt x="4445" y="1396"/>
                  </a:lnTo>
                  <a:lnTo>
                    <a:pt x="4461" y="1410"/>
                  </a:lnTo>
                  <a:lnTo>
                    <a:pt x="4475" y="1421"/>
                  </a:lnTo>
                  <a:lnTo>
                    <a:pt x="4489" y="1431"/>
                  </a:lnTo>
                  <a:lnTo>
                    <a:pt x="4505" y="1440"/>
                  </a:lnTo>
                  <a:lnTo>
                    <a:pt x="4520" y="1449"/>
                  </a:lnTo>
                  <a:lnTo>
                    <a:pt x="4537" y="1457"/>
                  </a:lnTo>
                  <a:lnTo>
                    <a:pt x="4554" y="1464"/>
                  </a:lnTo>
                  <a:lnTo>
                    <a:pt x="4572" y="1471"/>
                  </a:lnTo>
                  <a:lnTo>
                    <a:pt x="4590" y="1477"/>
                  </a:lnTo>
                  <a:lnTo>
                    <a:pt x="4609" y="1482"/>
                  </a:lnTo>
                  <a:lnTo>
                    <a:pt x="4619" y="1484"/>
                  </a:lnTo>
                  <a:lnTo>
                    <a:pt x="4628" y="1486"/>
                  </a:lnTo>
                  <a:lnTo>
                    <a:pt x="4638" y="1489"/>
                  </a:lnTo>
                  <a:lnTo>
                    <a:pt x="4648" y="1490"/>
                  </a:lnTo>
                  <a:lnTo>
                    <a:pt x="4669" y="1494"/>
                  </a:lnTo>
                  <a:lnTo>
                    <a:pt x="4689" y="1496"/>
                  </a:lnTo>
                  <a:lnTo>
                    <a:pt x="4711" y="1498"/>
                  </a:lnTo>
                  <a:lnTo>
                    <a:pt x="4732" y="1499"/>
                  </a:lnTo>
                  <a:lnTo>
                    <a:pt x="4755" y="1499"/>
                  </a:lnTo>
                  <a:lnTo>
                    <a:pt x="4781" y="1499"/>
                  </a:lnTo>
                  <a:lnTo>
                    <a:pt x="4806" y="1497"/>
                  </a:lnTo>
                  <a:lnTo>
                    <a:pt x="4818" y="1496"/>
                  </a:lnTo>
                  <a:lnTo>
                    <a:pt x="4831" y="1494"/>
                  </a:lnTo>
                  <a:lnTo>
                    <a:pt x="4855" y="1491"/>
                  </a:lnTo>
                  <a:lnTo>
                    <a:pt x="4878" y="1486"/>
                  </a:lnTo>
                  <a:lnTo>
                    <a:pt x="4900" y="1480"/>
                  </a:lnTo>
                  <a:lnTo>
                    <a:pt x="4911" y="1477"/>
                  </a:lnTo>
                  <a:lnTo>
                    <a:pt x="4922" y="1474"/>
                  </a:lnTo>
                  <a:lnTo>
                    <a:pt x="4943" y="1466"/>
                  </a:lnTo>
                  <a:lnTo>
                    <a:pt x="4953" y="1462"/>
                  </a:lnTo>
                  <a:lnTo>
                    <a:pt x="4963" y="1457"/>
                  </a:lnTo>
                  <a:lnTo>
                    <a:pt x="4983" y="1448"/>
                  </a:lnTo>
                  <a:lnTo>
                    <a:pt x="5001" y="1437"/>
                  </a:lnTo>
                  <a:lnTo>
                    <a:pt x="5019" y="1426"/>
                  </a:lnTo>
                  <a:lnTo>
                    <a:pt x="5036" y="1413"/>
                  </a:lnTo>
                  <a:lnTo>
                    <a:pt x="5044" y="1407"/>
                  </a:lnTo>
                  <a:lnTo>
                    <a:pt x="5052" y="1400"/>
                  </a:lnTo>
                  <a:lnTo>
                    <a:pt x="5059" y="1393"/>
                  </a:lnTo>
                  <a:lnTo>
                    <a:pt x="5066" y="1386"/>
                  </a:lnTo>
                  <a:lnTo>
                    <a:pt x="5080" y="1370"/>
                  </a:lnTo>
                  <a:lnTo>
                    <a:pt x="5091" y="1357"/>
                  </a:lnTo>
                  <a:lnTo>
                    <a:pt x="5096" y="1350"/>
                  </a:lnTo>
                  <a:lnTo>
                    <a:pt x="5101" y="1344"/>
                  </a:lnTo>
                  <a:lnTo>
                    <a:pt x="5106" y="1336"/>
                  </a:lnTo>
                  <a:lnTo>
                    <a:pt x="5110" y="1329"/>
                  </a:lnTo>
                  <a:lnTo>
                    <a:pt x="5118" y="1314"/>
                  </a:lnTo>
                  <a:lnTo>
                    <a:pt x="5126" y="1298"/>
                  </a:lnTo>
                  <a:lnTo>
                    <a:pt x="5133" y="1280"/>
                  </a:lnTo>
                  <a:lnTo>
                    <a:pt x="5139" y="1262"/>
                  </a:lnTo>
                  <a:lnTo>
                    <a:pt x="5145" y="1243"/>
                  </a:lnTo>
                  <a:lnTo>
                    <a:pt x="5150" y="1222"/>
                  </a:lnTo>
                  <a:lnTo>
                    <a:pt x="5154" y="1200"/>
                  </a:lnTo>
                  <a:lnTo>
                    <a:pt x="5157" y="1177"/>
                  </a:lnTo>
                  <a:lnTo>
                    <a:pt x="5160" y="1152"/>
                  </a:lnTo>
                  <a:lnTo>
                    <a:pt x="5162" y="1126"/>
                  </a:lnTo>
                  <a:lnTo>
                    <a:pt x="5163" y="1112"/>
                  </a:lnTo>
                  <a:lnTo>
                    <a:pt x="5164" y="1098"/>
                  </a:lnTo>
                  <a:lnTo>
                    <a:pt x="5165" y="1068"/>
                  </a:lnTo>
                  <a:lnTo>
                    <a:pt x="5165" y="1037"/>
                  </a:lnTo>
                  <a:close/>
                  <a:moveTo>
                    <a:pt x="6630" y="1478"/>
                  </a:moveTo>
                  <a:lnTo>
                    <a:pt x="6630" y="957"/>
                  </a:lnTo>
                  <a:lnTo>
                    <a:pt x="6629" y="905"/>
                  </a:lnTo>
                  <a:lnTo>
                    <a:pt x="6629" y="881"/>
                  </a:lnTo>
                  <a:lnTo>
                    <a:pt x="6628" y="859"/>
                  </a:lnTo>
                  <a:lnTo>
                    <a:pt x="6626" y="838"/>
                  </a:lnTo>
                  <a:lnTo>
                    <a:pt x="6625" y="819"/>
                  </a:lnTo>
                  <a:lnTo>
                    <a:pt x="6623" y="801"/>
                  </a:lnTo>
                  <a:lnTo>
                    <a:pt x="6620" y="784"/>
                  </a:lnTo>
                  <a:lnTo>
                    <a:pt x="6617" y="767"/>
                  </a:lnTo>
                  <a:lnTo>
                    <a:pt x="6614" y="752"/>
                  </a:lnTo>
                  <a:lnTo>
                    <a:pt x="6611" y="738"/>
                  </a:lnTo>
                  <a:lnTo>
                    <a:pt x="6607" y="725"/>
                  </a:lnTo>
                  <a:lnTo>
                    <a:pt x="6602" y="713"/>
                  </a:lnTo>
                  <a:lnTo>
                    <a:pt x="6597" y="701"/>
                  </a:lnTo>
                  <a:lnTo>
                    <a:pt x="6592" y="690"/>
                  </a:lnTo>
                  <a:lnTo>
                    <a:pt x="6586" y="680"/>
                  </a:lnTo>
                  <a:lnTo>
                    <a:pt x="6582" y="672"/>
                  </a:lnTo>
                  <a:lnTo>
                    <a:pt x="6577" y="665"/>
                  </a:lnTo>
                  <a:lnTo>
                    <a:pt x="6567" y="651"/>
                  </a:lnTo>
                  <a:lnTo>
                    <a:pt x="6561" y="645"/>
                  </a:lnTo>
                  <a:lnTo>
                    <a:pt x="6556" y="638"/>
                  </a:lnTo>
                  <a:lnTo>
                    <a:pt x="6543" y="626"/>
                  </a:lnTo>
                  <a:lnTo>
                    <a:pt x="6530" y="615"/>
                  </a:lnTo>
                  <a:lnTo>
                    <a:pt x="6523" y="609"/>
                  </a:lnTo>
                  <a:lnTo>
                    <a:pt x="6516" y="604"/>
                  </a:lnTo>
                  <a:lnTo>
                    <a:pt x="6501" y="594"/>
                  </a:lnTo>
                  <a:lnTo>
                    <a:pt x="6485" y="586"/>
                  </a:lnTo>
                  <a:lnTo>
                    <a:pt x="6477" y="582"/>
                  </a:lnTo>
                  <a:lnTo>
                    <a:pt x="6468" y="578"/>
                  </a:lnTo>
                  <a:lnTo>
                    <a:pt x="6451" y="571"/>
                  </a:lnTo>
                  <a:lnTo>
                    <a:pt x="6433" y="565"/>
                  </a:lnTo>
                  <a:lnTo>
                    <a:pt x="6414" y="560"/>
                  </a:lnTo>
                  <a:lnTo>
                    <a:pt x="6405" y="558"/>
                  </a:lnTo>
                  <a:lnTo>
                    <a:pt x="6395" y="556"/>
                  </a:lnTo>
                  <a:lnTo>
                    <a:pt x="6375" y="553"/>
                  </a:lnTo>
                  <a:lnTo>
                    <a:pt x="6355" y="552"/>
                  </a:lnTo>
                  <a:lnTo>
                    <a:pt x="6345" y="551"/>
                  </a:lnTo>
                  <a:lnTo>
                    <a:pt x="6335" y="551"/>
                  </a:lnTo>
                  <a:lnTo>
                    <a:pt x="6322" y="551"/>
                  </a:lnTo>
                  <a:lnTo>
                    <a:pt x="6310" y="552"/>
                  </a:lnTo>
                  <a:lnTo>
                    <a:pt x="6298" y="553"/>
                  </a:lnTo>
                  <a:lnTo>
                    <a:pt x="6286" y="554"/>
                  </a:lnTo>
                  <a:lnTo>
                    <a:pt x="6275" y="556"/>
                  </a:lnTo>
                  <a:lnTo>
                    <a:pt x="6264" y="558"/>
                  </a:lnTo>
                  <a:lnTo>
                    <a:pt x="6253" y="561"/>
                  </a:lnTo>
                  <a:lnTo>
                    <a:pt x="6242" y="564"/>
                  </a:lnTo>
                  <a:lnTo>
                    <a:pt x="6231" y="567"/>
                  </a:lnTo>
                  <a:lnTo>
                    <a:pt x="6221" y="571"/>
                  </a:lnTo>
                  <a:lnTo>
                    <a:pt x="6211" y="575"/>
                  </a:lnTo>
                  <a:lnTo>
                    <a:pt x="6201" y="580"/>
                  </a:lnTo>
                  <a:lnTo>
                    <a:pt x="6191" y="585"/>
                  </a:lnTo>
                  <a:lnTo>
                    <a:pt x="6181" y="590"/>
                  </a:lnTo>
                  <a:lnTo>
                    <a:pt x="6172" y="596"/>
                  </a:lnTo>
                  <a:lnTo>
                    <a:pt x="6163" y="602"/>
                  </a:lnTo>
                  <a:lnTo>
                    <a:pt x="6154" y="609"/>
                  </a:lnTo>
                  <a:lnTo>
                    <a:pt x="6146" y="616"/>
                  </a:lnTo>
                  <a:lnTo>
                    <a:pt x="6137" y="624"/>
                  </a:lnTo>
                  <a:lnTo>
                    <a:pt x="6129" y="632"/>
                  </a:lnTo>
                  <a:lnTo>
                    <a:pt x="6121" y="640"/>
                  </a:lnTo>
                  <a:lnTo>
                    <a:pt x="6113" y="649"/>
                  </a:lnTo>
                  <a:lnTo>
                    <a:pt x="6105" y="658"/>
                  </a:lnTo>
                  <a:lnTo>
                    <a:pt x="6098" y="668"/>
                  </a:lnTo>
                  <a:lnTo>
                    <a:pt x="6091" y="678"/>
                  </a:lnTo>
                  <a:lnTo>
                    <a:pt x="6084" y="688"/>
                  </a:lnTo>
                  <a:lnTo>
                    <a:pt x="6077" y="699"/>
                  </a:lnTo>
                  <a:lnTo>
                    <a:pt x="6070" y="711"/>
                  </a:lnTo>
                  <a:lnTo>
                    <a:pt x="6064" y="723"/>
                  </a:lnTo>
                  <a:lnTo>
                    <a:pt x="6057" y="735"/>
                  </a:lnTo>
                  <a:lnTo>
                    <a:pt x="6051" y="748"/>
                  </a:lnTo>
                  <a:lnTo>
                    <a:pt x="6045" y="761"/>
                  </a:lnTo>
                  <a:lnTo>
                    <a:pt x="6039" y="736"/>
                  </a:lnTo>
                  <a:lnTo>
                    <a:pt x="6035" y="724"/>
                  </a:lnTo>
                  <a:lnTo>
                    <a:pt x="6031" y="712"/>
                  </a:lnTo>
                  <a:lnTo>
                    <a:pt x="6022" y="690"/>
                  </a:lnTo>
                  <a:lnTo>
                    <a:pt x="6017" y="679"/>
                  </a:lnTo>
                  <a:lnTo>
                    <a:pt x="6012" y="669"/>
                  </a:lnTo>
                  <a:lnTo>
                    <a:pt x="6001" y="650"/>
                  </a:lnTo>
                  <a:lnTo>
                    <a:pt x="5995" y="642"/>
                  </a:lnTo>
                  <a:lnTo>
                    <a:pt x="5989" y="633"/>
                  </a:lnTo>
                  <a:lnTo>
                    <a:pt x="5982" y="625"/>
                  </a:lnTo>
                  <a:lnTo>
                    <a:pt x="5975" y="618"/>
                  </a:lnTo>
                  <a:lnTo>
                    <a:pt x="5968" y="610"/>
                  </a:lnTo>
                  <a:lnTo>
                    <a:pt x="5961" y="604"/>
                  </a:lnTo>
                  <a:lnTo>
                    <a:pt x="5953" y="597"/>
                  </a:lnTo>
                  <a:lnTo>
                    <a:pt x="5945" y="591"/>
                  </a:lnTo>
                  <a:lnTo>
                    <a:pt x="5937" y="586"/>
                  </a:lnTo>
                  <a:lnTo>
                    <a:pt x="5928" y="581"/>
                  </a:lnTo>
                  <a:lnTo>
                    <a:pt x="5919" y="576"/>
                  </a:lnTo>
                  <a:lnTo>
                    <a:pt x="5910" y="572"/>
                  </a:lnTo>
                  <a:lnTo>
                    <a:pt x="5900" y="568"/>
                  </a:lnTo>
                  <a:lnTo>
                    <a:pt x="5890" y="564"/>
                  </a:lnTo>
                  <a:lnTo>
                    <a:pt x="5880" y="561"/>
                  </a:lnTo>
                  <a:lnTo>
                    <a:pt x="5870" y="558"/>
                  </a:lnTo>
                  <a:lnTo>
                    <a:pt x="5859" y="556"/>
                  </a:lnTo>
                  <a:lnTo>
                    <a:pt x="5848" y="554"/>
                  </a:lnTo>
                  <a:lnTo>
                    <a:pt x="5837" y="553"/>
                  </a:lnTo>
                  <a:lnTo>
                    <a:pt x="5825" y="552"/>
                  </a:lnTo>
                  <a:lnTo>
                    <a:pt x="5813" y="551"/>
                  </a:lnTo>
                  <a:lnTo>
                    <a:pt x="5801" y="551"/>
                  </a:lnTo>
                  <a:lnTo>
                    <a:pt x="5775" y="552"/>
                  </a:lnTo>
                  <a:lnTo>
                    <a:pt x="5763" y="553"/>
                  </a:lnTo>
                  <a:lnTo>
                    <a:pt x="5751" y="554"/>
                  </a:lnTo>
                  <a:lnTo>
                    <a:pt x="5740" y="556"/>
                  </a:lnTo>
                  <a:lnTo>
                    <a:pt x="5729" y="558"/>
                  </a:lnTo>
                  <a:lnTo>
                    <a:pt x="5718" y="560"/>
                  </a:lnTo>
                  <a:lnTo>
                    <a:pt x="5707" y="563"/>
                  </a:lnTo>
                  <a:lnTo>
                    <a:pt x="5697" y="567"/>
                  </a:lnTo>
                  <a:lnTo>
                    <a:pt x="5687" y="570"/>
                  </a:lnTo>
                  <a:lnTo>
                    <a:pt x="5677" y="574"/>
                  </a:lnTo>
                  <a:lnTo>
                    <a:pt x="5667" y="579"/>
                  </a:lnTo>
                  <a:lnTo>
                    <a:pt x="5658" y="584"/>
                  </a:lnTo>
                  <a:lnTo>
                    <a:pt x="5649" y="589"/>
                  </a:lnTo>
                  <a:lnTo>
                    <a:pt x="5640" y="595"/>
                  </a:lnTo>
                  <a:lnTo>
                    <a:pt x="5631" y="601"/>
                  </a:lnTo>
                  <a:lnTo>
                    <a:pt x="5622" y="607"/>
                  </a:lnTo>
                  <a:lnTo>
                    <a:pt x="5614" y="614"/>
                  </a:lnTo>
                  <a:lnTo>
                    <a:pt x="5606" y="622"/>
                  </a:lnTo>
                  <a:lnTo>
                    <a:pt x="5598" y="629"/>
                  </a:lnTo>
                  <a:lnTo>
                    <a:pt x="5590" y="637"/>
                  </a:lnTo>
                  <a:lnTo>
                    <a:pt x="5582" y="646"/>
                  </a:lnTo>
                  <a:lnTo>
                    <a:pt x="5575" y="655"/>
                  </a:lnTo>
                  <a:lnTo>
                    <a:pt x="5568" y="665"/>
                  </a:lnTo>
                  <a:lnTo>
                    <a:pt x="5553" y="685"/>
                  </a:lnTo>
                  <a:lnTo>
                    <a:pt x="5546" y="695"/>
                  </a:lnTo>
                  <a:lnTo>
                    <a:pt x="5540" y="707"/>
                  </a:lnTo>
                  <a:lnTo>
                    <a:pt x="5533" y="718"/>
                  </a:lnTo>
                  <a:lnTo>
                    <a:pt x="5526" y="730"/>
                  </a:lnTo>
                  <a:lnTo>
                    <a:pt x="5513" y="756"/>
                  </a:lnTo>
                  <a:lnTo>
                    <a:pt x="5513" y="570"/>
                  </a:lnTo>
                  <a:lnTo>
                    <a:pt x="5264" y="570"/>
                  </a:lnTo>
                  <a:lnTo>
                    <a:pt x="5264" y="1024"/>
                  </a:lnTo>
                  <a:lnTo>
                    <a:pt x="5264" y="1478"/>
                  </a:lnTo>
                  <a:lnTo>
                    <a:pt x="5523" y="1478"/>
                  </a:lnTo>
                  <a:lnTo>
                    <a:pt x="5523" y="1057"/>
                  </a:lnTo>
                  <a:lnTo>
                    <a:pt x="5523" y="1035"/>
                  </a:lnTo>
                  <a:lnTo>
                    <a:pt x="5523" y="1015"/>
                  </a:lnTo>
                  <a:lnTo>
                    <a:pt x="5524" y="997"/>
                  </a:lnTo>
                  <a:lnTo>
                    <a:pt x="5525" y="988"/>
                  </a:lnTo>
                  <a:lnTo>
                    <a:pt x="5526" y="979"/>
                  </a:lnTo>
                  <a:lnTo>
                    <a:pt x="5528" y="963"/>
                  </a:lnTo>
                  <a:lnTo>
                    <a:pt x="5530" y="948"/>
                  </a:lnTo>
                  <a:lnTo>
                    <a:pt x="5533" y="935"/>
                  </a:lnTo>
                  <a:lnTo>
                    <a:pt x="5536" y="922"/>
                  </a:lnTo>
                  <a:lnTo>
                    <a:pt x="5541" y="907"/>
                  </a:lnTo>
                  <a:lnTo>
                    <a:pt x="5546" y="893"/>
                  </a:lnTo>
                  <a:lnTo>
                    <a:pt x="5552" y="879"/>
                  </a:lnTo>
                  <a:lnTo>
                    <a:pt x="5559" y="867"/>
                  </a:lnTo>
                  <a:lnTo>
                    <a:pt x="5567" y="855"/>
                  </a:lnTo>
                  <a:lnTo>
                    <a:pt x="5575" y="844"/>
                  </a:lnTo>
                  <a:lnTo>
                    <a:pt x="5584" y="834"/>
                  </a:lnTo>
                  <a:lnTo>
                    <a:pt x="5593" y="824"/>
                  </a:lnTo>
                  <a:lnTo>
                    <a:pt x="5598" y="820"/>
                  </a:lnTo>
                  <a:lnTo>
                    <a:pt x="5603" y="816"/>
                  </a:lnTo>
                  <a:lnTo>
                    <a:pt x="5614" y="809"/>
                  </a:lnTo>
                  <a:lnTo>
                    <a:pt x="5625" y="802"/>
                  </a:lnTo>
                  <a:lnTo>
                    <a:pt x="5631" y="800"/>
                  </a:lnTo>
                  <a:lnTo>
                    <a:pt x="5636" y="797"/>
                  </a:lnTo>
                  <a:lnTo>
                    <a:pt x="5648" y="793"/>
                  </a:lnTo>
                  <a:lnTo>
                    <a:pt x="5661" y="790"/>
                  </a:lnTo>
                  <a:lnTo>
                    <a:pt x="5667" y="789"/>
                  </a:lnTo>
                  <a:lnTo>
                    <a:pt x="5673" y="788"/>
                  </a:lnTo>
                  <a:lnTo>
                    <a:pt x="5680" y="788"/>
                  </a:lnTo>
                  <a:lnTo>
                    <a:pt x="5686" y="788"/>
                  </a:lnTo>
                  <a:lnTo>
                    <a:pt x="5696" y="788"/>
                  </a:lnTo>
                  <a:lnTo>
                    <a:pt x="5705" y="789"/>
                  </a:lnTo>
                  <a:lnTo>
                    <a:pt x="5714" y="790"/>
                  </a:lnTo>
                  <a:lnTo>
                    <a:pt x="5723" y="793"/>
                  </a:lnTo>
                  <a:lnTo>
                    <a:pt x="5732" y="795"/>
                  </a:lnTo>
                  <a:lnTo>
                    <a:pt x="5739" y="799"/>
                  </a:lnTo>
                  <a:lnTo>
                    <a:pt x="5747" y="802"/>
                  </a:lnTo>
                  <a:lnTo>
                    <a:pt x="5754" y="807"/>
                  </a:lnTo>
                  <a:lnTo>
                    <a:pt x="5761" y="812"/>
                  </a:lnTo>
                  <a:lnTo>
                    <a:pt x="5767" y="817"/>
                  </a:lnTo>
                  <a:lnTo>
                    <a:pt x="5773" y="823"/>
                  </a:lnTo>
                  <a:lnTo>
                    <a:pt x="5779" y="830"/>
                  </a:lnTo>
                  <a:lnTo>
                    <a:pt x="5784" y="837"/>
                  </a:lnTo>
                  <a:lnTo>
                    <a:pt x="5789" y="845"/>
                  </a:lnTo>
                  <a:lnTo>
                    <a:pt x="5793" y="853"/>
                  </a:lnTo>
                  <a:lnTo>
                    <a:pt x="5797" y="861"/>
                  </a:lnTo>
                  <a:lnTo>
                    <a:pt x="5800" y="868"/>
                  </a:lnTo>
                  <a:lnTo>
                    <a:pt x="5802" y="875"/>
                  </a:lnTo>
                  <a:lnTo>
                    <a:pt x="5806" y="890"/>
                  </a:lnTo>
                  <a:lnTo>
                    <a:pt x="5809" y="906"/>
                  </a:lnTo>
                  <a:lnTo>
                    <a:pt x="5812" y="924"/>
                  </a:lnTo>
                  <a:lnTo>
                    <a:pt x="5814" y="945"/>
                  </a:lnTo>
                  <a:lnTo>
                    <a:pt x="5816" y="969"/>
                  </a:lnTo>
                  <a:lnTo>
                    <a:pt x="5816" y="981"/>
                  </a:lnTo>
                  <a:lnTo>
                    <a:pt x="5816" y="995"/>
                  </a:lnTo>
                  <a:lnTo>
                    <a:pt x="5817" y="1024"/>
                  </a:lnTo>
                  <a:lnTo>
                    <a:pt x="5817" y="1478"/>
                  </a:lnTo>
                  <a:lnTo>
                    <a:pt x="6077" y="1478"/>
                  </a:lnTo>
                  <a:lnTo>
                    <a:pt x="6077" y="1041"/>
                  </a:lnTo>
                  <a:lnTo>
                    <a:pt x="6077" y="1026"/>
                  </a:lnTo>
                  <a:lnTo>
                    <a:pt x="6077" y="1011"/>
                  </a:lnTo>
                  <a:lnTo>
                    <a:pt x="6078" y="997"/>
                  </a:lnTo>
                  <a:lnTo>
                    <a:pt x="6079" y="983"/>
                  </a:lnTo>
                  <a:lnTo>
                    <a:pt x="6081" y="970"/>
                  </a:lnTo>
                  <a:lnTo>
                    <a:pt x="6083" y="957"/>
                  </a:lnTo>
                  <a:lnTo>
                    <a:pt x="6085" y="944"/>
                  </a:lnTo>
                  <a:lnTo>
                    <a:pt x="6087" y="932"/>
                  </a:lnTo>
                  <a:lnTo>
                    <a:pt x="6093" y="910"/>
                  </a:lnTo>
                  <a:lnTo>
                    <a:pt x="6096" y="899"/>
                  </a:lnTo>
                  <a:lnTo>
                    <a:pt x="6100" y="889"/>
                  </a:lnTo>
                  <a:lnTo>
                    <a:pt x="6104" y="879"/>
                  </a:lnTo>
                  <a:lnTo>
                    <a:pt x="6108" y="870"/>
                  </a:lnTo>
                  <a:lnTo>
                    <a:pt x="6113" y="861"/>
                  </a:lnTo>
                  <a:lnTo>
                    <a:pt x="6118" y="853"/>
                  </a:lnTo>
                  <a:lnTo>
                    <a:pt x="6123" y="845"/>
                  </a:lnTo>
                  <a:lnTo>
                    <a:pt x="6129" y="838"/>
                  </a:lnTo>
                  <a:lnTo>
                    <a:pt x="6135" y="831"/>
                  </a:lnTo>
                  <a:lnTo>
                    <a:pt x="6141" y="824"/>
                  </a:lnTo>
                  <a:lnTo>
                    <a:pt x="6148" y="819"/>
                  </a:lnTo>
                  <a:lnTo>
                    <a:pt x="6155" y="813"/>
                  </a:lnTo>
                  <a:lnTo>
                    <a:pt x="6162" y="808"/>
                  </a:lnTo>
                  <a:lnTo>
                    <a:pt x="6169" y="804"/>
                  </a:lnTo>
                  <a:lnTo>
                    <a:pt x="6177" y="800"/>
                  </a:lnTo>
                  <a:lnTo>
                    <a:pt x="6185" y="797"/>
                  </a:lnTo>
                  <a:lnTo>
                    <a:pt x="6194" y="794"/>
                  </a:lnTo>
                  <a:lnTo>
                    <a:pt x="6202" y="792"/>
                  </a:lnTo>
                  <a:lnTo>
                    <a:pt x="6211" y="790"/>
                  </a:lnTo>
                  <a:lnTo>
                    <a:pt x="6221" y="789"/>
                  </a:lnTo>
                  <a:lnTo>
                    <a:pt x="6230" y="788"/>
                  </a:lnTo>
                  <a:lnTo>
                    <a:pt x="6240" y="788"/>
                  </a:lnTo>
                  <a:lnTo>
                    <a:pt x="6252" y="788"/>
                  </a:lnTo>
                  <a:lnTo>
                    <a:pt x="6263" y="789"/>
                  </a:lnTo>
                  <a:lnTo>
                    <a:pt x="6273" y="791"/>
                  </a:lnTo>
                  <a:lnTo>
                    <a:pt x="6283" y="793"/>
                  </a:lnTo>
                  <a:lnTo>
                    <a:pt x="6293" y="796"/>
                  </a:lnTo>
                  <a:lnTo>
                    <a:pt x="6302" y="800"/>
                  </a:lnTo>
                  <a:lnTo>
                    <a:pt x="6306" y="802"/>
                  </a:lnTo>
                  <a:lnTo>
                    <a:pt x="6310" y="804"/>
                  </a:lnTo>
                  <a:lnTo>
                    <a:pt x="6318" y="809"/>
                  </a:lnTo>
                  <a:lnTo>
                    <a:pt x="6325" y="815"/>
                  </a:lnTo>
                  <a:lnTo>
                    <a:pt x="6332" y="821"/>
                  </a:lnTo>
                  <a:lnTo>
                    <a:pt x="6338" y="829"/>
                  </a:lnTo>
                  <a:lnTo>
                    <a:pt x="6344" y="837"/>
                  </a:lnTo>
                  <a:lnTo>
                    <a:pt x="6349" y="845"/>
                  </a:lnTo>
                  <a:lnTo>
                    <a:pt x="6353" y="855"/>
                  </a:lnTo>
                  <a:lnTo>
                    <a:pt x="6357" y="865"/>
                  </a:lnTo>
                  <a:lnTo>
                    <a:pt x="6360" y="876"/>
                  </a:lnTo>
                  <a:lnTo>
                    <a:pt x="6362" y="887"/>
                  </a:lnTo>
                  <a:lnTo>
                    <a:pt x="6364" y="900"/>
                  </a:lnTo>
                  <a:lnTo>
                    <a:pt x="6366" y="915"/>
                  </a:lnTo>
                  <a:lnTo>
                    <a:pt x="6367" y="931"/>
                  </a:lnTo>
                  <a:lnTo>
                    <a:pt x="6369" y="969"/>
                  </a:lnTo>
                  <a:lnTo>
                    <a:pt x="6370" y="990"/>
                  </a:lnTo>
                  <a:lnTo>
                    <a:pt x="6370" y="1011"/>
                  </a:lnTo>
                  <a:lnTo>
                    <a:pt x="6370" y="1478"/>
                  </a:lnTo>
                  <a:lnTo>
                    <a:pt x="6630" y="1478"/>
                  </a:lnTo>
                  <a:close/>
                  <a:moveTo>
                    <a:pt x="2027" y="314"/>
                  </a:moveTo>
                  <a:lnTo>
                    <a:pt x="2012" y="315"/>
                  </a:lnTo>
                  <a:lnTo>
                    <a:pt x="2005" y="316"/>
                  </a:lnTo>
                  <a:lnTo>
                    <a:pt x="1998" y="317"/>
                  </a:lnTo>
                  <a:lnTo>
                    <a:pt x="1991" y="318"/>
                  </a:lnTo>
                  <a:lnTo>
                    <a:pt x="1985" y="320"/>
                  </a:lnTo>
                  <a:lnTo>
                    <a:pt x="1979" y="322"/>
                  </a:lnTo>
                  <a:lnTo>
                    <a:pt x="1972" y="324"/>
                  </a:lnTo>
                  <a:lnTo>
                    <a:pt x="1961" y="330"/>
                  </a:lnTo>
                  <a:lnTo>
                    <a:pt x="1955" y="333"/>
                  </a:lnTo>
                  <a:lnTo>
                    <a:pt x="1950" y="337"/>
                  </a:lnTo>
                  <a:lnTo>
                    <a:pt x="1940" y="344"/>
                  </a:lnTo>
                  <a:lnTo>
                    <a:pt x="1935" y="349"/>
                  </a:lnTo>
                  <a:lnTo>
                    <a:pt x="1931" y="353"/>
                  </a:lnTo>
                  <a:lnTo>
                    <a:pt x="1923" y="363"/>
                  </a:lnTo>
                  <a:lnTo>
                    <a:pt x="1919" y="369"/>
                  </a:lnTo>
                  <a:lnTo>
                    <a:pt x="1916" y="374"/>
                  </a:lnTo>
                  <a:lnTo>
                    <a:pt x="1913" y="380"/>
                  </a:lnTo>
                  <a:lnTo>
                    <a:pt x="1910" y="386"/>
                  </a:lnTo>
                  <a:lnTo>
                    <a:pt x="1905" y="399"/>
                  </a:lnTo>
                  <a:lnTo>
                    <a:pt x="1901" y="413"/>
                  </a:lnTo>
                  <a:lnTo>
                    <a:pt x="1899" y="420"/>
                  </a:lnTo>
                  <a:lnTo>
                    <a:pt x="1898" y="427"/>
                  </a:lnTo>
                  <a:lnTo>
                    <a:pt x="1896" y="443"/>
                  </a:lnTo>
                  <a:lnTo>
                    <a:pt x="1896" y="451"/>
                  </a:lnTo>
                  <a:lnTo>
                    <a:pt x="1896" y="459"/>
                  </a:lnTo>
                  <a:lnTo>
                    <a:pt x="1896" y="571"/>
                  </a:lnTo>
                  <a:lnTo>
                    <a:pt x="2079" y="571"/>
                  </a:lnTo>
                  <a:lnTo>
                    <a:pt x="2079" y="777"/>
                  </a:lnTo>
                  <a:lnTo>
                    <a:pt x="1896" y="777"/>
                  </a:lnTo>
                  <a:lnTo>
                    <a:pt x="1896" y="1479"/>
                  </a:lnTo>
                  <a:lnTo>
                    <a:pt x="1645" y="1479"/>
                  </a:lnTo>
                  <a:lnTo>
                    <a:pt x="1645" y="779"/>
                  </a:lnTo>
                  <a:lnTo>
                    <a:pt x="1529" y="779"/>
                  </a:lnTo>
                  <a:lnTo>
                    <a:pt x="1529" y="576"/>
                  </a:lnTo>
                  <a:lnTo>
                    <a:pt x="1645" y="576"/>
                  </a:lnTo>
                  <a:lnTo>
                    <a:pt x="1645" y="482"/>
                  </a:lnTo>
                  <a:lnTo>
                    <a:pt x="1645" y="447"/>
                  </a:lnTo>
                  <a:lnTo>
                    <a:pt x="1646" y="430"/>
                  </a:lnTo>
                  <a:lnTo>
                    <a:pt x="1647" y="412"/>
                  </a:lnTo>
                  <a:lnTo>
                    <a:pt x="1649" y="395"/>
                  </a:lnTo>
                  <a:lnTo>
                    <a:pt x="1650" y="377"/>
                  </a:lnTo>
                  <a:lnTo>
                    <a:pt x="1653" y="360"/>
                  </a:lnTo>
                  <a:lnTo>
                    <a:pt x="1655" y="343"/>
                  </a:lnTo>
                  <a:lnTo>
                    <a:pt x="1659" y="326"/>
                  </a:lnTo>
                  <a:lnTo>
                    <a:pt x="1663" y="310"/>
                  </a:lnTo>
                  <a:lnTo>
                    <a:pt x="1667" y="294"/>
                  </a:lnTo>
                  <a:lnTo>
                    <a:pt x="1672" y="278"/>
                  </a:lnTo>
                  <a:lnTo>
                    <a:pt x="1678" y="262"/>
                  </a:lnTo>
                  <a:lnTo>
                    <a:pt x="1685" y="247"/>
                  </a:lnTo>
                  <a:lnTo>
                    <a:pt x="1692" y="233"/>
                  </a:lnTo>
                  <a:lnTo>
                    <a:pt x="1696" y="225"/>
                  </a:lnTo>
                  <a:lnTo>
                    <a:pt x="1700" y="218"/>
                  </a:lnTo>
                  <a:lnTo>
                    <a:pt x="1705" y="212"/>
                  </a:lnTo>
                  <a:lnTo>
                    <a:pt x="1709" y="205"/>
                  </a:lnTo>
                  <a:lnTo>
                    <a:pt x="1719" y="192"/>
                  </a:lnTo>
                  <a:lnTo>
                    <a:pt x="1730" y="180"/>
                  </a:lnTo>
                  <a:lnTo>
                    <a:pt x="1742" y="168"/>
                  </a:lnTo>
                  <a:lnTo>
                    <a:pt x="1755" y="157"/>
                  </a:lnTo>
                  <a:lnTo>
                    <a:pt x="1761" y="152"/>
                  </a:lnTo>
                  <a:lnTo>
                    <a:pt x="1769" y="147"/>
                  </a:lnTo>
                  <a:lnTo>
                    <a:pt x="1784" y="137"/>
                  </a:lnTo>
                  <a:lnTo>
                    <a:pt x="1791" y="133"/>
                  </a:lnTo>
                  <a:lnTo>
                    <a:pt x="1800" y="129"/>
                  </a:lnTo>
                  <a:lnTo>
                    <a:pt x="1817" y="121"/>
                  </a:lnTo>
                  <a:lnTo>
                    <a:pt x="1826" y="117"/>
                  </a:lnTo>
                  <a:lnTo>
                    <a:pt x="1835" y="114"/>
                  </a:lnTo>
                  <a:lnTo>
                    <a:pt x="1855" y="108"/>
                  </a:lnTo>
                  <a:lnTo>
                    <a:pt x="1876" y="103"/>
                  </a:lnTo>
                  <a:lnTo>
                    <a:pt x="1899" y="99"/>
                  </a:lnTo>
                  <a:lnTo>
                    <a:pt x="1910" y="98"/>
                  </a:lnTo>
                  <a:lnTo>
                    <a:pt x="1923" y="96"/>
                  </a:lnTo>
                  <a:lnTo>
                    <a:pt x="1948" y="95"/>
                  </a:lnTo>
                  <a:lnTo>
                    <a:pt x="1961" y="94"/>
                  </a:lnTo>
                  <a:lnTo>
                    <a:pt x="1974" y="94"/>
                  </a:lnTo>
                  <a:lnTo>
                    <a:pt x="1999" y="94"/>
                  </a:lnTo>
                  <a:lnTo>
                    <a:pt x="2021" y="95"/>
                  </a:lnTo>
                  <a:lnTo>
                    <a:pt x="2041" y="97"/>
                  </a:lnTo>
                  <a:lnTo>
                    <a:pt x="2061" y="99"/>
                  </a:lnTo>
                  <a:lnTo>
                    <a:pt x="2080" y="102"/>
                  </a:lnTo>
                  <a:lnTo>
                    <a:pt x="2100" y="106"/>
                  </a:lnTo>
                  <a:lnTo>
                    <a:pt x="2122" y="110"/>
                  </a:lnTo>
                  <a:lnTo>
                    <a:pt x="2146" y="115"/>
                  </a:lnTo>
                  <a:lnTo>
                    <a:pt x="2146" y="330"/>
                  </a:lnTo>
                  <a:lnTo>
                    <a:pt x="2122" y="325"/>
                  </a:lnTo>
                  <a:lnTo>
                    <a:pt x="2110" y="322"/>
                  </a:lnTo>
                  <a:lnTo>
                    <a:pt x="2097" y="319"/>
                  </a:lnTo>
                  <a:lnTo>
                    <a:pt x="2082" y="317"/>
                  </a:lnTo>
                  <a:lnTo>
                    <a:pt x="2066" y="316"/>
                  </a:lnTo>
                  <a:lnTo>
                    <a:pt x="2048" y="315"/>
                  </a:lnTo>
                  <a:lnTo>
                    <a:pt x="2027" y="31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16" name="Rectangle 15"/>
          <p:cNvSpPr>
            <a:spLocks/>
          </p:cNvSpPr>
          <p:nvPr userDrawn="1"/>
        </p:nvSpPr>
        <p:spPr>
          <a:xfrm>
            <a:off x="1190726" y="0"/>
            <a:ext cx="590400" cy="27160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7" name="Rectangle 16"/>
          <p:cNvSpPr>
            <a:spLocks noChangeAspect="1"/>
          </p:cNvSpPr>
          <p:nvPr userDrawn="1"/>
        </p:nvSpPr>
        <p:spPr>
          <a:xfrm>
            <a:off x="973151" y="970447"/>
            <a:ext cx="236682" cy="23668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6" name="Rectangle 25"/>
          <p:cNvSpPr>
            <a:spLocks noChangeAspect="1"/>
          </p:cNvSpPr>
          <p:nvPr userDrawn="1"/>
        </p:nvSpPr>
        <p:spPr>
          <a:xfrm>
            <a:off x="2" y="0"/>
            <a:ext cx="774076" cy="774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-1" y="764629"/>
            <a:ext cx="219600" cy="219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8" name="Picture Placeholder 22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906000" cy="6858000"/>
          </a:xfrm>
          <a:custGeom>
            <a:avLst/>
            <a:gdLst/>
            <a:ahLst/>
            <a:cxnLst/>
            <a:rect l="l" t="t" r="r" b="b"/>
            <a:pathLst>
              <a:path w="9906000" h="6858000">
                <a:moveTo>
                  <a:pt x="7905410" y="6237390"/>
                </a:moveTo>
                <a:lnTo>
                  <a:pt x="7905410" y="6669450"/>
                </a:lnTo>
                <a:lnTo>
                  <a:pt x="9561640" y="6669450"/>
                </a:lnTo>
                <a:lnTo>
                  <a:pt x="9561640" y="6237390"/>
                </a:lnTo>
                <a:close/>
                <a:moveTo>
                  <a:pt x="983432" y="980728"/>
                </a:moveTo>
                <a:lnTo>
                  <a:pt x="983432" y="1196975"/>
                </a:lnTo>
                <a:lnTo>
                  <a:pt x="1199679" y="1196975"/>
                </a:lnTo>
                <a:lnTo>
                  <a:pt x="1199679" y="980728"/>
                </a:lnTo>
                <a:close/>
                <a:moveTo>
                  <a:pt x="767408" y="0"/>
                </a:moveTo>
                <a:lnTo>
                  <a:pt x="1199456" y="0"/>
                </a:lnTo>
                <a:lnTo>
                  <a:pt x="1199456" y="260648"/>
                </a:lnTo>
                <a:lnTo>
                  <a:pt x="1775520" y="260648"/>
                </a:lnTo>
                <a:lnTo>
                  <a:pt x="1775520" y="0"/>
                </a:lnTo>
                <a:lnTo>
                  <a:pt x="9906000" y="0"/>
                </a:lnTo>
                <a:lnTo>
                  <a:pt x="9906000" y="6858000"/>
                </a:lnTo>
                <a:lnTo>
                  <a:pt x="9408460" y="6858000"/>
                </a:lnTo>
                <a:lnTo>
                  <a:pt x="0" y="6858000"/>
                </a:lnTo>
                <a:lnTo>
                  <a:pt x="0" y="980728"/>
                </a:lnTo>
                <a:lnTo>
                  <a:pt x="216545" y="980728"/>
                </a:lnTo>
                <a:lnTo>
                  <a:pt x="216545" y="764704"/>
                </a:lnTo>
                <a:lnTo>
                  <a:pt x="767408" y="764704"/>
                </a:lnTo>
                <a:close/>
              </a:path>
            </a:pathLst>
          </a:custGeom>
          <a:solidFill>
            <a:srgbClr val="EAEAEA"/>
          </a:solidFill>
        </p:spPr>
        <p:txBody>
          <a:bodyPr/>
          <a:lstStyle>
            <a:lvl1pPr marL="0" indent="0" algn="r">
              <a:buFontTx/>
              <a:buNone/>
              <a:defRPr sz="1200"/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60388" y="1990800"/>
            <a:ext cx="7200900" cy="1296000"/>
          </a:xfrm>
        </p:spPr>
        <p:txBody>
          <a:bodyPr anchor="t" anchorCtr="0"/>
          <a:lstStyle>
            <a:lvl1pPr algn="l">
              <a:defRPr sz="5000" b="1"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0388" y="1484313"/>
            <a:ext cx="7200900" cy="360000"/>
          </a:xfrm>
        </p:spPr>
        <p:txBody>
          <a:bodyPr anchor="b" anchorCtr="0"/>
          <a:lstStyle>
            <a:lvl1pPr marL="0" indent="0" algn="l">
              <a:buNone/>
              <a:defRPr sz="200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dirty="0" smtClean="0"/>
              <a:t>7.12.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560388" y="4653136"/>
            <a:ext cx="7200900" cy="720552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r>
              <a:rPr lang="en-US" dirty="0" smtClean="0"/>
              <a:t>Name / Title / Date</a:t>
            </a:r>
          </a:p>
        </p:txBody>
      </p:sp>
    </p:spTree>
    <p:extLst>
      <p:ext uri="{BB962C8B-B14F-4D97-AF65-F5344CB8AC3E}">
        <p14:creationId xmlns:p14="http://schemas.microsoft.com/office/powerpoint/2010/main" val="3651161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Nega Picture" preserve="1" userDrawn="1">
  <p:cSld name="title_slide_nega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 userDrawn="1"/>
        </p:nvGrpSpPr>
        <p:grpSpPr>
          <a:xfrm>
            <a:off x="7869324" y="6201308"/>
            <a:ext cx="1728192" cy="504056"/>
            <a:chOff x="10164484" y="6201308"/>
            <a:chExt cx="1728192" cy="504056"/>
          </a:xfrm>
        </p:grpSpPr>
        <p:sp>
          <p:nvSpPr>
            <p:cNvPr id="19" name="Rectangle 18"/>
            <p:cNvSpPr/>
            <p:nvPr userDrawn="1"/>
          </p:nvSpPr>
          <p:spPr>
            <a:xfrm>
              <a:off x="10164484" y="6201308"/>
              <a:ext cx="1728192" cy="504056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0" name="Freeform 6"/>
            <p:cNvSpPr>
              <a:spLocks noChangeAspect="1" noEditPoints="1"/>
            </p:cNvSpPr>
            <p:nvPr userDrawn="1"/>
          </p:nvSpPr>
          <p:spPr bwMode="auto">
            <a:xfrm>
              <a:off x="10421059" y="6308725"/>
              <a:ext cx="1220079" cy="288000"/>
            </a:xfrm>
            <a:custGeom>
              <a:avLst/>
              <a:gdLst>
                <a:gd name="T0" fmla="*/ 317 w 6630"/>
                <a:gd name="T1" fmla="*/ 622 h 1565"/>
                <a:gd name="T2" fmla="*/ 549 w 6630"/>
                <a:gd name="T3" fmla="*/ 281 h 1565"/>
                <a:gd name="T4" fmla="*/ 146 w 6630"/>
                <a:gd name="T5" fmla="*/ 254 h 1565"/>
                <a:gd name="T6" fmla="*/ 2 w 6630"/>
                <a:gd name="T7" fmla="*/ 668 h 1565"/>
                <a:gd name="T8" fmla="*/ 113 w 6630"/>
                <a:gd name="T9" fmla="*/ 1146 h 1565"/>
                <a:gd name="T10" fmla="*/ 417 w 6630"/>
                <a:gd name="T11" fmla="*/ 1452 h 1565"/>
                <a:gd name="T12" fmla="*/ 862 w 6630"/>
                <a:gd name="T13" fmla="*/ 1565 h 1565"/>
                <a:gd name="T14" fmla="*/ 1067 w 6630"/>
                <a:gd name="T15" fmla="*/ 1206 h 1565"/>
                <a:gd name="T16" fmla="*/ 718 w 6630"/>
                <a:gd name="T17" fmla="*/ 1244 h 1565"/>
                <a:gd name="T18" fmla="*/ 395 w 6630"/>
                <a:gd name="T19" fmla="*/ 1028 h 1565"/>
                <a:gd name="T20" fmla="*/ 689 w 6630"/>
                <a:gd name="T21" fmla="*/ 1169 h 1565"/>
                <a:gd name="T22" fmla="*/ 1039 w 6630"/>
                <a:gd name="T23" fmla="*/ 1148 h 1565"/>
                <a:gd name="T24" fmla="*/ 1292 w 6630"/>
                <a:gd name="T25" fmla="*/ 840 h 1565"/>
                <a:gd name="T26" fmla="*/ 1208 w 6630"/>
                <a:gd name="T27" fmla="*/ 435 h 1565"/>
                <a:gd name="T28" fmla="*/ 902 w 6630"/>
                <a:gd name="T29" fmla="*/ 264 h 1565"/>
                <a:gd name="T30" fmla="*/ 518 w 6630"/>
                <a:gd name="T31" fmla="*/ 388 h 1565"/>
                <a:gd name="T32" fmla="*/ 372 w 6630"/>
                <a:gd name="T33" fmla="*/ 702 h 1565"/>
                <a:gd name="T34" fmla="*/ 3593 w 6630"/>
                <a:gd name="T35" fmla="*/ 799 h 1565"/>
                <a:gd name="T36" fmla="*/ 3366 w 6630"/>
                <a:gd name="T37" fmla="*/ 869 h 1565"/>
                <a:gd name="T38" fmla="*/ 3297 w 6630"/>
                <a:gd name="T39" fmla="*/ 570 h 1565"/>
                <a:gd name="T40" fmla="*/ 3419 w 6630"/>
                <a:gd name="T41" fmla="*/ 595 h 1565"/>
                <a:gd name="T42" fmla="*/ 4253 w 6630"/>
                <a:gd name="T43" fmla="*/ 1275 h 1565"/>
                <a:gd name="T44" fmla="*/ 4022 w 6630"/>
                <a:gd name="T45" fmla="*/ 1243 h 1565"/>
                <a:gd name="T46" fmla="*/ 3739 w 6630"/>
                <a:gd name="T47" fmla="*/ 1222 h 1565"/>
                <a:gd name="T48" fmla="*/ 3881 w 6630"/>
                <a:gd name="T49" fmla="*/ 1458 h 1565"/>
                <a:gd name="T50" fmla="*/ 2979 w 6630"/>
                <a:gd name="T51" fmla="*/ 1024 h 1565"/>
                <a:gd name="T52" fmla="*/ 2840 w 6630"/>
                <a:gd name="T53" fmla="*/ 1384 h 1565"/>
                <a:gd name="T54" fmla="*/ 2563 w 6630"/>
                <a:gd name="T55" fmla="*/ 1502 h 1565"/>
                <a:gd name="T56" fmla="*/ 2237 w 6630"/>
                <a:gd name="T57" fmla="*/ 1402 h 1565"/>
                <a:gd name="T58" fmla="*/ 2085 w 6630"/>
                <a:gd name="T59" fmla="*/ 1074 h 1565"/>
                <a:gd name="T60" fmla="*/ 2179 w 6630"/>
                <a:gd name="T61" fmla="*/ 715 h 1565"/>
                <a:gd name="T62" fmla="*/ 2521 w 6630"/>
                <a:gd name="T63" fmla="*/ 546 h 1565"/>
                <a:gd name="T64" fmla="*/ 2907 w 6630"/>
                <a:gd name="T65" fmla="*/ 740 h 1565"/>
                <a:gd name="T66" fmla="*/ 2711 w 6630"/>
                <a:gd name="T67" fmla="*/ 938 h 1565"/>
                <a:gd name="T68" fmla="*/ 2584 w 6630"/>
                <a:gd name="T69" fmla="*/ 769 h 1565"/>
                <a:gd name="T70" fmla="*/ 2395 w 6630"/>
                <a:gd name="T71" fmla="*/ 833 h 1565"/>
                <a:gd name="T72" fmla="*/ 2349 w 6630"/>
                <a:gd name="T73" fmla="*/ 1090 h 1565"/>
                <a:gd name="T74" fmla="*/ 2495 w 6630"/>
                <a:gd name="T75" fmla="*/ 1278 h 1565"/>
                <a:gd name="T76" fmla="*/ 2670 w 6630"/>
                <a:gd name="T77" fmla="*/ 1213 h 1565"/>
                <a:gd name="T78" fmla="*/ 4906 w 6630"/>
                <a:gd name="T79" fmla="*/ 1070 h 1565"/>
                <a:gd name="T80" fmla="*/ 4796 w 6630"/>
                <a:gd name="T81" fmla="*/ 1276 h 1565"/>
                <a:gd name="T82" fmla="*/ 4627 w 6630"/>
                <a:gd name="T83" fmla="*/ 1221 h 1565"/>
                <a:gd name="T84" fmla="*/ 4342 w 6630"/>
                <a:gd name="T85" fmla="*/ 1149 h 1565"/>
                <a:gd name="T86" fmla="*/ 4475 w 6630"/>
                <a:gd name="T87" fmla="*/ 1421 h 1565"/>
                <a:gd name="T88" fmla="*/ 4831 w 6630"/>
                <a:gd name="T89" fmla="*/ 1494 h 1565"/>
                <a:gd name="T90" fmla="*/ 5106 w 6630"/>
                <a:gd name="T91" fmla="*/ 1336 h 1565"/>
                <a:gd name="T92" fmla="*/ 6626 w 6630"/>
                <a:gd name="T93" fmla="*/ 838 h 1565"/>
                <a:gd name="T94" fmla="*/ 6501 w 6630"/>
                <a:gd name="T95" fmla="*/ 594 h 1565"/>
                <a:gd name="T96" fmla="*/ 6231 w 6630"/>
                <a:gd name="T97" fmla="*/ 567 h 1565"/>
                <a:gd name="T98" fmla="*/ 6057 w 6630"/>
                <a:gd name="T99" fmla="*/ 735 h 1565"/>
                <a:gd name="T100" fmla="*/ 5910 w 6630"/>
                <a:gd name="T101" fmla="*/ 572 h 1565"/>
                <a:gd name="T102" fmla="*/ 5667 w 6630"/>
                <a:gd name="T103" fmla="*/ 579 h 1565"/>
                <a:gd name="T104" fmla="*/ 5264 w 6630"/>
                <a:gd name="T105" fmla="*/ 1024 h 1565"/>
                <a:gd name="T106" fmla="*/ 5598 w 6630"/>
                <a:gd name="T107" fmla="*/ 820 h 1565"/>
                <a:gd name="T108" fmla="*/ 5767 w 6630"/>
                <a:gd name="T109" fmla="*/ 817 h 1565"/>
                <a:gd name="T110" fmla="*/ 6077 w 6630"/>
                <a:gd name="T111" fmla="*/ 1011 h 1565"/>
                <a:gd name="T112" fmla="*/ 6169 w 6630"/>
                <a:gd name="T113" fmla="*/ 804 h 1565"/>
                <a:gd name="T114" fmla="*/ 6344 w 6630"/>
                <a:gd name="T115" fmla="*/ 837 h 1565"/>
                <a:gd name="T116" fmla="*/ 1972 w 6630"/>
                <a:gd name="T117" fmla="*/ 324 h 1565"/>
                <a:gd name="T118" fmla="*/ 2079 w 6630"/>
                <a:gd name="T119" fmla="*/ 777 h 1565"/>
                <a:gd name="T120" fmla="*/ 1685 w 6630"/>
                <a:gd name="T121" fmla="*/ 247 h 1565"/>
                <a:gd name="T122" fmla="*/ 1910 w 6630"/>
                <a:gd name="T123" fmla="*/ 98 h 1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630" h="1565">
                  <a:moveTo>
                    <a:pt x="375" y="995"/>
                  </a:moveTo>
                  <a:lnTo>
                    <a:pt x="362" y="972"/>
                  </a:lnTo>
                  <a:lnTo>
                    <a:pt x="351" y="949"/>
                  </a:lnTo>
                  <a:lnTo>
                    <a:pt x="341" y="925"/>
                  </a:lnTo>
                  <a:lnTo>
                    <a:pt x="333" y="901"/>
                  </a:lnTo>
                  <a:lnTo>
                    <a:pt x="329" y="889"/>
                  </a:lnTo>
                  <a:lnTo>
                    <a:pt x="325" y="876"/>
                  </a:lnTo>
                  <a:lnTo>
                    <a:pt x="319" y="851"/>
                  </a:lnTo>
                  <a:lnTo>
                    <a:pt x="314" y="826"/>
                  </a:lnTo>
                  <a:lnTo>
                    <a:pt x="310" y="801"/>
                  </a:lnTo>
                  <a:lnTo>
                    <a:pt x="309" y="788"/>
                  </a:lnTo>
                  <a:lnTo>
                    <a:pt x="308" y="775"/>
                  </a:lnTo>
                  <a:lnTo>
                    <a:pt x="307" y="762"/>
                  </a:lnTo>
                  <a:lnTo>
                    <a:pt x="306" y="749"/>
                  </a:lnTo>
                  <a:lnTo>
                    <a:pt x="306" y="724"/>
                  </a:lnTo>
                  <a:lnTo>
                    <a:pt x="307" y="698"/>
                  </a:lnTo>
                  <a:lnTo>
                    <a:pt x="309" y="673"/>
                  </a:lnTo>
                  <a:lnTo>
                    <a:pt x="311" y="660"/>
                  </a:lnTo>
                  <a:lnTo>
                    <a:pt x="313" y="647"/>
                  </a:lnTo>
                  <a:lnTo>
                    <a:pt x="315" y="635"/>
                  </a:lnTo>
                  <a:lnTo>
                    <a:pt x="317" y="622"/>
                  </a:lnTo>
                  <a:lnTo>
                    <a:pt x="323" y="597"/>
                  </a:lnTo>
                  <a:lnTo>
                    <a:pt x="330" y="572"/>
                  </a:lnTo>
                  <a:lnTo>
                    <a:pt x="338" y="548"/>
                  </a:lnTo>
                  <a:lnTo>
                    <a:pt x="348" y="524"/>
                  </a:lnTo>
                  <a:lnTo>
                    <a:pt x="358" y="500"/>
                  </a:lnTo>
                  <a:lnTo>
                    <a:pt x="364" y="488"/>
                  </a:lnTo>
                  <a:lnTo>
                    <a:pt x="370" y="477"/>
                  </a:lnTo>
                  <a:lnTo>
                    <a:pt x="376" y="465"/>
                  </a:lnTo>
                  <a:lnTo>
                    <a:pt x="383" y="454"/>
                  </a:lnTo>
                  <a:lnTo>
                    <a:pt x="397" y="432"/>
                  </a:lnTo>
                  <a:lnTo>
                    <a:pt x="404" y="421"/>
                  </a:lnTo>
                  <a:lnTo>
                    <a:pt x="412" y="410"/>
                  </a:lnTo>
                  <a:lnTo>
                    <a:pt x="428" y="390"/>
                  </a:lnTo>
                  <a:lnTo>
                    <a:pt x="445" y="369"/>
                  </a:lnTo>
                  <a:lnTo>
                    <a:pt x="464" y="350"/>
                  </a:lnTo>
                  <a:lnTo>
                    <a:pt x="483" y="331"/>
                  </a:lnTo>
                  <a:lnTo>
                    <a:pt x="504" y="314"/>
                  </a:lnTo>
                  <a:lnTo>
                    <a:pt x="515" y="305"/>
                  </a:lnTo>
                  <a:lnTo>
                    <a:pt x="526" y="297"/>
                  </a:lnTo>
                  <a:lnTo>
                    <a:pt x="537" y="289"/>
                  </a:lnTo>
                  <a:lnTo>
                    <a:pt x="549" y="281"/>
                  </a:lnTo>
                  <a:lnTo>
                    <a:pt x="573" y="267"/>
                  </a:lnTo>
                  <a:lnTo>
                    <a:pt x="629" y="57"/>
                  </a:lnTo>
                  <a:lnTo>
                    <a:pt x="419" y="0"/>
                  </a:lnTo>
                  <a:lnTo>
                    <a:pt x="401" y="11"/>
                  </a:lnTo>
                  <a:lnTo>
                    <a:pt x="383" y="23"/>
                  </a:lnTo>
                  <a:lnTo>
                    <a:pt x="365" y="35"/>
                  </a:lnTo>
                  <a:lnTo>
                    <a:pt x="347" y="47"/>
                  </a:lnTo>
                  <a:lnTo>
                    <a:pt x="330" y="60"/>
                  </a:lnTo>
                  <a:lnTo>
                    <a:pt x="314" y="73"/>
                  </a:lnTo>
                  <a:lnTo>
                    <a:pt x="297" y="86"/>
                  </a:lnTo>
                  <a:lnTo>
                    <a:pt x="282" y="100"/>
                  </a:lnTo>
                  <a:lnTo>
                    <a:pt x="266" y="114"/>
                  </a:lnTo>
                  <a:lnTo>
                    <a:pt x="251" y="128"/>
                  </a:lnTo>
                  <a:lnTo>
                    <a:pt x="237" y="143"/>
                  </a:lnTo>
                  <a:lnTo>
                    <a:pt x="222" y="158"/>
                  </a:lnTo>
                  <a:lnTo>
                    <a:pt x="209" y="173"/>
                  </a:lnTo>
                  <a:lnTo>
                    <a:pt x="195" y="188"/>
                  </a:lnTo>
                  <a:lnTo>
                    <a:pt x="182" y="204"/>
                  </a:lnTo>
                  <a:lnTo>
                    <a:pt x="170" y="220"/>
                  </a:lnTo>
                  <a:lnTo>
                    <a:pt x="158" y="237"/>
                  </a:lnTo>
                  <a:lnTo>
                    <a:pt x="146" y="254"/>
                  </a:lnTo>
                  <a:lnTo>
                    <a:pt x="135" y="270"/>
                  </a:lnTo>
                  <a:lnTo>
                    <a:pt x="124" y="288"/>
                  </a:lnTo>
                  <a:lnTo>
                    <a:pt x="114" y="305"/>
                  </a:lnTo>
                  <a:lnTo>
                    <a:pt x="104" y="323"/>
                  </a:lnTo>
                  <a:lnTo>
                    <a:pt x="94" y="341"/>
                  </a:lnTo>
                  <a:lnTo>
                    <a:pt x="85" y="359"/>
                  </a:lnTo>
                  <a:lnTo>
                    <a:pt x="76" y="377"/>
                  </a:lnTo>
                  <a:lnTo>
                    <a:pt x="68" y="395"/>
                  </a:lnTo>
                  <a:lnTo>
                    <a:pt x="61" y="414"/>
                  </a:lnTo>
                  <a:lnTo>
                    <a:pt x="53" y="433"/>
                  </a:lnTo>
                  <a:lnTo>
                    <a:pt x="47" y="452"/>
                  </a:lnTo>
                  <a:lnTo>
                    <a:pt x="40" y="471"/>
                  </a:lnTo>
                  <a:lnTo>
                    <a:pt x="29" y="509"/>
                  </a:lnTo>
                  <a:lnTo>
                    <a:pt x="24" y="529"/>
                  </a:lnTo>
                  <a:lnTo>
                    <a:pt x="19" y="548"/>
                  </a:lnTo>
                  <a:lnTo>
                    <a:pt x="15" y="568"/>
                  </a:lnTo>
                  <a:lnTo>
                    <a:pt x="12" y="588"/>
                  </a:lnTo>
                  <a:lnTo>
                    <a:pt x="9" y="608"/>
                  </a:lnTo>
                  <a:lnTo>
                    <a:pt x="6" y="628"/>
                  </a:lnTo>
                  <a:lnTo>
                    <a:pt x="4" y="648"/>
                  </a:lnTo>
                  <a:lnTo>
                    <a:pt x="2" y="668"/>
                  </a:lnTo>
                  <a:lnTo>
                    <a:pt x="1" y="688"/>
                  </a:lnTo>
                  <a:lnTo>
                    <a:pt x="0" y="708"/>
                  </a:lnTo>
                  <a:lnTo>
                    <a:pt x="0" y="749"/>
                  </a:lnTo>
                  <a:lnTo>
                    <a:pt x="1" y="769"/>
                  </a:lnTo>
                  <a:lnTo>
                    <a:pt x="2" y="790"/>
                  </a:lnTo>
                  <a:lnTo>
                    <a:pt x="4" y="810"/>
                  </a:lnTo>
                  <a:lnTo>
                    <a:pt x="6" y="831"/>
                  </a:lnTo>
                  <a:lnTo>
                    <a:pt x="13" y="871"/>
                  </a:lnTo>
                  <a:lnTo>
                    <a:pt x="16" y="891"/>
                  </a:lnTo>
                  <a:lnTo>
                    <a:pt x="21" y="911"/>
                  </a:lnTo>
                  <a:lnTo>
                    <a:pt x="25" y="932"/>
                  </a:lnTo>
                  <a:lnTo>
                    <a:pt x="31" y="952"/>
                  </a:lnTo>
                  <a:lnTo>
                    <a:pt x="36" y="972"/>
                  </a:lnTo>
                  <a:lnTo>
                    <a:pt x="43" y="991"/>
                  </a:lnTo>
                  <a:lnTo>
                    <a:pt x="57" y="1031"/>
                  </a:lnTo>
                  <a:lnTo>
                    <a:pt x="65" y="1050"/>
                  </a:lnTo>
                  <a:lnTo>
                    <a:pt x="73" y="1070"/>
                  </a:lnTo>
                  <a:lnTo>
                    <a:pt x="82" y="1089"/>
                  </a:lnTo>
                  <a:lnTo>
                    <a:pt x="92" y="1108"/>
                  </a:lnTo>
                  <a:lnTo>
                    <a:pt x="102" y="1127"/>
                  </a:lnTo>
                  <a:lnTo>
                    <a:pt x="113" y="1146"/>
                  </a:lnTo>
                  <a:lnTo>
                    <a:pt x="124" y="1165"/>
                  </a:lnTo>
                  <a:lnTo>
                    <a:pt x="135" y="1183"/>
                  </a:lnTo>
                  <a:lnTo>
                    <a:pt x="147" y="1201"/>
                  </a:lnTo>
                  <a:lnTo>
                    <a:pt x="159" y="1218"/>
                  </a:lnTo>
                  <a:lnTo>
                    <a:pt x="172" y="1235"/>
                  </a:lnTo>
                  <a:lnTo>
                    <a:pt x="185" y="1252"/>
                  </a:lnTo>
                  <a:lnTo>
                    <a:pt x="198" y="1268"/>
                  </a:lnTo>
                  <a:lnTo>
                    <a:pt x="212" y="1284"/>
                  </a:lnTo>
                  <a:lnTo>
                    <a:pt x="226" y="1299"/>
                  </a:lnTo>
                  <a:lnTo>
                    <a:pt x="240" y="1314"/>
                  </a:lnTo>
                  <a:lnTo>
                    <a:pt x="255" y="1329"/>
                  </a:lnTo>
                  <a:lnTo>
                    <a:pt x="270" y="1343"/>
                  </a:lnTo>
                  <a:lnTo>
                    <a:pt x="285" y="1357"/>
                  </a:lnTo>
                  <a:lnTo>
                    <a:pt x="301" y="1370"/>
                  </a:lnTo>
                  <a:lnTo>
                    <a:pt x="317" y="1383"/>
                  </a:lnTo>
                  <a:lnTo>
                    <a:pt x="333" y="1396"/>
                  </a:lnTo>
                  <a:lnTo>
                    <a:pt x="349" y="1408"/>
                  </a:lnTo>
                  <a:lnTo>
                    <a:pt x="366" y="1419"/>
                  </a:lnTo>
                  <a:lnTo>
                    <a:pt x="383" y="1431"/>
                  </a:lnTo>
                  <a:lnTo>
                    <a:pt x="400" y="1441"/>
                  </a:lnTo>
                  <a:lnTo>
                    <a:pt x="417" y="1452"/>
                  </a:lnTo>
                  <a:lnTo>
                    <a:pt x="435" y="1462"/>
                  </a:lnTo>
                  <a:lnTo>
                    <a:pt x="453" y="1471"/>
                  </a:lnTo>
                  <a:lnTo>
                    <a:pt x="471" y="1480"/>
                  </a:lnTo>
                  <a:lnTo>
                    <a:pt x="489" y="1489"/>
                  </a:lnTo>
                  <a:lnTo>
                    <a:pt x="508" y="1497"/>
                  </a:lnTo>
                  <a:lnTo>
                    <a:pt x="526" y="1505"/>
                  </a:lnTo>
                  <a:lnTo>
                    <a:pt x="545" y="1512"/>
                  </a:lnTo>
                  <a:lnTo>
                    <a:pt x="564" y="1519"/>
                  </a:lnTo>
                  <a:lnTo>
                    <a:pt x="583" y="1525"/>
                  </a:lnTo>
                  <a:lnTo>
                    <a:pt x="622" y="1536"/>
                  </a:lnTo>
                  <a:lnTo>
                    <a:pt x="641" y="1541"/>
                  </a:lnTo>
                  <a:lnTo>
                    <a:pt x="661" y="1546"/>
                  </a:lnTo>
                  <a:lnTo>
                    <a:pt x="680" y="1550"/>
                  </a:lnTo>
                  <a:lnTo>
                    <a:pt x="700" y="1554"/>
                  </a:lnTo>
                  <a:lnTo>
                    <a:pt x="720" y="1557"/>
                  </a:lnTo>
                  <a:lnTo>
                    <a:pt x="740" y="1559"/>
                  </a:lnTo>
                  <a:lnTo>
                    <a:pt x="760" y="1561"/>
                  </a:lnTo>
                  <a:lnTo>
                    <a:pt x="780" y="1563"/>
                  </a:lnTo>
                  <a:lnTo>
                    <a:pt x="800" y="1564"/>
                  </a:lnTo>
                  <a:lnTo>
                    <a:pt x="821" y="1565"/>
                  </a:lnTo>
                  <a:lnTo>
                    <a:pt x="862" y="1565"/>
                  </a:lnTo>
                  <a:lnTo>
                    <a:pt x="882" y="1564"/>
                  </a:lnTo>
                  <a:lnTo>
                    <a:pt x="903" y="1563"/>
                  </a:lnTo>
                  <a:lnTo>
                    <a:pt x="923" y="1561"/>
                  </a:lnTo>
                  <a:lnTo>
                    <a:pt x="943" y="1559"/>
                  </a:lnTo>
                  <a:lnTo>
                    <a:pt x="984" y="1553"/>
                  </a:lnTo>
                  <a:lnTo>
                    <a:pt x="1004" y="1549"/>
                  </a:lnTo>
                  <a:lnTo>
                    <a:pt x="1024" y="1545"/>
                  </a:lnTo>
                  <a:lnTo>
                    <a:pt x="1044" y="1540"/>
                  </a:lnTo>
                  <a:lnTo>
                    <a:pt x="1064" y="1535"/>
                  </a:lnTo>
                  <a:lnTo>
                    <a:pt x="1084" y="1529"/>
                  </a:lnTo>
                  <a:lnTo>
                    <a:pt x="1104" y="1522"/>
                  </a:lnTo>
                  <a:lnTo>
                    <a:pt x="1143" y="1508"/>
                  </a:lnTo>
                  <a:lnTo>
                    <a:pt x="1163" y="1500"/>
                  </a:lnTo>
                  <a:lnTo>
                    <a:pt x="1182" y="1492"/>
                  </a:lnTo>
                  <a:lnTo>
                    <a:pt x="1202" y="1483"/>
                  </a:lnTo>
                  <a:lnTo>
                    <a:pt x="1221" y="1473"/>
                  </a:lnTo>
                  <a:lnTo>
                    <a:pt x="1240" y="1463"/>
                  </a:lnTo>
                  <a:lnTo>
                    <a:pt x="1259" y="1453"/>
                  </a:lnTo>
                  <a:lnTo>
                    <a:pt x="1105" y="1187"/>
                  </a:lnTo>
                  <a:lnTo>
                    <a:pt x="1080" y="1200"/>
                  </a:lnTo>
                  <a:lnTo>
                    <a:pt x="1067" y="1206"/>
                  </a:lnTo>
                  <a:lnTo>
                    <a:pt x="1055" y="1212"/>
                  </a:lnTo>
                  <a:lnTo>
                    <a:pt x="1029" y="1223"/>
                  </a:lnTo>
                  <a:lnTo>
                    <a:pt x="1016" y="1227"/>
                  </a:lnTo>
                  <a:lnTo>
                    <a:pt x="1004" y="1232"/>
                  </a:lnTo>
                  <a:lnTo>
                    <a:pt x="991" y="1236"/>
                  </a:lnTo>
                  <a:lnTo>
                    <a:pt x="978" y="1240"/>
                  </a:lnTo>
                  <a:lnTo>
                    <a:pt x="965" y="1243"/>
                  </a:lnTo>
                  <a:lnTo>
                    <a:pt x="952" y="1246"/>
                  </a:lnTo>
                  <a:lnTo>
                    <a:pt x="939" y="1248"/>
                  </a:lnTo>
                  <a:lnTo>
                    <a:pt x="926" y="1251"/>
                  </a:lnTo>
                  <a:lnTo>
                    <a:pt x="899" y="1254"/>
                  </a:lnTo>
                  <a:lnTo>
                    <a:pt x="873" y="1257"/>
                  </a:lnTo>
                  <a:lnTo>
                    <a:pt x="860" y="1257"/>
                  </a:lnTo>
                  <a:lnTo>
                    <a:pt x="847" y="1258"/>
                  </a:lnTo>
                  <a:lnTo>
                    <a:pt x="820" y="1257"/>
                  </a:lnTo>
                  <a:lnTo>
                    <a:pt x="794" y="1256"/>
                  </a:lnTo>
                  <a:lnTo>
                    <a:pt x="768" y="1253"/>
                  </a:lnTo>
                  <a:lnTo>
                    <a:pt x="756" y="1251"/>
                  </a:lnTo>
                  <a:lnTo>
                    <a:pt x="743" y="1249"/>
                  </a:lnTo>
                  <a:lnTo>
                    <a:pt x="730" y="1247"/>
                  </a:lnTo>
                  <a:lnTo>
                    <a:pt x="718" y="1244"/>
                  </a:lnTo>
                  <a:lnTo>
                    <a:pt x="693" y="1238"/>
                  </a:lnTo>
                  <a:lnTo>
                    <a:pt x="680" y="1234"/>
                  </a:lnTo>
                  <a:lnTo>
                    <a:pt x="668" y="1230"/>
                  </a:lnTo>
                  <a:lnTo>
                    <a:pt x="644" y="1222"/>
                  </a:lnTo>
                  <a:lnTo>
                    <a:pt x="632" y="1217"/>
                  </a:lnTo>
                  <a:lnTo>
                    <a:pt x="620" y="1212"/>
                  </a:lnTo>
                  <a:lnTo>
                    <a:pt x="597" y="1201"/>
                  </a:lnTo>
                  <a:lnTo>
                    <a:pt x="574" y="1189"/>
                  </a:lnTo>
                  <a:lnTo>
                    <a:pt x="552" y="1176"/>
                  </a:lnTo>
                  <a:lnTo>
                    <a:pt x="541" y="1170"/>
                  </a:lnTo>
                  <a:lnTo>
                    <a:pt x="531" y="1162"/>
                  </a:lnTo>
                  <a:lnTo>
                    <a:pt x="520" y="1155"/>
                  </a:lnTo>
                  <a:lnTo>
                    <a:pt x="510" y="1148"/>
                  </a:lnTo>
                  <a:lnTo>
                    <a:pt x="490" y="1132"/>
                  </a:lnTo>
                  <a:lnTo>
                    <a:pt x="471" y="1115"/>
                  </a:lnTo>
                  <a:lnTo>
                    <a:pt x="453" y="1097"/>
                  </a:lnTo>
                  <a:lnTo>
                    <a:pt x="444" y="1088"/>
                  </a:lnTo>
                  <a:lnTo>
                    <a:pt x="435" y="1078"/>
                  </a:lnTo>
                  <a:lnTo>
                    <a:pt x="418" y="1059"/>
                  </a:lnTo>
                  <a:lnTo>
                    <a:pt x="403" y="1038"/>
                  </a:lnTo>
                  <a:lnTo>
                    <a:pt x="395" y="1028"/>
                  </a:lnTo>
                  <a:lnTo>
                    <a:pt x="388" y="1017"/>
                  </a:lnTo>
                  <a:lnTo>
                    <a:pt x="381" y="1006"/>
                  </a:lnTo>
                  <a:lnTo>
                    <a:pt x="375" y="995"/>
                  </a:lnTo>
                  <a:close/>
                  <a:moveTo>
                    <a:pt x="431" y="962"/>
                  </a:moveTo>
                  <a:lnTo>
                    <a:pt x="443" y="982"/>
                  </a:lnTo>
                  <a:lnTo>
                    <a:pt x="456" y="1000"/>
                  </a:lnTo>
                  <a:lnTo>
                    <a:pt x="469" y="1018"/>
                  </a:lnTo>
                  <a:lnTo>
                    <a:pt x="484" y="1035"/>
                  </a:lnTo>
                  <a:lnTo>
                    <a:pt x="499" y="1052"/>
                  </a:lnTo>
                  <a:lnTo>
                    <a:pt x="516" y="1067"/>
                  </a:lnTo>
                  <a:lnTo>
                    <a:pt x="532" y="1082"/>
                  </a:lnTo>
                  <a:lnTo>
                    <a:pt x="550" y="1096"/>
                  </a:lnTo>
                  <a:lnTo>
                    <a:pt x="568" y="1109"/>
                  </a:lnTo>
                  <a:lnTo>
                    <a:pt x="587" y="1121"/>
                  </a:lnTo>
                  <a:lnTo>
                    <a:pt x="597" y="1127"/>
                  </a:lnTo>
                  <a:lnTo>
                    <a:pt x="606" y="1133"/>
                  </a:lnTo>
                  <a:lnTo>
                    <a:pt x="626" y="1143"/>
                  </a:lnTo>
                  <a:lnTo>
                    <a:pt x="647" y="1153"/>
                  </a:lnTo>
                  <a:lnTo>
                    <a:pt x="667" y="1161"/>
                  </a:lnTo>
                  <a:lnTo>
                    <a:pt x="678" y="1165"/>
                  </a:lnTo>
                  <a:lnTo>
                    <a:pt x="689" y="1169"/>
                  </a:lnTo>
                  <a:lnTo>
                    <a:pt x="710" y="1175"/>
                  </a:lnTo>
                  <a:lnTo>
                    <a:pt x="721" y="1178"/>
                  </a:lnTo>
                  <a:lnTo>
                    <a:pt x="732" y="1181"/>
                  </a:lnTo>
                  <a:lnTo>
                    <a:pt x="743" y="1183"/>
                  </a:lnTo>
                  <a:lnTo>
                    <a:pt x="754" y="1185"/>
                  </a:lnTo>
                  <a:lnTo>
                    <a:pt x="777" y="1189"/>
                  </a:lnTo>
                  <a:lnTo>
                    <a:pt x="799" y="1191"/>
                  </a:lnTo>
                  <a:lnTo>
                    <a:pt x="811" y="1192"/>
                  </a:lnTo>
                  <a:lnTo>
                    <a:pt x="822" y="1193"/>
                  </a:lnTo>
                  <a:lnTo>
                    <a:pt x="846" y="1193"/>
                  </a:lnTo>
                  <a:lnTo>
                    <a:pt x="858" y="1193"/>
                  </a:lnTo>
                  <a:lnTo>
                    <a:pt x="869" y="1192"/>
                  </a:lnTo>
                  <a:lnTo>
                    <a:pt x="892" y="1190"/>
                  </a:lnTo>
                  <a:lnTo>
                    <a:pt x="904" y="1188"/>
                  </a:lnTo>
                  <a:lnTo>
                    <a:pt x="915" y="1187"/>
                  </a:lnTo>
                  <a:lnTo>
                    <a:pt x="938" y="1182"/>
                  </a:lnTo>
                  <a:lnTo>
                    <a:pt x="961" y="1177"/>
                  </a:lnTo>
                  <a:lnTo>
                    <a:pt x="984" y="1170"/>
                  </a:lnTo>
                  <a:lnTo>
                    <a:pt x="1006" y="1162"/>
                  </a:lnTo>
                  <a:lnTo>
                    <a:pt x="1028" y="1153"/>
                  </a:lnTo>
                  <a:lnTo>
                    <a:pt x="1039" y="1148"/>
                  </a:lnTo>
                  <a:lnTo>
                    <a:pt x="1050" y="1142"/>
                  </a:lnTo>
                  <a:lnTo>
                    <a:pt x="1072" y="1130"/>
                  </a:lnTo>
                  <a:lnTo>
                    <a:pt x="1093" y="1117"/>
                  </a:lnTo>
                  <a:lnTo>
                    <a:pt x="1104" y="1111"/>
                  </a:lnTo>
                  <a:lnTo>
                    <a:pt x="1114" y="1103"/>
                  </a:lnTo>
                  <a:lnTo>
                    <a:pt x="1133" y="1089"/>
                  </a:lnTo>
                  <a:lnTo>
                    <a:pt x="1151" y="1073"/>
                  </a:lnTo>
                  <a:lnTo>
                    <a:pt x="1160" y="1065"/>
                  </a:lnTo>
                  <a:lnTo>
                    <a:pt x="1169" y="1057"/>
                  </a:lnTo>
                  <a:lnTo>
                    <a:pt x="1185" y="1040"/>
                  </a:lnTo>
                  <a:lnTo>
                    <a:pt x="1200" y="1022"/>
                  </a:lnTo>
                  <a:lnTo>
                    <a:pt x="1215" y="1004"/>
                  </a:lnTo>
                  <a:lnTo>
                    <a:pt x="1228" y="985"/>
                  </a:lnTo>
                  <a:lnTo>
                    <a:pt x="1240" y="965"/>
                  </a:lnTo>
                  <a:lnTo>
                    <a:pt x="1246" y="955"/>
                  </a:lnTo>
                  <a:lnTo>
                    <a:pt x="1251" y="945"/>
                  </a:lnTo>
                  <a:lnTo>
                    <a:pt x="1262" y="925"/>
                  </a:lnTo>
                  <a:lnTo>
                    <a:pt x="1271" y="904"/>
                  </a:lnTo>
                  <a:lnTo>
                    <a:pt x="1279" y="883"/>
                  </a:lnTo>
                  <a:lnTo>
                    <a:pt x="1286" y="862"/>
                  </a:lnTo>
                  <a:lnTo>
                    <a:pt x="1292" y="840"/>
                  </a:lnTo>
                  <a:lnTo>
                    <a:pt x="1297" y="818"/>
                  </a:lnTo>
                  <a:lnTo>
                    <a:pt x="1301" y="796"/>
                  </a:lnTo>
                  <a:lnTo>
                    <a:pt x="1304" y="772"/>
                  </a:lnTo>
                  <a:lnTo>
                    <a:pt x="1306" y="750"/>
                  </a:lnTo>
                  <a:lnTo>
                    <a:pt x="1307" y="728"/>
                  </a:lnTo>
                  <a:lnTo>
                    <a:pt x="1307" y="705"/>
                  </a:lnTo>
                  <a:lnTo>
                    <a:pt x="1306" y="683"/>
                  </a:lnTo>
                  <a:lnTo>
                    <a:pt x="1303" y="661"/>
                  </a:lnTo>
                  <a:lnTo>
                    <a:pt x="1300" y="639"/>
                  </a:lnTo>
                  <a:lnTo>
                    <a:pt x="1296" y="617"/>
                  </a:lnTo>
                  <a:lnTo>
                    <a:pt x="1290" y="595"/>
                  </a:lnTo>
                  <a:lnTo>
                    <a:pt x="1284" y="573"/>
                  </a:lnTo>
                  <a:lnTo>
                    <a:pt x="1276" y="552"/>
                  </a:lnTo>
                  <a:lnTo>
                    <a:pt x="1272" y="542"/>
                  </a:lnTo>
                  <a:lnTo>
                    <a:pt x="1267" y="531"/>
                  </a:lnTo>
                  <a:lnTo>
                    <a:pt x="1262" y="521"/>
                  </a:lnTo>
                  <a:lnTo>
                    <a:pt x="1257" y="511"/>
                  </a:lnTo>
                  <a:lnTo>
                    <a:pt x="1247" y="491"/>
                  </a:lnTo>
                  <a:lnTo>
                    <a:pt x="1235" y="472"/>
                  </a:lnTo>
                  <a:lnTo>
                    <a:pt x="1222" y="453"/>
                  </a:lnTo>
                  <a:lnTo>
                    <a:pt x="1208" y="435"/>
                  </a:lnTo>
                  <a:lnTo>
                    <a:pt x="1194" y="418"/>
                  </a:lnTo>
                  <a:lnTo>
                    <a:pt x="1178" y="401"/>
                  </a:lnTo>
                  <a:lnTo>
                    <a:pt x="1162" y="386"/>
                  </a:lnTo>
                  <a:lnTo>
                    <a:pt x="1145" y="371"/>
                  </a:lnTo>
                  <a:lnTo>
                    <a:pt x="1128" y="357"/>
                  </a:lnTo>
                  <a:lnTo>
                    <a:pt x="1119" y="350"/>
                  </a:lnTo>
                  <a:lnTo>
                    <a:pt x="1110" y="344"/>
                  </a:lnTo>
                  <a:lnTo>
                    <a:pt x="1091" y="332"/>
                  </a:lnTo>
                  <a:lnTo>
                    <a:pt x="1082" y="326"/>
                  </a:lnTo>
                  <a:lnTo>
                    <a:pt x="1072" y="320"/>
                  </a:lnTo>
                  <a:lnTo>
                    <a:pt x="1052" y="310"/>
                  </a:lnTo>
                  <a:lnTo>
                    <a:pt x="1032" y="300"/>
                  </a:lnTo>
                  <a:lnTo>
                    <a:pt x="1011" y="292"/>
                  </a:lnTo>
                  <a:lnTo>
                    <a:pt x="1000" y="288"/>
                  </a:lnTo>
                  <a:lnTo>
                    <a:pt x="990" y="284"/>
                  </a:lnTo>
                  <a:lnTo>
                    <a:pt x="968" y="278"/>
                  </a:lnTo>
                  <a:lnTo>
                    <a:pt x="957" y="275"/>
                  </a:lnTo>
                  <a:lnTo>
                    <a:pt x="946" y="272"/>
                  </a:lnTo>
                  <a:lnTo>
                    <a:pt x="935" y="270"/>
                  </a:lnTo>
                  <a:lnTo>
                    <a:pt x="924" y="267"/>
                  </a:lnTo>
                  <a:lnTo>
                    <a:pt x="902" y="264"/>
                  </a:lnTo>
                  <a:lnTo>
                    <a:pt x="879" y="261"/>
                  </a:lnTo>
                  <a:lnTo>
                    <a:pt x="868" y="261"/>
                  </a:lnTo>
                  <a:lnTo>
                    <a:pt x="856" y="260"/>
                  </a:lnTo>
                  <a:lnTo>
                    <a:pt x="833" y="260"/>
                  </a:lnTo>
                  <a:lnTo>
                    <a:pt x="821" y="260"/>
                  </a:lnTo>
                  <a:lnTo>
                    <a:pt x="809" y="261"/>
                  </a:lnTo>
                  <a:lnTo>
                    <a:pt x="786" y="263"/>
                  </a:lnTo>
                  <a:lnTo>
                    <a:pt x="775" y="264"/>
                  </a:lnTo>
                  <a:lnTo>
                    <a:pt x="763" y="266"/>
                  </a:lnTo>
                  <a:lnTo>
                    <a:pt x="740" y="270"/>
                  </a:lnTo>
                  <a:lnTo>
                    <a:pt x="718" y="276"/>
                  </a:lnTo>
                  <a:lnTo>
                    <a:pt x="695" y="283"/>
                  </a:lnTo>
                  <a:lnTo>
                    <a:pt x="672" y="291"/>
                  </a:lnTo>
                  <a:lnTo>
                    <a:pt x="650" y="300"/>
                  </a:lnTo>
                  <a:lnTo>
                    <a:pt x="627" y="311"/>
                  </a:lnTo>
                  <a:lnTo>
                    <a:pt x="605" y="323"/>
                  </a:lnTo>
                  <a:lnTo>
                    <a:pt x="584" y="336"/>
                  </a:lnTo>
                  <a:lnTo>
                    <a:pt x="564" y="350"/>
                  </a:lnTo>
                  <a:lnTo>
                    <a:pt x="545" y="364"/>
                  </a:lnTo>
                  <a:lnTo>
                    <a:pt x="527" y="380"/>
                  </a:lnTo>
                  <a:lnTo>
                    <a:pt x="518" y="388"/>
                  </a:lnTo>
                  <a:lnTo>
                    <a:pt x="510" y="396"/>
                  </a:lnTo>
                  <a:lnTo>
                    <a:pt x="493" y="413"/>
                  </a:lnTo>
                  <a:lnTo>
                    <a:pt x="478" y="431"/>
                  </a:lnTo>
                  <a:lnTo>
                    <a:pt x="471" y="440"/>
                  </a:lnTo>
                  <a:lnTo>
                    <a:pt x="464" y="449"/>
                  </a:lnTo>
                  <a:lnTo>
                    <a:pt x="451" y="468"/>
                  </a:lnTo>
                  <a:lnTo>
                    <a:pt x="438" y="487"/>
                  </a:lnTo>
                  <a:lnTo>
                    <a:pt x="433" y="497"/>
                  </a:lnTo>
                  <a:lnTo>
                    <a:pt x="427" y="507"/>
                  </a:lnTo>
                  <a:lnTo>
                    <a:pt x="417" y="528"/>
                  </a:lnTo>
                  <a:lnTo>
                    <a:pt x="408" y="549"/>
                  </a:lnTo>
                  <a:lnTo>
                    <a:pt x="404" y="559"/>
                  </a:lnTo>
                  <a:lnTo>
                    <a:pt x="400" y="570"/>
                  </a:lnTo>
                  <a:lnTo>
                    <a:pt x="392" y="591"/>
                  </a:lnTo>
                  <a:lnTo>
                    <a:pt x="386" y="613"/>
                  </a:lnTo>
                  <a:lnTo>
                    <a:pt x="384" y="624"/>
                  </a:lnTo>
                  <a:lnTo>
                    <a:pt x="381" y="635"/>
                  </a:lnTo>
                  <a:lnTo>
                    <a:pt x="379" y="646"/>
                  </a:lnTo>
                  <a:lnTo>
                    <a:pt x="377" y="657"/>
                  </a:lnTo>
                  <a:lnTo>
                    <a:pt x="374" y="679"/>
                  </a:lnTo>
                  <a:lnTo>
                    <a:pt x="372" y="702"/>
                  </a:lnTo>
                  <a:lnTo>
                    <a:pt x="371" y="724"/>
                  </a:lnTo>
                  <a:lnTo>
                    <a:pt x="371" y="747"/>
                  </a:lnTo>
                  <a:lnTo>
                    <a:pt x="372" y="758"/>
                  </a:lnTo>
                  <a:lnTo>
                    <a:pt x="372" y="769"/>
                  </a:lnTo>
                  <a:lnTo>
                    <a:pt x="373" y="781"/>
                  </a:lnTo>
                  <a:lnTo>
                    <a:pt x="375" y="792"/>
                  </a:lnTo>
                  <a:lnTo>
                    <a:pt x="378" y="815"/>
                  </a:lnTo>
                  <a:lnTo>
                    <a:pt x="382" y="837"/>
                  </a:lnTo>
                  <a:lnTo>
                    <a:pt x="388" y="858"/>
                  </a:lnTo>
                  <a:lnTo>
                    <a:pt x="394" y="880"/>
                  </a:lnTo>
                  <a:lnTo>
                    <a:pt x="402" y="901"/>
                  </a:lnTo>
                  <a:lnTo>
                    <a:pt x="406" y="911"/>
                  </a:lnTo>
                  <a:lnTo>
                    <a:pt x="410" y="922"/>
                  </a:lnTo>
                  <a:lnTo>
                    <a:pt x="415" y="932"/>
                  </a:lnTo>
                  <a:lnTo>
                    <a:pt x="420" y="942"/>
                  </a:lnTo>
                  <a:lnTo>
                    <a:pt x="431" y="962"/>
                  </a:lnTo>
                  <a:close/>
                  <a:moveTo>
                    <a:pt x="3652" y="820"/>
                  </a:moveTo>
                  <a:lnTo>
                    <a:pt x="3636" y="813"/>
                  </a:lnTo>
                  <a:lnTo>
                    <a:pt x="3621" y="807"/>
                  </a:lnTo>
                  <a:lnTo>
                    <a:pt x="3606" y="802"/>
                  </a:lnTo>
                  <a:lnTo>
                    <a:pt x="3593" y="799"/>
                  </a:lnTo>
                  <a:lnTo>
                    <a:pt x="3579" y="796"/>
                  </a:lnTo>
                  <a:lnTo>
                    <a:pt x="3564" y="795"/>
                  </a:lnTo>
                  <a:lnTo>
                    <a:pt x="3549" y="794"/>
                  </a:lnTo>
                  <a:lnTo>
                    <a:pt x="3533" y="793"/>
                  </a:lnTo>
                  <a:lnTo>
                    <a:pt x="3520" y="794"/>
                  </a:lnTo>
                  <a:lnTo>
                    <a:pt x="3507" y="795"/>
                  </a:lnTo>
                  <a:lnTo>
                    <a:pt x="3494" y="796"/>
                  </a:lnTo>
                  <a:lnTo>
                    <a:pt x="3488" y="797"/>
                  </a:lnTo>
                  <a:lnTo>
                    <a:pt x="3482" y="798"/>
                  </a:lnTo>
                  <a:lnTo>
                    <a:pt x="3470" y="801"/>
                  </a:lnTo>
                  <a:lnTo>
                    <a:pt x="3458" y="804"/>
                  </a:lnTo>
                  <a:lnTo>
                    <a:pt x="3447" y="808"/>
                  </a:lnTo>
                  <a:lnTo>
                    <a:pt x="3437" y="813"/>
                  </a:lnTo>
                  <a:lnTo>
                    <a:pt x="3426" y="818"/>
                  </a:lnTo>
                  <a:lnTo>
                    <a:pt x="3417" y="824"/>
                  </a:lnTo>
                  <a:lnTo>
                    <a:pt x="3407" y="830"/>
                  </a:lnTo>
                  <a:lnTo>
                    <a:pt x="3398" y="837"/>
                  </a:lnTo>
                  <a:lnTo>
                    <a:pt x="3389" y="844"/>
                  </a:lnTo>
                  <a:lnTo>
                    <a:pt x="3381" y="852"/>
                  </a:lnTo>
                  <a:lnTo>
                    <a:pt x="3373" y="860"/>
                  </a:lnTo>
                  <a:lnTo>
                    <a:pt x="3366" y="869"/>
                  </a:lnTo>
                  <a:lnTo>
                    <a:pt x="3359" y="878"/>
                  </a:lnTo>
                  <a:lnTo>
                    <a:pt x="3352" y="888"/>
                  </a:lnTo>
                  <a:lnTo>
                    <a:pt x="3346" y="899"/>
                  </a:lnTo>
                  <a:lnTo>
                    <a:pt x="3340" y="910"/>
                  </a:lnTo>
                  <a:lnTo>
                    <a:pt x="3335" y="921"/>
                  </a:lnTo>
                  <a:lnTo>
                    <a:pt x="3330" y="933"/>
                  </a:lnTo>
                  <a:lnTo>
                    <a:pt x="3325" y="945"/>
                  </a:lnTo>
                  <a:lnTo>
                    <a:pt x="3321" y="958"/>
                  </a:lnTo>
                  <a:lnTo>
                    <a:pt x="3318" y="971"/>
                  </a:lnTo>
                  <a:lnTo>
                    <a:pt x="3315" y="985"/>
                  </a:lnTo>
                  <a:lnTo>
                    <a:pt x="3312" y="999"/>
                  </a:lnTo>
                  <a:lnTo>
                    <a:pt x="3310" y="1013"/>
                  </a:lnTo>
                  <a:lnTo>
                    <a:pt x="3308" y="1028"/>
                  </a:lnTo>
                  <a:lnTo>
                    <a:pt x="3307" y="1044"/>
                  </a:lnTo>
                  <a:lnTo>
                    <a:pt x="3306" y="1059"/>
                  </a:lnTo>
                  <a:lnTo>
                    <a:pt x="3306" y="1076"/>
                  </a:lnTo>
                  <a:lnTo>
                    <a:pt x="3306" y="1478"/>
                  </a:lnTo>
                  <a:lnTo>
                    <a:pt x="3048" y="1478"/>
                  </a:lnTo>
                  <a:lnTo>
                    <a:pt x="3048" y="1024"/>
                  </a:lnTo>
                  <a:lnTo>
                    <a:pt x="3048" y="570"/>
                  </a:lnTo>
                  <a:lnTo>
                    <a:pt x="3297" y="570"/>
                  </a:lnTo>
                  <a:lnTo>
                    <a:pt x="3297" y="776"/>
                  </a:lnTo>
                  <a:lnTo>
                    <a:pt x="3300" y="764"/>
                  </a:lnTo>
                  <a:lnTo>
                    <a:pt x="3304" y="751"/>
                  </a:lnTo>
                  <a:lnTo>
                    <a:pt x="3308" y="739"/>
                  </a:lnTo>
                  <a:lnTo>
                    <a:pt x="3312" y="727"/>
                  </a:lnTo>
                  <a:lnTo>
                    <a:pt x="3317" y="716"/>
                  </a:lnTo>
                  <a:lnTo>
                    <a:pt x="3322" y="705"/>
                  </a:lnTo>
                  <a:lnTo>
                    <a:pt x="3327" y="694"/>
                  </a:lnTo>
                  <a:lnTo>
                    <a:pt x="3333" y="684"/>
                  </a:lnTo>
                  <a:lnTo>
                    <a:pt x="3339" y="674"/>
                  </a:lnTo>
                  <a:lnTo>
                    <a:pt x="3346" y="664"/>
                  </a:lnTo>
                  <a:lnTo>
                    <a:pt x="3352" y="655"/>
                  </a:lnTo>
                  <a:lnTo>
                    <a:pt x="3360" y="646"/>
                  </a:lnTo>
                  <a:lnTo>
                    <a:pt x="3367" y="638"/>
                  </a:lnTo>
                  <a:lnTo>
                    <a:pt x="3375" y="630"/>
                  </a:lnTo>
                  <a:lnTo>
                    <a:pt x="3383" y="622"/>
                  </a:lnTo>
                  <a:lnTo>
                    <a:pt x="3392" y="615"/>
                  </a:lnTo>
                  <a:lnTo>
                    <a:pt x="3396" y="611"/>
                  </a:lnTo>
                  <a:lnTo>
                    <a:pt x="3401" y="608"/>
                  </a:lnTo>
                  <a:lnTo>
                    <a:pt x="3410" y="601"/>
                  </a:lnTo>
                  <a:lnTo>
                    <a:pt x="3419" y="595"/>
                  </a:lnTo>
                  <a:lnTo>
                    <a:pt x="3429" y="590"/>
                  </a:lnTo>
                  <a:lnTo>
                    <a:pt x="3439" y="585"/>
                  </a:lnTo>
                  <a:lnTo>
                    <a:pt x="3450" y="580"/>
                  </a:lnTo>
                  <a:lnTo>
                    <a:pt x="3461" y="576"/>
                  </a:lnTo>
                  <a:lnTo>
                    <a:pt x="3472" y="572"/>
                  </a:lnTo>
                  <a:lnTo>
                    <a:pt x="3483" y="568"/>
                  </a:lnTo>
                  <a:lnTo>
                    <a:pt x="3495" y="565"/>
                  </a:lnTo>
                  <a:lnTo>
                    <a:pt x="3507" y="563"/>
                  </a:lnTo>
                  <a:lnTo>
                    <a:pt x="3519" y="561"/>
                  </a:lnTo>
                  <a:lnTo>
                    <a:pt x="3531" y="559"/>
                  </a:lnTo>
                  <a:lnTo>
                    <a:pt x="3544" y="558"/>
                  </a:lnTo>
                  <a:lnTo>
                    <a:pt x="3557" y="557"/>
                  </a:lnTo>
                  <a:lnTo>
                    <a:pt x="3571" y="557"/>
                  </a:lnTo>
                  <a:lnTo>
                    <a:pt x="3589" y="557"/>
                  </a:lnTo>
                  <a:lnTo>
                    <a:pt x="3599" y="558"/>
                  </a:lnTo>
                  <a:lnTo>
                    <a:pt x="3609" y="559"/>
                  </a:lnTo>
                  <a:lnTo>
                    <a:pt x="3629" y="562"/>
                  </a:lnTo>
                  <a:lnTo>
                    <a:pt x="3652" y="566"/>
                  </a:lnTo>
                  <a:lnTo>
                    <a:pt x="3652" y="820"/>
                  </a:lnTo>
                  <a:close/>
                  <a:moveTo>
                    <a:pt x="4253" y="1478"/>
                  </a:moveTo>
                  <a:lnTo>
                    <a:pt x="4253" y="1275"/>
                  </a:lnTo>
                  <a:lnTo>
                    <a:pt x="4238" y="1278"/>
                  </a:lnTo>
                  <a:lnTo>
                    <a:pt x="4224" y="1281"/>
                  </a:lnTo>
                  <a:lnTo>
                    <a:pt x="4211" y="1283"/>
                  </a:lnTo>
                  <a:lnTo>
                    <a:pt x="4199" y="1284"/>
                  </a:lnTo>
                  <a:lnTo>
                    <a:pt x="4174" y="1286"/>
                  </a:lnTo>
                  <a:lnTo>
                    <a:pt x="4147" y="1286"/>
                  </a:lnTo>
                  <a:lnTo>
                    <a:pt x="4125" y="1286"/>
                  </a:lnTo>
                  <a:lnTo>
                    <a:pt x="4116" y="1285"/>
                  </a:lnTo>
                  <a:lnTo>
                    <a:pt x="4106" y="1284"/>
                  </a:lnTo>
                  <a:lnTo>
                    <a:pt x="4089" y="1281"/>
                  </a:lnTo>
                  <a:lnTo>
                    <a:pt x="4081" y="1280"/>
                  </a:lnTo>
                  <a:lnTo>
                    <a:pt x="4074" y="1278"/>
                  </a:lnTo>
                  <a:lnTo>
                    <a:pt x="4066" y="1275"/>
                  </a:lnTo>
                  <a:lnTo>
                    <a:pt x="4060" y="1272"/>
                  </a:lnTo>
                  <a:lnTo>
                    <a:pt x="4053" y="1269"/>
                  </a:lnTo>
                  <a:lnTo>
                    <a:pt x="4047" y="1266"/>
                  </a:lnTo>
                  <a:lnTo>
                    <a:pt x="4042" y="1262"/>
                  </a:lnTo>
                  <a:lnTo>
                    <a:pt x="4036" y="1258"/>
                  </a:lnTo>
                  <a:lnTo>
                    <a:pt x="4031" y="1253"/>
                  </a:lnTo>
                  <a:lnTo>
                    <a:pt x="4027" y="1248"/>
                  </a:lnTo>
                  <a:lnTo>
                    <a:pt x="4022" y="1243"/>
                  </a:lnTo>
                  <a:lnTo>
                    <a:pt x="4019" y="1238"/>
                  </a:lnTo>
                  <a:lnTo>
                    <a:pt x="4012" y="1225"/>
                  </a:lnTo>
                  <a:lnTo>
                    <a:pt x="4009" y="1218"/>
                  </a:lnTo>
                  <a:lnTo>
                    <a:pt x="4006" y="1211"/>
                  </a:lnTo>
                  <a:lnTo>
                    <a:pt x="4004" y="1203"/>
                  </a:lnTo>
                  <a:lnTo>
                    <a:pt x="4001" y="1195"/>
                  </a:lnTo>
                  <a:lnTo>
                    <a:pt x="3998" y="1178"/>
                  </a:lnTo>
                  <a:lnTo>
                    <a:pt x="3997" y="1168"/>
                  </a:lnTo>
                  <a:lnTo>
                    <a:pt x="3996" y="1158"/>
                  </a:lnTo>
                  <a:lnTo>
                    <a:pt x="3994" y="1137"/>
                  </a:lnTo>
                  <a:lnTo>
                    <a:pt x="3994" y="1114"/>
                  </a:lnTo>
                  <a:lnTo>
                    <a:pt x="3994" y="775"/>
                  </a:lnTo>
                  <a:lnTo>
                    <a:pt x="4242" y="775"/>
                  </a:lnTo>
                  <a:lnTo>
                    <a:pt x="4242" y="574"/>
                  </a:lnTo>
                  <a:lnTo>
                    <a:pt x="3994" y="574"/>
                  </a:lnTo>
                  <a:lnTo>
                    <a:pt x="3994" y="280"/>
                  </a:lnTo>
                  <a:lnTo>
                    <a:pt x="3736" y="426"/>
                  </a:lnTo>
                  <a:lnTo>
                    <a:pt x="3736" y="1160"/>
                  </a:lnTo>
                  <a:lnTo>
                    <a:pt x="3736" y="1182"/>
                  </a:lnTo>
                  <a:lnTo>
                    <a:pt x="3737" y="1202"/>
                  </a:lnTo>
                  <a:lnTo>
                    <a:pt x="3739" y="1222"/>
                  </a:lnTo>
                  <a:lnTo>
                    <a:pt x="3741" y="1241"/>
                  </a:lnTo>
                  <a:lnTo>
                    <a:pt x="3742" y="1251"/>
                  </a:lnTo>
                  <a:lnTo>
                    <a:pt x="3744" y="1260"/>
                  </a:lnTo>
                  <a:lnTo>
                    <a:pt x="3747" y="1278"/>
                  </a:lnTo>
                  <a:lnTo>
                    <a:pt x="3751" y="1295"/>
                  </a:lnTo>
                  <a:lnTo>
                    <a:pt x="3756" y="1311"/>
                  </a:lnTo>
                  <a:lnTo>
                    <a:pt x="3762" y="1326"/>
                  </a:lnTo>
                  <a:lnTo>
                    <a:pt x="3768" y="1341"/>
                  </a:lnTo>
                  <a:lnTo>
                    <a:pt x="3775" y="1355"/>
                  </a:lnTo>
                  <a:lnTo>
                    <a:pt x="3782" y="1369"/>
                  </a:lnTo>
                  <a:lnTo>
                    <a:pt x="3790" y="1381"/>
                  </a:lnTo>
                  <a:lnTo>
                    <a:pt x="3799" y="1393"/>
                  </a:lnTo>
                  <a:lnTo>
                    <a:pt x="3804" y="1399"/>
                  </a:lnTo>
                  <a:lnTo>
                    <a:pt x="3809" y="1405"/>
                  </a:lnTo>
                  <a:lnTo>
                    <a:pt x="3814" y="1410"/>
                  </a:lnTo>
                  <a:lnTo>
                    <a:pt x="3819" y="1415"/>
                  </a:lnTo>
                  <a:lnTo>
                    <a:pt x="3830" y="1425"/>
                  </a:lnTo>
                  <a:lnTo>
                    <a:pt x="3842" y="1434"/>
                  </a:lnTo>
                  <a:lnTo>
                    <a:pt x="3854" y="1443"/>
                  </a:lnTo>
                  <a:lnTo>
                    <a:pt x="3867" y="1451"/>
                  </a:lnTo>
                  <a:lnTo>
                    <a:pt x="3881" y="1458"/>
                  </a:lnTo>
                  <a:lnTo>
                    <a:pt x="3896" y="1465"/>
                  </a:lnTo>
                  <a:lnTo>
                    <a:pt x="3911" y="1470"/>
                  </a:lnTo>
                  <a:lnTo>
                    <a:pt x="3919" y="1473"/>
                  </a:lnTo>
                  <a:lnTo>
                    <a:pt x="3927" y="1476"/>
                  </a:lnTo>
                  <a:lnTo>
                    <a:pt x="3944" y="1480"/>
                  </a:lnTo>
                  <a:lnTo>
                    <a:pt x="3961" y="1484"/>
                  </a:lnTo>
                  <a:lnTo>
                    <a:pt x="3979" y="1488"/>
                  </a:lnTo>
                  <a:lnTo>
                    <a:pt x="3998" y="1491"/>
                  </a:lnTo>
                  <a:lnTo>
                    <a:pt x="4018" y="1493"/>
                  </a:lnTo>
                  <a:lnTo>
                    <a:pt x="4038" y="1494"/>
                  </a:lnTo>
                  <a:lnTo>
                    <a:pt x="4060" y="1495"/>
                  </a:lnTo>
                  <a:lnTo>
                    <a:pt x="4082" y="1495"/>
                  </a:lnTo>
                  <a:lnTo>
                    <a:pt x="4104" y="1495"/>
                  </a:lnTo>
                  <a:lnTo>
                    <a:pt x="4125" y="1495"/>
                  </a:lnTo>
                  <a:lnTo>
                    <a:pt x="4146" y="1493"/>
                  </a:lnTo>
                  <a:lnTo>
                    <a:pt x="4167" y="1492"/>
                  </a:lnTo>
                  <a:lnTo>
                    <a:pt x="4187" y="1490"/>
                  </a:lnTo>
                  <a:lnTo>
                    <a:pt x="4208" y="1487"/>
                  </a:lnTo>
                  <a:lnTo>
                    <a:pt x="4230" y="1483"/>
                  </a:lnTo>
                  <a:lnTo>
                    <a:pt x="4253" y="1478"/>
                  </a:lnTo>
                  <a:close/>
                  <a:moveTo>
                    <a:pt x="2979" y="1024"/>
                  </a:moveTo>
                  <a:lnTo>
                    <a:pt x="2978" y="1050"/>
                  </a:lnTo>
                  <a:lnTo>
                    <a:pt x="2976" y="1075"/>
                  </a:lnTo>
                  <a:lnTo>
                    <a:pt x="2974" y="1100"/>
                  </a:lnTo>
                  <a:lnTo>
                    <a:pt x="2970" y="1125"/>
                  </a:lnTo>
                  <a:lnTo>
                    <a:pt x="2966" y="1149"/>
                  </a:lnTo>
                  <a:lnTo>
                    <a:pt x="2960" y="1172"/>
                  </a:lnTo>
                  <a:lnTo>
                    <a:pt x="2954" y="1195"/>
                  </a:lnTo>
                  <a:lnTo>
                    <a:pt x="2950" y="1206"/>
                  </a:lnTo>
                  <a:lnTo>
                    <a:pt x="2946" y="1217"/>
                  </a:lnTo>
                  <a:lnTo>
                    <a:pt x="2938" y="1238"/>
                  </a:lnTo>
                  <a:lnTo>
                    <a:pt x="2928" y="1259"/>
                  </a:lnTo>
                  <a:lnTo>
                    <a:pt x="2918" y="1279"/>
                  </a:lnTo>
                  <a:lnTo>
                    <a:pt x="2907" y="1299"/>
                  </a:lnTo>
                  <a:lnTo>
                    <a:pt x="2896" y="1317"/>
                  </a:lnTo>
                  <a:lnTo>
                    <a:pt x="2883" y="1335"/>
                  </a:lnTo>
                  <a:lnTo>
                    <a:pt x="2876" y="1344"/>
                  </a:lnTo>
                  <a:lnTo>
                    <a:pt x="2870" y="1352"/>
                  </a:lnTo>
                  <a:lnTo>
                    <a:pt x="2863" y="1360"/>
                  </a:lnTo>
                  <a:lnTo>
                    <a:pt x="2855" y="1368"/>
                  </a:lnTo>
                  <a:lnTo>
                    <a:pt x="2848" y="1376"/>
                  </a:lnTo>
                  <a:lnTo>
                    <a:pt x="2840" y="1384"/>
                  </a:lnTo>
                  <a:lnTo>
                    <a:pt x="2833" y="1391"/>
                  </a:lnTo>
                  <a:lnTo>
                    <a:pt x="2825" y="1399"/>
                  </a:lnTo>
                  <a:lnTo>
                    <a:pt x="2817" y="1406"/>
                  </a:lnTo>
                  <a:lnTo>
                    <a:pt x="2808" y="1412"/>
                  </a:lnTo>
                  <a:lnTo>
                    <a:pt x="2791" y="1425"/>
                  </a:lnTo>
                  <a:lnTo>
                    <a:pt x="2783" y="1431"/>
                  </a:lnTo>
                  <a:lnTo>
                    <a:pt x="2774" y="1437"/>
                  </a:lnTo>
                  <a:lnTo>
                    <a:pt x="2755" y="1448"/>
                  </a:lnTo>
                  <a:lnTo>
                    <a:pt x="2746" y="1453"/>
                  </a:lnTo>
                  <a:lnTo>
                    <a:pt x="2736" y="1458"/>
                  </a:lnTo>
                  <a:lnTo>
                    <a:pt x="2716" y="1467"/>
                  </a:lnTo>
                  <a:lnTo>
                    <a:pt x="2696" y="1476"/>
                  </a:lnTo>
                  <a:lnTo>
                    <a:pt x="2686" y="1479"/>
                  </a:lnTo>
                  <a:lnTo>
                    <a:pt x="2675" y="1483"/>
                  </a:lnTo>
                  <a:lnTo>
                    <a:pt x="2665" y="1486"/>
                  </a:lnTo>
                  <a:lnTo>
                    <a:pt x="2654" y="1489"/>
                  </a:lnTo>
                  <a:lnTo>
                    <a:pt x="2632" y="1494"/>
                  </a:lnTo>
                  <a:lnTo>
                    <a:pt x="2609" y="1498"/>
                  </a:lnTo>
                  <a:lnTo>
                    <a:pt x="2598" y="1499"/>
                  </a:lnTo>
                  <a:lnTo>
                    <a:pt x="2586" y="1501"/>
                  </a:lnTo>
                  <a:lnTo>
                    <a:pt x="2563" y="1502"/>
                  </a:lnTo>
                  <a:lnTo>
                    <a:pt x="2551" y="1503"/>
                  </a:lnTo>
                  <a:lnTo>
                    <a:pt x="2539" y="1503"/>
                  </a:lnTo>
                  <a:lnTo>
                    <a:pt x="2513" y="1502"/>
                  </a:lnTo>
                  <a:lnTo>
                    <a:pt x="2501" y="1502"/>
                  </a:lnTo>
                  <a:lnTo>
                    <a:pt x="2488" y="1501"/>
                  </a:lnTo>
                  <a:lnTo>
                    <a:pt x="2475" y="1500"/>
                  </a:lnTo>
                  <a:lnTo>
                    <a:pt x="2462" y="1498"/>
                  </a:lnTo>
                  <a:lnTo>
                    <a:pt x="2439" y="1494"/>
                  </a:lnTo>
                  <a:lnTo>
                    <a:pt x="2415" y="1489"/>
                  </a:lnTo>
                  <a:lnTo>
                    <a:pt x="2393" y="1484"/>
                  </a:lnTo>
                  <a:lnTo>
                    <a:pt x="2382" y="1480"/>
                  </a:lnTo>
                  <a:lnTo>
                    <a:pt x="2371" y="1477"/>
                  </a:lnTo>
                  <a:lnTo>
                    <a:pt x="2350" y="1469"/>
                  </a:lnTo>
                  <a:lnTo>
                    <a:pt x="2329" y="1460"/>
                  </a:lnTo>
                  <a:lnTo>
                    <a:pt x="2319" y="1455"/>
                  </a:lnTo>
                  <a:lnTo>
                    <a:pt x="2309" y="1450"/>
                  </a:lnTo>
                  <a:lnTo>
                    <a:pt x="2290" y="1440"/>
                  </a:lnTo>
                  <a:lnTo>
                    <a:pt x="2272" y="1428"/>
                  </a:lnTo>
                  <a:lnTo>
                    <a:pt x="2254" y="1415"/>
                  </a:lnTo>
                  <a:lnTo>
                    <a:pt x="2246" y="1409"/>
                  </a:lnTo>
                  <a:lnTo>
                    <a:pt x="2237" y="1402"/>
                  </a:lnTo>
                  <a:lnTo>
                    <a:pt x="2221" y="1388"/>
                  </a:lnTo>
                  <a:lnTo>
                    <a:pt x="2206" y="1372"/>
                  </a:lnTo>
                  <a:lnTo>
                    <a:pt x="2199" y="1364"/>
                  </a:lnTo>
                  <a:lnTo>
                    <a:pt x="2192" y="1356"/>
                  </a:lnTo>
                  <a:lnTo>
                    <a:pt x="2185" y="1348"/>
                  </a:lnTo>
                  <a:lnTo>
                    <a:pt x="2178" y="1339"/>
                  </a:lnTo>
                  <a:lnTo>
                    <a:pt x="2172" y="1330"/>
                  </a:lnTo>
                  <a:lnTo>
                    <a:pt x="2166" y="1321"/>
                  </a:lnTo>
                  <a:lnTo>
                    <a:pt x="2154" y="1303"/>
                  </a:lnTo>
                  <a:lnTo>
                    <a:pt x="2143" y="1283"/>
                  </a:lnTo>
                  <a:lnTo>
                    <a:pt x="2138" y="1273"/>
                  </a:lnTo>
                  <a:lnTo>
                    <a:pt x="2133" y="1263"/>
                  </a:lnTo>
                  <a:lnTo>
                    <a:pt x="2124" y="1242"/>
                  </a:lnTo>
                  <a:lnTo>
                    <a:pt x="2115" y="1220"/>
                  </a:lnTo>
                  <a:lnTo>
                    <a:pt x="2108" y="1197"/>
                  </a:lnTo>
                  <a:lnTo>
                    <a:pt x="2101" y="1174"/>
                  </a:lnTo>
                  <a:lnTo>
                    <a:pt x="2096" y="1150"/>
                  </a:lnTo>
                  <a:lnTo>
                    <a:pt x="2094" y="1138"/>
                  </a:lnTo>
                  <a:lnTo>
                    <a:pt x="2092" y="1125"/>
                  </a:lnTo>
                  <a:lnTo>
                    <a:pt x="2088" y="1100"/>
                  </a:lnTo>
                  <a:lnTo>
                    <a:pt x="2085" y="1074"/>
                  </a:lnTo>
                  <a:lnTo>
                    <a:pt x="2085" y="1061"/>
                  </a:lnTo>
                  <a:lnTo>
                    <a:pt x="2084" y="1047"/>
                  </a:lnTo>
                  <a:lnTo>
                    <a:pt x="2083" y="1020"/>
                  </a:lnTo>
                  <a:lnTo>
                    <a:pt x="2084" y="995"/>
                  </a:lnTo>
                  <a:lnTo>
                    <a:pt x="2085" y="983"/>
                  </a:lnTo>
                  <a:lnTo>
                    <a:pt x="2085" y="970"/>
                  </a:lnTo>
                  <a:lnTo>
                    <a:pt x="2088" y="946"/>
                  </a:lnTo>
                  <a:lnTo>
                    <a:pt x="2092" y="922"/>
                  </a:lnTo>
                  <a:lnTo>
                    <a:pt x="2096" y="899"/>
                  </a:lnTo>
                  <a:lnTo>
                    <a:pt x="2102" y="876"/>
                  </a:lnTo>
                  <a:lnTo>
                    <a:pt x="2108" y="854"/>
                  </a:lnTo>
                  <a:lnTo>
                    <a:pt x="2116" y="832"/>
                  </a:lnTo>
                  <a:lnTo>
                    <a:pt x="2124" y="811"/>
                  </a:lnTo>
                  <a:lnTo>
                    <a:pt x="2133" y="791"/>
                  </a:lnTo>
                  <a:lnTo>
                    <a:pt x="2138" y="781"/>
                  </a:lnTo>
                  <a:lnTo>
                    <a:pt x="2144" y="770"/>
                  </a:lnTo>
                  <a:lnTo>
                    <a:pt x="2155" y="751"/>
                  </a:lnTo>
                  <a:lnTo>
                    <a:pt x="2160" y="742"/>
                  </a:lnTo>
                  <a:lnTo>
                    <a:pt x="2166" y="732"/>
                  </a:lnTo>
                  <a:lnTo>
                    <a:pt x="2173" y="723"/>
                  </a:lnTo>
                  <a:lnTo>
                    <a:pt x="2179" y="715"/>
                  </a:lnTo>
                  <a:lnTo>
                    <a:pt x="2193" y="698"/>
                  </a:lnTo>
                  <a:lnTo>
                    <a:pt x="2207" y="681"/>
                  </a:lnTo>
                  <a:lnTo>
                    <a:pt x="2222" y="666"/>
                  </a:lnTo>
                  <a:lnTo>
                    <a:pt x="2238" y="651"/>
                  </a:lnTo>
                  <a:lnTo>
                    <a:pt x="2255" y="637"/>
                  </a:lnTo>
                  <a:lnTo>
                    <a:pt x="2272" y="624"/>
                  </a:lnTo>
                  <a:lnTo>
                    <a:pt x="2290" y="612"/>
                  </a:lnTo>
                  <a:lnTo>
                    <a:pt x="2309" y="601"/>
                  </a:lnTo>
                  <a:lnTo>
                    <a:pt x="2329" y="591"/>
                  </a:lnTo>
                  <a:lnTo>
                    <a:pt x="2349" y="582"/>
                  </a:lnTo>
                  <a:lnTo>
                    <a:pt x="2359" y="577"/>
                  </a:lnTo>
                  <a:lnTo>
                    <a:pt x="2370" y="573"/>
                  </a:lnTo>
                  <a:lnTo>
                    <a:pt x="2391" y="566"/>
                  </a:lnTo>
                  <a:lnTo>
                    <a:pt x="2413" y="560"/>
                  </a:lnTo>
                  <a:lnTo>
                    <a:pt x="2436" y="555"/>
                  </a:lnTo>
                  <a:lnTo>
                    <a:pt x="2447" y="553"/>
                  </a:lnTo>
                  <a:lnTo>
                    <a:pt x="2459" y="551"/>
                  </a:lnTo>
                  <a:lnTo>
                    <a:pt x="2471" y="549"/>
                  </a:lnTo>
                  <a:lnTo>
                    <a:pt x="2483" y="548"/>
                  </a:lnTo>
                  <a:lnTo>
                    <a:pt x="2508" y="546"/>
                  </a:lnTo>
                  <a:lnTo>
                    <a:pt x="2521" y="546"/>
                  </a:lnTo>
                  <a:lnTo>
                    <a:pt x="2533" y="545"/>
                  </a:lnTo>
                  <a:lnTo>
                    <a:pt x="2559" y="546"/>
                  </a:lnTo>
                  <a:lnTo>
                    <a:pt x="2585" y="548"/>
                  </a:lnTo>
                  <a:lnTo>
                    <a:pt x="2610" y="551"/>
                  </a:lnTo>
                  <a:lnTo>
                    <a:pt x="2634" y="554"/>
                  </a:lnTo>
                  <a:lnTo>
                    <a:pt x="2657" y="559"/>
                  </a:lnTo>
                  <a:lnTo>
                    <a:pt x="2679" y="566"/>
                  </a:lnTo>
                  <a:lnTo>
                    <a:pt x="2701" y="573"/>
                  </a:lnTo>
                  <a:lnTo>
                    <a:pt x="2722" y="581"/>
                  </a:lnTo>
                  <a:lnTo>
                    <a:pt x="2742" y="590"/>
                  </a:lnTo>
                  <a:lnTo>
                    <a:pt x="2762" y="600"/>
                  </a:lnTo>
                  <a:lnTo>
                    <a:pt x="2780" y="611"/>
                  </a:lnTo>
                  <a:lnTo>
                    <a:pt x="2798" y="623"/>
                  </a:lnTo>
                  <a:lnTo>
                    <a:pt x="2815" y="636"/>
                  </a:lnTo>
                  <a:lnTo>
                    <a:pt x="2832" y="650"/>
                  </a:lnTo>
                  <a:lnTo>
                    <a:pt x="2847" y="664"/>
                  </a:lnTo>
                  <a:lnTo>
                    <a:pt x="2862" y="680"/>
                  </a:lnTo>
                  <a:lnTo>
                    <a:pt x="2876" y="696"/>
                  </a:lnTo>
                  <a:lnTo>
                    <a:pt x="2889" y="713"/>
                  </a:lnTo>
                  <a:lnTo>
                    <a:pt x="2901" y="731"/>
                  </a:lnTo>
                  <a:lnTo>
                    <a:pt x="2907" y="740"/>
                  </a:lnTo>
                  <a:lnTo>
                    <a:pt x="2912" y="749"/>
                  </a:lnTo>
                  <a:lnTo>
                    <a:pt x="2917" y="759"/>
                  </a:lnTo>
                  <a:lnTo>
                    <a:pt x="2923" y="769"/>
                  </a:lnTo>
                  <a:lnTo>
                    <a:pt x="2932" y="790"/>
                  </a:lnTo>
                  <a:lnTo>
                    <a:pt x="2941" y="810"/>
                  </a:lnTo>
                  <a:lnTo>
                    <a:pt x="2949" y="832"/>
                  </a:lnTo>
                  <a:lnTo>
                    <a:pt x="2956" y="854"/>
                  </a:lnTo>
                  <a:lnTo>
                    <a:pt x="2962" y="876"/>
                  </a:lnTo>
                  <a:lnTo>
                    <a:pt x="2967" y="899"/>
                  </a:lnTo>
                  <a:lnTo>
                    <a:pt x="2971" y="923"/>
                  </a:lnTo>
                  <a:lnTo>
                    <a:pt x="2974" y="948"/>
                  </a:lnTo>
                  <a:lnTo>
                    <a:pt x="2977" y="972"/>
                  </a:lnTo>
                  <a:lnTo>
                    <a:pt x="2978" y="998"/>
                  </a:lnTo>
                  <a:lnTo>
                    <a:pt x="2979" y="1024"/>
                  </a:lnTo>
                  <a:close/>
                  <a:moveTo>
                    <a:pt x="2718" y="1022"/>
                  </a:moveTo>
                  <a:lnTo>
                    <a:pt x="2718" y="1007"/>
                  </a:lnTo>
                  <a:lnTo>
                    <a:pt x="2717" y="992"/>
                  </a:lnTo>
                  <a:lnTo>
                    <a:pt x="2716" y="978"/>
                  </a:lnTo>
                  <a:lnTo>
                    <a:pt x="2715" y="964"/>
                  </a:lnTo>
                  <a:lnTo>
                    <a:pt x="2713" y="951"/>
                  </a:lnTo>
                  <a:lnTo>
                    <a:pt x="2711" y="938"/>
                  </a:lnTo>
                  <a:lnTo>
                    <a:pt x="2709" y="926"/>
                  </a:lnTo>
                  <a:lnTo>
                    <a:pt x="2706" y="913"/>
                  </a:lnTo>
                  <a:lnTo>
                    <a:pt x="2702" y="902"/>
                  </a:lnTo>
                  <a:lnTo>
                    <a:pt x="2699" y="890"/>
                  </a:lnTo>
                  <a:lnTo>
                    <a:pt x="2695" y="880"/>
                  </a:lnTo>
                  <a:lnTo>
                    <a:pt x="2690" y="869"/>
                  </a:lnTo>
                  <a:lnTo>
                    <a:pt x="2685" y="859"/>
                  </a:lnTo>
                  <a:lnTo>
                    <a:pt x="2680" y="850"/>
                  </a:lnTo>
                  <a:lnTo>
                    <a:pt x="2675" y="841"/>
                  </a:lnTo>
                  <a:lnTo>
                    <a:pt x="2669" y="832"/>
                  </a:lnTo>
                  <a:lnTo>
                    <a:pt x="2663" y="824"/>
                  </a:lnTo>
                  <a:lnTo>
                    <a:pt x="2657" y="816"/>
                  </a:lnTo>
                  <a:lnTo>
                    <a:pt x="2650" y="809"/>
                  </a:lnTo>
                  <a:lnTo>
                    <a:pt x="2643" y="802"/>
                  </a:lnTo>
                  <a:lnTo>
                    <a:pt x="2635" y="796"/>
                  </a:lnTo>
                  <a:lnTo>
                    <a:pt x="2627" y="791"/>
                  </a:lnTo>
                  <a:lnTo>
                    <a:pt x="2619" y="785"/>
                  </a:lnTo>
                  <a:lnTo>
                    <a:pt x="2611" y="781"/>
                  </a:lnTo>
                  <a:lnTo>
                    <a:pt x="2602" y="776"/>
                  </a:lnTo>
                  <a:lnTo>
                    <a:pt x="2593" y="772"/>
                  </a:lnTo>
                  <a:lnTo>
                    <a:pt x="2584" y="769"/>
                  </a:lnTo>
                  <a:lnTo>
                    <a:pt x="2574" y="767"/>
                  </a:lnTo>
                  <a:lnTo>
                    <a:pt x="2565" y="765"/>
                  </a:lnTo>
                  <a:lnTo>
                    <a:pt x="2554" y="763"/>
                  </a:lnTo>
                  <a:lnTo>
                    <a:pt x="2544" y="762"/>
                  </a:lnTo>
                  <a:lnTo>
                    <a:pt x="2533" y="762"/>
                  </a:lnTo>
                  <a:lnTo>
                    <a:pt x="2523" y="762"/>
                  </a:lnTo>
                  <a:lnTo>
                    <a:pt x="2512" y="763"/>
                  </a:lnTo>
                  <a:lnTo>
                    <a:pt x="2502" y="765"/>
                  </a:lnTo>
                  <a:lnTo>
                    <a:pt x="2492" y="767"/>
                  </a:lnTo>
                  <a:lnTo>
                    <a:pt x="2481" y="769"/>
                  </a:lnTo>
                  <a:lnTo>
                    <a:pt x="2472" y="772"/>
                  </a:lnTo>
                  <a:lnTo>
                    <a:pt x="2463" y="776"/>
                  </a:lnTo>
                  <a:lnTo>
                    <a:pt x="2454" y="781"/>
                  </a:lnTo>
                  <a:lnTo>
                    <a:pt x="2446" y="786"/>
                  </a:lnTo>
                  <a:lnTo>
                    <a:pt x="2437" y="791"/>
                  </a:lnTo>
                  <a:lnTo>
                    <a:pt x="2429" y="797"/>
                  </a:lnTo>
                  <a:lnTo>
                    <a:pt x="2422" y="803"/>
                  </a:lnTo>
                  <a:lnTo>
                    <a:pt x="2415" y="810"/>
                  </a:lnTo>
                  <a:lnTo>
                    <a:pt x="2408" y="817"/>
                  </a:lnTo>
                  <a:lnTo>
                    <a:pt x="2401" y="825"/>
                  </a:lnTo>
                  <a:lnTo>
                    <a:pt x="2395" y="833"/>
                  </a:lnTo>
                  <a:lnTo>
                    <a:pt x="2389" y="842"/>
                  </a:lnTo>
                  <a:lnTo>
                    <a:pt x="2383" y="851"/>
                  </a:lnTo>
                  <a:lnTo>
                    <a:pt x="2378" y="860"/>
                  </a:lnTo>
                  <a:lnTo>
                    <a:pt x="2373" y="870"/>
                  </a:lnTo>
                  <a:lnTo>
                    <a:pt x="2368" y="881"/>
                  </a:lnTo>
                  <a:lnTo>
                    <a:pt x="2364" y="891"/>
                  </a:lnTo>
                  <a:lnTo>
                    <a:pt x="2360" y="903"/>
                  </a:lnTo>
                  <a:lnTo>
                    <a:pt x="2357" y="914"/>
                  </a:lnTo>
                  <a:lnTo>
                    <a:pt x="2354" y="926"/>
                  </a:lnTo>
                  <a:lnTo>
                    <a:pt x="2351" y="939"/>
                  </a:lnTo>
                  <a:lnTo>
                    <a:pt x="2349" y="951"/>
                  </a:lnTo>
                  <a:lnTo>
                    <a:pt x="2347" y="964"/>
                  </a:lnTo>
                  <a:lnTo>
                    <a:pt x="2346" y="978"/>
                  </a:lnTo>
                  <a:lnTo>
                    <a:pt x="2344" y="991"/>
                  </a:lnTo>
                  <a:lnTo>
                    <a:pt x="2344" y="1005"/>
                  </a:lnTo>
                  <a:lnTo>
                    <a:pt x="2344" y="1020"/>
                  </a:lnTo>
                  <a:lnTo>
                    <a:pt x="2344" y="1034"/>
                  </a:lnTo>
                  <a:lnTo>
                    <a:pt x="2344" y="1049"/>
                  </a:lnTo>
                  <a:lnTo>
                    <a:pt x="2346" y="1063"/>
                  </a:lnTo>
                  <a:lnTo>
                    <a:pt x="2347" y="1076"/>
                  </a:lnTo>
                  <a:lnTo>
                    <a:pt x="2349" y="1090"/>
                  </a:lnTo>
                  <a:lnTo>
                    <a:pt x="2351" y="1103"/>
                  </a:lnTo>
                  <a:lnTo>
                    <a:pt x="2357" y="1127"/>
                  </a:lnTo>
                  <a:lnTo>
                    <a:pt x="2361" y="1139"/>
                  </a:lnTo>
                  <a:lnTo>
                    <a:pt x="2365" y="1150"/>
                  </a:lnTo>
                  <a:lnTo>
                    <a:pt x="2369" y="1162"/>
                  </a:lnTo>
                  <a:lnTo>
                    <a:pt x="2374" y="1172"/>
                  </a:lnTo>
                  <a:lnTo>
                    <a:pt x="2379" y="1182"/>
                  </a:lnTo>
                  <a:lnTo>
                    <a:pt x="2384" y="1192"/>
                  </a:lnTo>
                  <a:lnTo>
                    <a:pt x="2396" y="1210"/>
                  </a:lnTo>
                  <a:lnTo>
                    <a:pt x="2402" y="1219"/>
                  </a:lnTo>
                  <a:lnTo>
                    <a:pt x="2409" y="1227"/>
                  </a:lnTo>
                  <a:lnTo>
                    <a:pt x="2416" y="1234"/>
                  </a:lnTo>
                  <a:lnTo>
                    <a:pt x="2424" y="1241"/>
                  </a:lnTo>
                  <a:lnTo>
                    <a:pt x="2431" y="1247"/>
                  </a:lnTo>
                  <a:lnTo>
                    <a:pt x="2439" y="1253"/>
                  </a:lnTo>
                  <a:lnTo>
                    <a:pt x="2448" y="1259"/>
                  </a:lnTo>
                  <a:lnTo>
                    <a:pt x="2457" y="1264"/>
                  </a:lnTo>
                  <a:lnTo>
                    <a:pt x="2465" y="1268"/>
                  </a:lnTo>
                  <a:lnTo>
                    <a:pt x="2475" y="1272"/>
                  </a:lnTo>
                  <a:lnTo>
                    <a:pt x="2484" y="1275"/>
                  </a:lnTo>
                  <a:lnTo>
                    <a:pt x="2495" y="1278"/>
                  </a:lnTo>
                  <a:lnTo>
                    <a:pt x="2505" y="1280"/>
                  </a:lnTo>
                  <a:lnTo>
                    <a:pt x="2516" y="1281"/>
                  </a:lnTo>
                  <a:lnTo>
                    <a:pt x="2526" y="1282"/>
                  </a:lnTo>
                  <a:lnTo>
                    <a:pt x="2537" y="1283"/>
                  </a:lnTo>
                  <a:lnTo>
                    <a:pt x="2548" y="1282"/>
                  </a:lnTo>
                  <a:lnTo>
                    <a:pt x="2558" y="1281"/>
                  </a:lnTo>
                  <a:lnTo>
                    <a:pt x="2568" y="1280"/>
                  </a:lnTo>
                  <a:lnTo>
                    <a:pt x="2578" y="1278"/>
                  </a:lnTo>
                  <a:lnTo>
                    <a:pt x="2587" y="1275"/>
                  </a:lnTo>
                  <a:lnTo>
                    <a:pt x="2596" y="1272"/>
                  </a:lnTo>
                  <a:lnTo>
                    <a:pt x="2600" y="1271"/>
                  </a:lnTo>
                  <a:lnTo>
                    <a:pt x="2605" y="1269"/>
                  </a:lnTo>
                  <a:lnTo>
                    <a:pt x="2613" y="1264"/>
                  </a:lnTo>
                  <a:lnTo>
                    <a:pt x="2622" y="1260"/>
                  </a:lnTo>
                  <a:lnTo>
                    <a:pt x="2630" y="1255"/>
                  </a:lnTo>
                  <a:lnTo>
                    <a:pt x="2637" y="1249"/>
                  </a:lnTo>
                  <a:lnTo>
                    <a:pt x="2644" y="1243"/>
                  </a:lnTo>
                  <a:lnTo>
                    <a:pt x="2651" y="1236"/>
                  </a:lnTo>
                  <a:lnTo>
                    <a:pt x="2658" y="1229"/>
                  </a:lnTo>
                  <a:lnTo>
                    <a:pt x="2664" y="1221"/>
                  </a:lnTo>
                  <a:lnTo>
                    <a:pt x="2670" y="1213"/>
                  </a:lnTo>
                  <a:lnTo>
                    <a:pt x="2676" y="1204"/>
                  </a:lnTo>
                  <a:lnTo>
                    <a:pt x="2681" y="1195"/>
                  </a:lnTo>
                  <a:lnTo>
                    <a:pt x="2686" y="1185"/>
                  </a:lnTo>
                  <a:lnTo>
                    <a:pt x="2691" y="1175"/>
                  </a:lnTo>
                  <a:lnTo>
                    <a:pt x="2695" y="1165"/>
                  </a:lnTo>
                  <a:lnTo>
                    <a:pt x="2699" y="1154"/>
                  </a:lnTo>
                  <a:lnTo>
                    <a:pt x="2703" y="1142"/>
                  </a:lnTo>
                  <a:lnTo>
                    <a:pt x="2706" y="1131"/>
                  </a:lnTo>
                  <a:lnTo>
                    <a:pt x="2709" y="1118"/>
                  </a:lnTo>
                  <a:lnTo>
                    <a:pt x="2711" y="1106"/>
                  </a:lnTo>
                  <a:lnTo>
                    <a:pt x="2713" y="1093"/>
                  </a:lnTo>
                  <a:lnTo>
                    <a:pt x="2715" y="1079"/>
                  </a:lnTo>
                  <a:lnTo>
                    <a:pt x="2717" y="1065"/>
                  </a:lnTo>
                  <a:lnTo>
                    <a:pt x="2718" y="1051"/>
                  </a:lnTo>
                  <a:lnTo>
                    <a:pt x="2718" y="1037"/>
                  </a:lnTo>
                  <a:lnTo>
                    <a:pt x="2718" y="1022"/>
                  </a:lnTo>
                  <a:close/>
                  <a:moveTo>
                    <a:pt x="5165" y="1037"/>
                  </a:moveTo>
                  <a:lnTo>
                    <a:pt x="5165" y="570"/>
                  </a:lnTo>
                  <a:lnTo>
                    <a:pt x="4907" y="570"/>
                  </a:lnTo>
                  <a:lnTo>
                    <a:pt x="4907" y="1037"/>
                  </a:lnTo>
                  <a:lnTo>
                    <a:pt x="4906" y="1070"/>
                  </a:lnTo>
                  <a:lnTo>
                    <a:pt x="4905" y="1100"/>
                  </a:lnTo>
                  <a:lnTo>
                    <a:pt x="4904" y="1114"/>
                  </a:lnTo>
                  <a:lnTo>
                    <a:pt x="4903" y="1127"/>
                  </a:lnTo>
                  <a:lnTo>
                    <a:pt x="4900" y="1152"/>
                  </a:lnTo>
                  <a:lnTo>
                    <a:pt x="4895" y="1174"/>
                  </a:lnTo>
                  <a:lnTo>
                    <a:pt x="4890" y="1194"/>
                  </a:lnTo>
                  <a:lnTo>
                    <a:pt x="4887" y="1203"/>
                  </a:lnTo>
                  <a:lnTo>
                    <a:pt x="4883" y="1211"/>
                  </a:lnTo>
                  <a:lnTo>
                    <a:pt x="4879" y="1219"/>
                  </a:lnTo>
                  <a:lnTo>
                    <a:pt x="4875" y="1226"/>
                  </a:lnTo>
                  <a:lnTo>
                    <a:pt x="4866" y="1240"/>
                  </a:lnTo>
                  <a:lnTo>
                    <a:pt x="4860" y="1245"/>
                  </a:lnTo>
                  <a:lnTo>
                    <a:pt x="4855" y="1251"/>
                  </a:lnTo>
                  <a:lnTo>
                    <a:pt x="4849" y="1255"/>
                  </a:lnTo>
                  <a:lnTo>
                    <a:pt x="4843" y="1260"/>
                  </a:lnTo>
                  <a:lnTo>
                    <a:pt x="4836" y="1264"/>
                  </a:lnTo>
                  <a:lnTo>
                    <a:pt x="4829" y="1267"/>
                  </a:lnTo>
                  <a:lnTo>
                    <a:pt x="4821" y="1270"/>
                  </a:lnTo>
                  <a:lnTo>
                    <a:pt x="4813" y="1273"/>
                  </a:lnTo>
                  <a:lnTo>
                    <a:pt x="4805" y="1275"/>
                  </a:lnTo>
                  <a:lnTo>
                    <a:pt x="4796" y="1276"/>
                  </a:lnTo>
                  <a:lnTo>
                    <a:pt x="4787" y="1278"/>
                  </a:lnTo>
                  <a:lnTo>
                    <a:pt x="4777" y="1279"/>
                  </a:lnTo>
                  <a:lnTo>
                    <a:pt x="4767" y="1279"/>
                  </a:lnTo>
                  <a:lnTo>
                    <a:pt x="4757" y="1279"/>
                  </a:lnTo>
                  <a:lnTo>
                    <a:pt x="4746" y="1279"/>
                  </a:lnTo>
                  <a:lnTo>
                    <a:pt x="4735" y="1279"/>
                  </a:lnTo>
                  <a:lnTo>
                    <a:pt x="4725" y="1278"/>
                  </a:lnTo>
                  <a:lnTo>
                    <a:pt x="4715" y="1276"/>
                  </a:lnTo>
                  <a:lnTo>
                    <a:pt x="4706" y="1275"/>
                  </a:lnTo>
                  <a:lnTo>
                    <a:pt x="4697" y="1273"/>
                  </a:lnTo>
                  <a:lnTo>
                    <a:pt x="4689" y="1270"/>
                  </a:lnTo>
                  <a:lnTo>
                    <a:pt x="4681" y="1267"/>
                  </a:lnTo>
                  <a:lnTo>
                    <a:pt x="4674" y="1264"/>
                  </a:lnTo>
                  <a:lnTo>
                    <a:pt x="4667" y="1260"/>
                  </a:lnTo>
                  <a:lnTo>
                    <a:pt x="4660" y="1256"/>
                  </a:lnTo>
                  <a:lnTo>
                    <a:pt x="4654" y="1251"/>
                  </a:lnTo>
                  <a:lnTo>
                    <a:pt x="4648" y="1246"/>
                  </a:lnTo>
                  <a:lnTo>
                    <a:pt x="4642" y="1241"/>
                  </a:lnTo>
                  <a:lnTo>
                    <a:pt x="4637" y="1235"/>
                  </a:lnTo>
                  <a:lnTo>
                    <a:pt x="4632" y="1228"/>
                  </a:lnTo>
                  <a:lnTo>
                    <a:pt x="4627" y="1221"/>
                  </a:lnTo>
                  <a:lnTo>
                    <a:pt x="4623" y="1214"/>
                  </a:lnTo>
                  <a:lnTo>
                    <a:pt x="4619" y="1206"/>
                  </a:lnTo>
                  <a:lnTo>
                    <a:pt x="4616" y="1197"/>
                  </a:lnTo>
                  <a:lnTo>
                    <a:pt x="4613" y="1188"/>
                  </a:lnTo>
                  <a:lnTo>
                    <a:pt x="4610" y="1179"/>
                  </a:lnTo>
                  <a:lnTo>
                    <a:pt x="4607" y="1169"/>
                  </a:lnTo>
                  <a:lnTo>
                    <a:pt x="4605" y="1158"/>
                  </a:lnTo>
                  <a:lnTo>
                    <a:pt x="4603" y="1147"/>
                  </a:lnTo>
                  <a:lnTo>
                    <a:pt x="4601" y="1135"/>
                  </a:lnTo>
                  <a:lnTo>
                    <a:pt x="4600" y="1123"/>
                  </a:lnTo>
                  <a:lnTo>
                    <a:pt x="4599" y="1110"/>
                  </a:lnTo>
                  <a:lnTo>
                    <a:pt x="4598" y="1096"/>
                  </a:lnTo>
                  <a:lnTo>
                    <a:pt x="4597" y="1082"/>
                  </a:lnTo>
                  <a:lnTo>
                    <a:pt x="4597" y="1052"/>
                  </a:lnTo>
                  <a:lnTo>
                    <a:pt x="4597" y="570"/>
                  </a:lnTo>
                  <a:lnTo>
                    <a:pt x="4338" y="570"/>
                  </a:lnTo>
                  <a:lnTo>
                    <a:pt x="4338" y="1048"/>
                  </a:lnTo>
                  <a:lnTo>
                    <a:pt x="4339" y="1067"/>
                  </a:lnTo>
                  <a:lnTo>
                    <a:pt x="4339" y="1084"/>
                  </a:lnTo>
                  <a:lnTo>
                    <a:pt x="4340" y="1118"/>
                  </a:lnTo>
                  <a:lnTo>
                    <a:pt x="4342" y="1149"/>
                  </a:lnTo>
                  <a:lnTo>
                    <a:pt x="4345" y="1178"/>
                  </a:lnTo>
                  <a:lnTo>
                    <a:pt x="4347" y="1192"/>
                  </a:lnTo>
                  <a:lnTo>
                    <a:pt x="4349" y="1205"/>
                  </a:lnTo>
                  <a:lnTo>
                    <a:pt x="4353" y="1230"/>
                  </a:lnTo>
                  <a:lnTo>
                    <a:pt x="4356" y="1242"/>
                  </a:lnTo>
                  <a:lnTo>
                    <a:pt x="4359" y="1254"/>
                  </a:lnTo>
                  <a:lnTo>
                    <a:pt x="4362" y="1265"/>
                  </a:lnTo>
                  <a:lnTo>
                    <a:pt x="4366" y="1275"/>
                  </a:lnTo>
                  <a:lnTo>
                    <a:pt x="4373" y="1296"/>
                  </a:lnTo>
                  <a:lnTo>
                    <a:pt x="4382" y="1315"/>
                  </a:lnTo>
                  <a:lnTo>
                    <a:pt x="4392" y="1333"/>
                  </a:lnTo>
                  <a:lnTo>
                    <a:pt x="4398" y="1341"/>
                  </a:lnTo>
                  <a:lnTo>
                    <a:pt x="4404" y="1350"/>
                  </a:lnTo>
                  <a:lnTo>
                    <a:pt x="4410" y="1358"/>
                  </a:lnTo>
                  <a:lnTo>
                    <a:pt x="4416" y="1366"/>
                  </a:lnTo>
                  <a:lnTo>
                    <a:pt x="4423" y="1373"/>
                  </a:lnTo>
                  <a:lnTo>
                    <a:pt x="4430" y="1381"/>
                  </a:lnTo>
                  <a:lnTo>
                    <a:pt x="4437" y="1388"/>
                  </a:lnTo>
                  <a:lnTo>
                    <a:pt x="4445" y="1396"/>
                  </a:lnTo>
                  <a:lnTo>
                    <a:pt x="4461" y="1410"/>
                  </a:lnTo>
                  <a:lnTo>
                    <a:pt x="4475" y="1421"/>
                  </a:lnTo>
                  <a:lnTo>
                    <a:pt x="4489" y="1431"/>
                  </a:lnTo>
                  <a:lnTo>
                    <a:pt x="4505" y="1440"/>
                  </a:lnTo>
                  <a:lnTo>
                    <a:pt x="4520" y="1449"/>
                  </a:lnTo>
                  <a:lnTo>
                    <a:pt x="4537" y="1457"/>
                  </a:lnTo>
                  <a:lnTo>
                    <a:pt x="4554" y="1464"/>
                  </a:lnTo>
                  <a:lnTo>
                    <a:pt x="4572" y="1471"/>
                  </a:lnTo>
                  <a:lnTo>
                    <a:pt x="4590" y="1477"/>
                  </a:lnTo>
                  <a:lnTo>
                    <a:pt x="4609" y="1482"/>
                  </a:lnTo>
                  <a:lnTo>
                    <a:pt x="4619" y="1484"/>
                  </a:lnTo>
                  <a:lnTo>
                    <a:pt x="4628" y="1486"/>
                  </a:lnTo>
                  <a:lnTo>
                    <a:pt x="4638" y="1489"/>
                  </a:lnTo>
                  <a:lnTo>
                    <a:pt x="4648" y="1490"/>
                  </a:lnTo>
                  <a:lnTo>
                    <a:pt x="4669" y="1494"/>
                  </a:lnTo>
                  <a:lnTo>
                    <a:pt x="4689" y="1496"/>
                  </a:lnTo>
                  <a:lnTo>
                    <a:pt x="4711" y="1498"/>
                  </a:lnTo>
                  <a:lnTo>
                    <a:pt x="4732" y="1499"/>
                  </a:lnTo>
                  <a:lnTo>
                    <a:pt x="4755" y="1499"/>
                  </a:lnTo>
                  <a:lnTo>
                    <a:pt x="4781" y="1499"/>
                  </a:lnTo>
                  <a:lnTo>
                    <a:pt x="4806" y="1497"/>
                  </a:lnTo>
                  <a:lnTo>
                    <a:pt x="4818" y="1496"/>
                  </a:lnTo>
                  <a:lnTo>
                    <a:pt x="4831" y="1494"/>
                  </a:lnTo>
                  <a:lnTo>
                    <a:pt x="4855" y="1491"/>
                  </a:lnTo>
                  <a:lnTo>
                    <a:pt x="4878" y="1486"/>
                  </a:lnTo>
                  <a:lnTo>
                    <a:pt x="4900" y="1480"/>
                  </a:lnTo>
                  <a:lnTo>
                    <a:pt x="4911" y="1477"/>
                  </a:lnTo>
                  <a:lnTo>
                    <a:pt x="4922" y="1474"/>
                  </a:lnTo>
                  <a:lnTo>
                    <a:pt x="4943" y="1466"/>
                  </a:lnTo>
                  <a:lnTo>
                    <a:pt x="4953" y="1462"/>
                  </a:lnTo>
                  <a:lnTo>
                    <a:pt x="4963" y="1457"/>
                  </a:lnTo>
                  <a:lnTo>
                    <a:pt x="4983" y="1448"/>
                  </a:lnTo>
                  <a:lnTo>
                    <a:pt x="5001" y="1437"/>
                  </a:lnTo>
                  <a:lnTo>
                    <a:pt x="5019" y="1426"/>
                  </a:lnTo>
                  <a:lnTo>
                    <a:pt x="5036" y="1413"/>
                  </a:lnTo>
                  <a:lnTo>
                    <a:pt x="5044" y="1407"/>
                  </a:lnTo>
                  <a:lnTo>
                    <a:pt x="5052" y="1400"/>
                  </a:lnTo>
                  <a:lnTo>
                    <a:pt x="5059" y="1393"/>
                  </a:lnTo>
                  <a:lnTo>
                    <a:pt x="5066" y="1386"/>
                  </a:lnTo>
                  <a:lnTo>
                    <a:pt x="5080" y="1370"/>
                  </a:lnTo>
                  <a:lnTo>
                    <a:pt x="5091" y="1357"/>
                  </a:lnTo>
                  <a:lnTo>
                    <a:pt x="5096" y="1350"/>
                  </a:lnTo>
                  <a:lnTo>
                    <a:pt x="5101" y="1344"/>
                  </a:lnTo>
                  <a:lnTo>
                    <a:pt x="5106" y="1336"/>
                  </a:lnTo>
                  <a:lnTo>
                    <a:pt x="5110" y="1329"/>
                  </a:lnTo>
                  <a:lnTo>
                    <a:pt x="5118" y="1314"/>
                  </a:lnTo>
                  <a:lnTo>
                    <a:pt x="5126" y="1298"/>
                  </a:lnTo>
                  <a:lnTo>
                    <a:pt x="5133" y="1280"/>
                  </a:lnTo>
                  <a:lnTo>
                    <a:pt x="5139" y="1262"/>
                  </a:lnTo>
                  <a:lnTo>
                    <a:pt x="5145" y="1243"/>
                  </a:lnTo>
                  <a:lnTo>
                    <a:pt x="5150" y="1222"/>
                  </a:lnTo>
                  <a:lnTo>
                    <a:pt x="5154" y="1200"/>
                  </a:lnTo>
                  <a:lnTo>
                    <a:pt x="5157" y="1177"/>
                  </a:lnTo>
                  <a:lnTo>
                    <a:pt x="5160" y="1152"/>
                  </a:lnTo>
                  <a:lnTo>
                    <a:pt x="5162" y="1126"/>
                  </a:lnTo>
                  <a:lnTo>
                    <a:pt x="5163" y="1112"/>
                  </a:lnTo>
                  <a:lnTo>
                    <a:pt x="5164" y="1098"/>
                  </a:lnTo>
                  <a:lnTo>
                    <a:pt x="5165" y="1068"/>
                  </a:lnTo>
                  <a:lnTo>
                    <a:pt x="5165" y="1037"/>
                  </a:lnTo>
                  <a:close/>
                  <a:moveTo>
                    <a:pt x="6630" y="1478"/>
                  </a:moveTo>
                  <a:lnTo>
                    <a:pt x="6630" y="957"/>
                  </a:lnTo>
                  <a:lnTo>
                    <a:pt x="6629" y="905"/>
                  </a:lnTo>
                  <a:lnTo>
                    <a:pt x="6629" y="881"/>
                  </a:lnTo>
                  <a:lnTo>
                    <a:pt x="6628" y="859"/>
                  </a:lnTo>
                  <a:lnTo>
                    <a:pt x="6626" y="838"/>
                  </a:lnTo>
                  <a:lnTo>
                    <a:pt x="6625" y="819"/>
                  </a:lnTo>
                  <a:lnTo>
                    <a:pt x="6623" y="801"/>
                  </a:lnTo>
                  <a:lnTo>
                    <a:pt x="6620" y="784"/>
                  </a:lnTo>
                  <a:lnTo>
                    <a:pt x="6617" y="767"/>
                  </a:lnTo>
                  <a:lnTo>
                    <a:pt x="6614" y="752"/>
                  </a:lnTo>
                  <a:lnTo>
                    <a:pt x="6611" y="738"/>
                  </a:lnTo>
                  <a:lnTo>
                    <a:pt x="6607" y="725"/>
                  </a:lnTo>
                  <a:lnTo>
                    <a:pt x="6602" y="713"/>
                  </a:lnTo>
                  <a:lnTo>
                    <a:pt x="6597" y="701"/>
                  </a:lnTo>
                  <a:lnTo>
                    <a:pt x="6592" y="690"/>
                  </a:lnTo>
                  <a:lnTo>
                    <a:pt x="6586" y="680"/>
                  </a:lnTo>
                  <a:lnTo>
                    <a:pt x="6582" y="672"/>
                  </a:lnTo>
                  <a:lnTo>
                    <a:pt x="6577" y="665"/>
                  </a:lnTo>
                  <a:lnTo>
                    <a:pt x="6567" y="651"/>
                  </a:lnTo>
                  <a:lnTo>
                    <a:pt x="6561" y="645"/>
                  </a:lnTo>
                  <a:lnTo>
                    <a:pt x="6556" y="638"/>
                  </a:lnTo>
                  <a:lnTo>
                    <a:pt x="6543" y="626"/>
                  </a:lnTo>
                  <a:lnTo>
                    <a:pt x="6530" y="615"/>
                  </a:lnTo>
                  <a:lnTo>
                    <a:pt x="6523" y="609"/>
                  </a:lnTo>
                  <a:lnTo>
                    <a:pt x="6516" y="604"/>
                  </a:lnTo>
                  <a:lnTo>
                    <a:pt x="6501" y="594"/>
                  </a:lnTo>
                  <a:lnTo>
                    <a:pt x="6485" y="586"/>
                  </a:lnTo>
                  <a:lnTo>
                    <a:pt x="6477" y="582"/>
                  </a:lnTo>
                  <a:lnTo>
                    <a:pt x="6468" y="578"/>
                  </a:lnTo>
                  <a:lnTo>
                    <a:pt x="6451" y="571"/>
                  </a:lnTo>
                  <a:lnTo>
                    <a:pt x="6433" y="565"/>
                  </a:lnTo>
                  <a:lnTo>
                    <a:pt x="6414" y="560"/>
                  </a:lnTo>
                  <a:lnTo>
                    <a:pt x="6405" y="558"/>
                  </a:lnTo>
                  <a:lnTo>
                    <a:pt x="6395" y="556"/>
                  </a:lnTo>
                  <a:lnTo>
                    <a:pt x="6375" y="553"/>
                  </a:lnTo>
                  <a:lnTo>
                    <a:pt x="6355" y="552"/>
                  </a:lnTo>
                  <a:lnTo>
                    <a:pt x="6345" y="551"/>
                  </a:lnTo>
                  <a:lnTo>
                    <a:pt x="6335" y="551"/>
                  </a:lnTo>
                  <a:lnTo>
                    <a:pt x="6322" y="551"/>
                  </a:lnTo>
                  <a:lnTo>
                    <a:pt x="6310" y="552"/>
                  </a:lnTo>
                  <a:lnTo>
                    <a:pt x="6298" y="553"/>
                  </a:lnTo>
                  <a:lnTo>
                    <a:pt x="6286" y="554"/>
                  </a:lnTo>
                  <a:lnTo>
                    <a:pt x="6275" y="556"/>
                  </a:lnTo>
                  <a:lnTo>
                    <a:pt x="6264" y="558"/>
                  </a:lnTo>
                  <a:lnTo>
                    <a:pt x="6253" y="561"/>
                  </a:lnTo>
                  <a:lnTo>
                    <a:pt x="6242" y="564"/>
                  </a:lnTo>
                  <a:lnTo>
                    <a:pt x="6231" y="567"/>
                  </a:lnTo>
                  <a:lnTo>
                    <a:pt x="6221" y="571"/>
                  </a:lnTo>
                  <a:lnTo>
                    <a:pt x="6211" y="575"/>
                  </a:lnTo>
                  <a:lnTo>
                    <a:pt x="6201" y="580"/>
                  </a:lnTo>
                  <a:lnTo>
                    <a:pt x="6191" y="585"/>
                  </a:lnTo>
                  <a:lnTo>
                    <a:pt x="6181" y="590"/>
                  </a:lnTo>
                  <a:lnTo>
                    <a:pt x="6172" y="596"/>
                  </a:lnTo>
                  <a:lnTo>
                    <a:pt x="6163" y="602"/>
                  </a:lnTo>
                  <a:lnTo>
                    <a:pt x="6154" y="609"/>
                  </a:lnTo>
                  <a:lnTo>
                    <a:pt x="6146" y="616"/>
                  </a:lnTo>
                  <a:lnTo>
                    <a:pt x="6137" y="624"/>
                  </a:lnTo>
                  <a:lnTo>
                    <a:pt x="6129" y="632"/>
                  </a:lnTo>
                  <a:lnTo>
                    <a:pt x="6121" y="640"/>
                  </a:lnTo>
                  <a:lnTo>
                    <a:pt x="6113" y="649"/>
                  </a:lnTo>
                  <a:lnTo>
                    <a:pt x="6105" y="658"/>
                  </a:lnTo>
                  <a:lnTo>
                    <a:pt x="6098" y="668"/>
                  </a:lnTo>
                  <a:lnTo>
                    <a:pt x="6091" y="678"/>
                  </a:lnTo>
                  <a:lnTo>
                    <a:pt x="6084" y="688"/>
                  </a:lnTo>
                  <a:lnTo>
                    <a:pt x="6077" y="699"/>
                  </a:lnTo>
                  <a:lnTo>
                    <a:pt x="6070" y="711"/>
                  </a:lnTo>
                  <a:lnTo>
                    <a:pt x="6064" y="723"/>
                  </a:lnTo>
                  <a:lnTo>
                    <a:pt x="6057" y="735"/>
                  </a:lnTo>
                  <a:lnTo>
                    <a:pt x="6051" y="748"/>
                  </a:lnTo>
                  <a:lnTo>
                    <a:pt x="6045" y="761"/>
                  </a:lnTo>
                  <a:lnTo>
                    <a:pt x="6039" y="736"/>
                  </a:lnTo>
                  <a:lnTo>
                    <a:pt x="6035" y="724"/>
                  </a:lnTo>
                  <a:lnTo>
                    <a:pt x="6031" y="712"/>
                  </a:lnTo>
                  <a:lnTo>
                    <a:pt x="6022" y="690"/>
                  </a:lnTo>
                  <a:lnTo>
                    <a:pt x="6017" y="679"/>
                  </a:lnTo>
                  <a:lnTo>
                    <a:pt x="6012" y="669"/>
                  </a:lnTo>
                  <a:lnTo>
                    <a:pt x="6001" y="650"/>
                  </a:lnTo>
                  <a:lnTo>
                    <a:pt x="5995" y="642"/>
                  </a:lnTo>
                  <a:lnTo>
                    <a:pt x="5989" y="633"/>
                  </a:lnTo>
                  <a:lnTo>
                    <a:pt x="5982" y="625"/>
                  </a:lnTo>
                  <a:lnTo>
                    <a:pt x="5975" y="618"/>
                  </a:lnTo>
                  <a:lnTo>
                    <a:pt x="5968" y="610"/>
                  </a:lnTo>
                  <a:lnTo>
                    <a:pt x="5961" y="604"/>
                  </a:lnTo>
                  <a:lnTo>
                    <a:pt x="5953" y="597"/>
                  </a:lnTo>
                  <a:lnTo>
                    <a:pt x="5945" y="591"/>
                  </a:lnTo>
                  <a:lnTo>
                    <a:pt x="5937" y="586"/>
                  </a:lnTo>
                  <a:lnTo>
                    <a:pt x="5928" y="581"/>
                  </a:lnTo>
                  <a:lnTo>
                    <a:pt x="5919" y="576"/>
                  </a:lnTo>
                  <a:lnTo>
                    <a:pt x="5910" y="572"/>
                  </a:lnTo>
                  <a:lnTo>
                    <a:pt x="5900" y="568"/>
                  </a:lnTo>
                  <a:lnTo>
                    <a:pt x="5890" y="564"/>
                  </a:lnTo>
                  <a:lnTo>
                    <a:pt x="5880" y="561"/>
                  </a:lnTo>
                  <a:lnTo>
                    <a:pt x="5870" y="558"/>
                  </a:lnTo>
                  <a:lnTo>
                    <a:pt x="5859" y="556"/>
                  </a:lnTo>
                  <a:lnTo>
                    <a:pt x="5848" y="554"/>
                  </a:lnTo>
                  <a:lnTo>
                    <a:pt x="5837" y="553"/>
                  </a:lnTo>
                  <a:lnTo>
                    <a:pt x="5825" y="552"/>
                  </a:lnTo>
                  <a:lnTo>
                    <a:pt x="5813" y="551"/>
                  </a:lnTo>
                  <a:lnTo>
                    <a:pt x="5801" y="551"/>
                  </a:lnTo>
                  <a:lnTo>
                    <a:pt x="5775" y="552"/>
                  </a:lnTo>
                  <a:lnTo>
                    <a:pt x="5763" y="553"/>
                  </a:lnTo>
                  <a:lnTo>
                    <a:pt x="5751" y="554"/>
                  </a:lnTo>
                  <a:lnTo>
                    <a:pt x="5740" y="556"/>
                  </a:lnTo>
                  <a:lnTo>
                    <a:pt x="5729" y="558"/>
                  </a:lnTo>
                  <a:lnTo>
                    <a:pt x="5718" y="560"/>
                  </a:lnTo>
                  <a:lnTo>
                    <a:pt x="5707" y="563"/>
                  </a:lnTo>
                  <a:lnTo>
                    <a:pt x="5697" y="567"/>
                  </a:lnTo>
                  <a:lnTo>
                    <a:pt x="5687" y="570"/>
                  </a:lnTo>
                  <a:lnTo>
                    <a:pt x="5677" y="574"/>
                  </a:lnTo>
                  <a:lnTo>
                    <a:pt x="5667" y="579"/>
                  </a:lnTo>
                  <a:lnTo>
                    <a:pt x="5658" y="584"/>
                  </a:lnTo>
                  <a:lnTo>
                    <a:pt x="5649" y="589"/>
                  </a:lnTo>
                  <a:lnTo>
                    <a:pt x="5640" y="595"/>
                  </a:lnTo>
                  <a:lnTo>
                    <a:pt x="5631" y="601"/>
                  </a:lnTo>
                  <a:lnTo>
                    <a:pt x="5622" y="607"/>
                  </a:lnTo>
                  <a:lnTo>
                    <a:pt x="5614" y="614"/>
                  </a:lnTo>
                  <a:lnTo>
                    <a:pt x="5606" y="622"/>
                  </a:lnTo>
                  <a:lnTo>
                    <a:pt x="5598" y="629"/>
                  </a:lnTo>
                  <a:lnTo>
                    <a:pt x="5590" y="637"/>
                  </a:lnTo>
                  <a:lnTo>
                    <a:pt x="5582" y="646"/>
                  </a:lnTo>
                  <a:lnTo>
                    <a:pt x="5575" y="655"/>
                  </a:lnTo>
                  <a:lnTo>
                    <a:pt x="5568" y="665"/>
                  </a:lnTo>
                  <a:lnTo>
                    <a:pt x="5553" y="685"/>
                  </a:lnTo>
                  <a:lnTo>
                    <a:pt x="5546" y="695"/>
                  </a:lnTo>
                  <a:lnTo>
                    <a:pt x="5540" y="707"/>
                  </a:lnTo>
                  <a:lnTo>
                    <a:pt x="5533" y="718"/>
                  </a:lnTo>
                  <a:lnTo>
                    <a:pt x="5526" y="730"/>
                  </a:lnTo>
                  <a:lnTo>
                    <a:pt x="5513" y="756"/>
                  </a:lnTo>
                  <a:lnTo>
                    <a:pt x="5513" y="570"/>
                  </a:lnTo>
                  <a:lnTo>
                    <a:pt x="5264" y="570"/>
                  </a:lnTo>
                  <a:lnTo>
                    <a:pt x="5264" y="1024"/>
                  </a:lnTo>
                  <a:lnTo>
                    <a:pt x="5264" y="1478"/>
                  </a:lnTo>
                  <a:lnTo>
                    <a:pt x="5523" y="1478"/>
                  </a:lnTo>
                  <a:lnTo>
                    <a:pt x="5523" y="1057"/>
                  </a:lnTo>
                  <a:lnTo>
                    <a:pt x="5523" y="1035"/>
                  </a:lnTo>
                  <a:lnTo>
                    <a:pt x="5523" y="1015"/>
                  </a:lnTo>
                  <a:lnTo>
                    <a:pt x="5524" y="997"/>
                  </a:lnTo>
                  <a:lnTo>
                    <a:pt x="5525" y="988"/>
                  </a:lnTo>
                  <a:lnTo>
                    <a:pt x="5526" y="979"/>
                  </a:lnTo>
                  <a:lnTo>
                    <a:pt x="5528" y="963"/>
                  </a:lnTo>
                  <a:lnTo>
                    <a:pt x="5530" y="948"/>
                  </a:lnTo>
                  <a:lnTo>
                    <a:pt x="5533" y="935"/>
                  </a:lnTo>
                  <a:lnTo>
                    <a:pt x="5536" y="922"/>
                  </a:lnTo>
                  <a:lnTo>
                    <a:pt x="5541" y="907"/>
                  </a:lnTo>
                  <a:lnTo>
                    <a:pt x="5546" y="893"/>
                  </a:lnTo>
                  <a:lnTo>
                    <a:pt x="5552" y="879"/>
                  </a:lnTo>
                  <a:lnTo>
                    <a:pt x="5559" y="867"/>
                  </a:lnTo>
                  <a:lnTo>
                    <a:pt x="5567" y="855"/>
                  </a:lnTo>
                  <a:lnTo>
                    <a:pt x="5575" y="844"/>
                  </a:lnTo>
                  <a:lnTo>
                    <a:pt x="5584" y="834"/>
                  </a:lnTo>
                  <a:lnTo>
                    <a:pt x="5593" y="824"/>
                  </a:lnTo>
                  <a:lnTo>
                    <a:pt x="5598" y="820"/>
                  </a:lnTo>
                  <a:lnTo>
                    <a:pt x="5603" y="816"/>
                  </a:lnTo>
                  <a:lnTo>
                    <a:pt x="5614" y="809"/>
                  </a:lnTo>
                  <a:lnTo>
                    <a:pt x="5625" y="802"/>
                  </a:lnTo>
                  <a:lnTo>
                    <a:pt x="5631" y="800"/>
                  </a:lnTo>
                  <a:lnTo>
                    <a:pt x="5636" y="797"/>
                  </a:lnTo>
                  <a:lnTo>
                    <a:pt x="5648" y="793"/>
                  </a:lnTo>
                  <a:lnTo>
                    <a:pt x="5661" y="790"/>
                  </a:lnTo>
                  <a:lnTo>
                    <a:pt x="5667" y="789"/>
                  </a:lnTo>
                  <a:lnTo>
                    <a:pt x="5673" y="788"/>
                  </a:lnTo>
                  <a:lnTo>
                    <a:pt x="5680" y="788"/>
                  </a:lnTo>
                  <a:lnTo>
                    <a:pt x="5686" y="788"/>
                  </a:lnTo>
                  <a:lnTo>
                    <a:pt x="5696" y="788"/>
                  </a:lnTo>
                  <a:lnTo>
                    <a:pt x="5705" y="789"/>
                  </a:lnTo>
                  <a:lnTo>
                    <a:pt x="5714" y="790"/>
                  </a:lnTo>
                  <a:lnTo>
                    <a:pt x="5723" y="793"/>
                  </a:lnTo>
                  <a:lnTo>
                    <a:pt x="5732" y="795"/>
                  </a:lnTo>
                  <a:lnTo>
                    <a:pt x="5739" y="799"/>
                  </a:lnTo>
                  <a:lnTo>
                    <a:pt x="5747" y="802"/>
                  </a:lnTo>
                  <a:lnTo>
                    <a:pt x="5754" y="807"/>
                  </a:lnTo>
                  <a:lnTo>
                    <a:pt x="5761" y="812"/>
                  </a:lnTo>
                  <a:lnTo>
                    <a:pt x="5767" y="817"/>
                  </a:lnTo>
                  <a:lnTo>
                    <a:pt x="5773" y="823"/>
                  </a:lnTo>
                  <a:lnTo>
                    <a:pt x="5779" y="830"/>
                  </a:lnTo>
                  <a:lnTo>
                    <a:pt x="5784" y="837"/>
                  </a:lnTo>
                  <a:lnTo>
                    <a:pt x="5789" y="845"/>
                  </a:lnTo>
                  <a:lnTo>
                    <a:pt x="5793" y="853"/>
                  </a:lnTo>
                  <a:lnTo>
                    <a:pt x="5797" y="861"/>
                  </a:lnTo>
                  <a:lnTo>
                    <a:pt x="5800" y="868"/>
                  </a:lnTo>
                  <a:lnTo>
                    <a:pt x="5802" y="875"/>
                  </a:lnTo>
                  <a:lnTo>
                    <a:pt x="5806" y="890"/>
                  </a:lnTo>
                  <a:lnTo>
                    <a:pt x="5809" y="906"/>
                  </a:lnTo>
                  <a:lnTo>
                    <a:pt x="5812" y="924"/>
                  </a:lnTo>
                  <a:lnTo>
                    <a:pt x="5814" y="945"/>
                  </a:lnTo>
                  <a:lnTo>
                    <a:pt x="5816" y="969"/>
                  </a:lnTo>
                  <a:lnTo>
                    <a:pt x="5816" y="981"/>
                  </a:lnTo>
                  <a:lnTo>
                    <a:pt x="5816" y="995"/>
                  </a:lnTo>
                  <a:lnTo>
                    <a:pt x="5817" y="1024"/>
                  </a:lnTo>
                  <a:lnTo>
                    <a:pt x="5817" y="1478"/>
                  </a:lnTo>
                  <a:lnTo>
                    <a:pt x="6077" y="1478"/>
                  </a:lnTo>
                  <a:lnTo>
                    <a:pt x="6077" y="1041"/>
                  </a:lnTo>
                  <a:lnTo>
                    <a:pt x="6077" y="1026"/>
                  </a:lnTo>
                  <a:lnTo>
                    <a:pt x="6077" y="1011"/>
                  </a:lnTo>
                  <a:lnTo>
                    <a:pt x="6078" y="997"/>
                  </a:lnTo>
                  <a:lnTo>
                    <a:pt x="6079" y="983"/>
                  </a:lnTo>
                  <a:lnTo>
                    <a:pt x="6081" y="970"/>
                  </a:lnTo>
                  <a:lnTo>
                    <a:pt x="6083" y="957"/>
                  </a:lnTo>
                  <a:lnTo>
                    <a:pt x="6085" y="944"/>
                  </a:lnTo>
                  <a:lnTo>
                    <a:pt x="6087" y="932"/>
                  </a:lnTo>
                  <a:lnTo>
                    <a:pt x="6093" y="910"/>
                  </a:lnTo>
                  <a:lnTo>
                    <a:pt x="6096" y="899"/>
                  </a:lnTo>
                  <a:lnTo>
                    <a:pt x="6100" y="889"/>
                  </a:lnTo>
                  <a:lnTo>
                    <a:pt x="6104" y="879"/>
                  </a:lnTo>
                  <a:lnTo>
                    <a:pt x="6108" y="870"/>
                  </a:lnTo>
                  <a:lnTo>
                    <a:pt x="6113" y="861"/>
                  </a:lnTo>
                  <a:lnTo>
                    <a:pt x="6118" y="853"/>
                  </a:lnTo>
                  <a:lnTo>
                    <a:pt x="6123" y="845"/>
                  </a:lnTo>
                  <a:lnTo>
                    <a:pt x="6129" y="838"/>
                  </a:lnTo>
                  <a:lnTo>
                    <a:pt x="6135" y="831"/>
                  </a:lnTo>
                  <a:lnTo>
                    <a:pt x="6141" y="824"/>
                  </a:lnTo>
                  <a:lnTo>
                    <a:pt x="6148" y="819"/>
                  </a:lnTo>
                  <a:lnTo>
                    <a:pt x="6155" y="813"/>
                  </a:lnTo>
                  <a:lnTo>
                    <a:pt x="6162" y="808"/>
                  </a:lnTo>
                  <a:lnTo>
                    <a:pt x="6169" y="804"/>
                  </a:lnTo>
                  <a:lnTo>
                    <a:pt x="6177" y="800"/>
                  </a:lnTo>
                  <a:lnTo>
                    <a:pt x="6185" y="797"/>
                  </a:lnTo>
                  <a:lnTo>
                    <a:pt x="6194" y="794"/>
                  </a:lnTo>
                  <a:lnTo>
                    <a:pt x="6202" y="792"/>
                  </a:lnTo>
                  <a:lnTo>
                    <a:pt x="6211" y="790"/>
                  </a:lnTo>
                  <a:lnTo>
                    <a:pt x="6221" y="789"/>
                  </a:lnTo>
                  <a:lnTo>
                    <a:pt x="6230" y="788"/>
                  </a:lnTo>
                  <a:lnTo>
                    <a:pt x="6240" y="788"/>
                  </a:lnTo>
                  <a:lnTo>
                    <a:pt x="6252" y="788"/>
                  </a:lnTo>
                  <a:lnTo>
                    <a:pt x="6263" y="789"/>
                  </a:lnTo>
                  <a:lnTo>
                    <a:pt x="6273" y="791"/>
                  </a:lnTo>
                  <a:lnTo>
                    <a:pt x="6283" y="793"/>
                  </a:lnTo>
                  <a:lnTo>
                    <a:pt x="6293" y="796"/>
                  </a:lnTo>
                  <a:lnTo>
                    <a:pt x="6302" y="800"/>
                  </a:lnTo>
                  <a:lnTo>
                    <a:pt x="6306" y="802"/>
                  </a:lnTo>
                  <a:lnTo>
                    <a:pt x="6310" y="804"/>
                  </a:lnTo>
                  <a:lnTo>
                    <a:pt x="6318" y="809"/>
                  </a:lnTo>
                  <a:lnTo>
                    <a:pt x="6325" y="815"/>
                  </a:lnTo>
                  <a:lnTo>
                    <a:pt x="6332" y="821"/>
                  </a:lnTo>
                  <a:lnTo>
                    <a:pt x="6338" y="829"/>
                  </a:lnTo>
                  <a:lnTo>
                    <a:pt x="6344" y="837"/>
                  </a:lnTo>
                  <a:lnTo>
                    <a:pt x="6349" y="845"/>
                  </a:lnTo>
                  <a:lnTo>
                    <a:pt x="6353" y="855"/>
                  </a:lnTo>
                  <a:lnTo>
                    <a:pt x="6357" y="865"/>
                  </a:lnTo>
                  <a:lnTo>
                    <a:pt x="6360" y="876"/>
                  </a:lnTo>
                  <a:lnTo>
                    <a:pt x="6362" y="887"/>
                  </a:lnTo>
                  <a:lnTo>
                    <a:pt x="6364" y="900"/>
                  </a:lnTo>
                  <a:lnTo>
                    <a:pt x="6366" y="915"/>
                  </a:lnTo>
                  <a:lnTo>
                    <a:pt x="6367" y="931"/>
                  </a:lnTo>
                  <a:lnTo>
                    <a:pt x="6369" y="969"/>
                  </a:lnTo>
                  <a:lnTo>
                    <a:pt x="6370" y="990"/>
                  </a:lnTo>
                  <a:lnTo>
                    <a:pt x="6370" y="1011"/>
                  </a:lnTo>
                  <a:lnTo>
                    <a:pt x="6370" y="1478"/>
                  </a:lnTo>
                  <a:lnTo>
                    <a:pt x="6630" y="1478"/>
                  </a:lnTo>
                  <a:close/>
                  <a:moveTo>
                    <a:pt x="2027" y="314"/>
                  </a:moveTo>
                  <a:lnTo>
                    <a:pt x="2012" y="315"/>
                  </a:lnTo>
                  <a:lnTo>
                    <a:pt x="2005" y="316"/>
                  </a:lnTo>
                  <a:lnTo>
                    <a:pt x="1998" y="317"/>
                  </a:lnTo>
                  <a:lnTo>
                    <a:pt x="1991" y="318"/>
                  </a:lnTo>
                  <a:lnTo>
                    <a:pt x="1985" y="320"/>
                  </a:lnTo>
                  <a:lnTo>
                    <a:pt x="1979" y="322"/>
                  </a:lnTo>
                  <a:lnTo>
                    <a:pt x="1972" y="324"/>
                  </a:lnTo>
                  <a:lnTo>
                    <a:pt x="1961" y="330"/>
                  </a:lnTo>
                  <a:lnTo>
                    <a:pt x="1955" y="333"/>
                  </a:lnTo>
                  <a:lnTo>
                    <a:pt x="1950" y="337"/>
                  </a:lnTo>
                  <a:lnTo>
                    <a:pt x="1940" y="344"/>
                  </a:lnTo>
                  <a:lnTo>
                    <a:pt x="1935" y="349"/>
                  </a:lnTo>
                  <a:lnTo>
                    <a:pt x="1931" y="353"/>
                  </a:lnTo>
                  <a:lnTo>
                    <a:pt x="1923" y="363"/>
                  </a:lnTo>
                  <a:lnTo>
                    <a:pt x="1919" y="369"/>
                  </a:lnTo>
                  <a:lnTo>
                    <a:pt x="1916" y="374"/>
                  </a:lnTo>
                  <a:lnTo>
                    <a:pt x="1913" y="380"/>
                  </a:lnTo>
                  <a:lnTo>
                    <a:pt x="1910" y="386"/>
                  </a:lnTo>
                  <a:lnTo>
                    <a:pt x="1905" y="399"/>
                  </a:lnTo>
                  <a:lnTo>
                    <a:pt x="1901" y="413"/>
                  </a:lnTo>
                  <a:lnTo>
                    <a:pt x="1899" y="420"/>
                  </a:lnTo>
                  <a:lnTo>
                    <a:pt x="1898" y="427"/>
                  </a:lnTo>
                  <a:lnTo>
                    <a:pt x="1896" y="443"/>
                  </a:lnTo>
                  <a:lnTo>
                    <a:pt x="1896" y="451"/>
                  </a:lnTo>
                  <a:lnTo>
                    <a:pt x="1896" y="459"/>
                  </a:lnTo>
                  <a:lnTo>
                    <a:pt x="1896" y="571"/>
                  </a:lnTo>
                  <a:lnTo>
                    <a:pt x="2079" y="571"/>
                  </a:lnTo>
                  <a:lnTo>
                    <a:pt x="2079" y="777"/>
                  </a:lnTo>
                  <a:lnTo>
                    <a:pt x="1896" y="777"/>
                  </a:lnTo>
                  <a:lnTo>
                    <a:pt x="1896" y="1479"/>
                  </a:lnTo>
                  <a:lnTo>
                    <a:pt x="1645" y="1479"/>
                  </a:lnTo>
                  <a:lnTo>
                    <a:pt x="1645" y="779"/>
                  </a:lnTo>
                  <a:lnTo>
                    <a:pt x="1529" y="779"/>
                  </a:lnTo>
                  <a:lnTo>
                    <a:pt x="1529" y="576"/>
                  </a:lnTo>
                  <a:lnTo>
                    <a:pt x="1645" y="576"/>
                  </a:lnTo>
                  <a:lnTo>
                    <a:pt x="1645" y="482"/>
                  </a:lnTo>
                  <a:lnTo>
                    <a:pt x="1645" y="447"/>
                  </a:lnTo>
                  <a:lnTo>
                    <a:pt x="1646" y="430"/>
                  </a:lnTo>
                  <a:lnTo>
                    <a:pt x="1647" y="412"/>
                  </a:lnTo>
                  <a:lnTo>
                    <a:pt x="1649" y="395"/>
                  </a:lnTo>
                  <a:lnTo>
                    <a:pt x="1650" y="377"/>
                  </a:lnTo>
                  <a:lnTo>
                    <a:pt x="1653" y="360"/>
                  </a:lnTo>
                  <a:lnTo>
                    <a:pt x="1655" y="343"/>
                  </a:lnTo>
                  <a:lnTo>
                    <a:pt x="1659" y="326"/>
                  </a:lnTo>
                  <a:lnTo>
                    <a:pt x="1663" y="310"/>
                  </a:lnTo>
                  <a:lnTo>
                    <a:pt x="1667" y="294"/>
                  </a:lnTo>
                  <a:lnTo>
                    <a:pt x="1672" y="278"/>
                  </a:lnTo>
                  <a:lnTo>
                    <a:pt x="1678" y="262"/>
                  </a:lnTo>
                  <a:lnTo>
                    <a:pt x="1685" y="247"/>
                  </a:lnTo>
                  <a:lnTo>
                    <a:pt x="1692" y="233"/>
                  </a:lnTo>
                  <a:lnTo>
                    <a:pt x="1696" y="225"/>
                  </a:lnTo>
                  <a:lnTo>
                    <a:pt x="1700" y="218"/>
                  </a:lnTo>
                  <a:lnTo>
                    <a:pt x="1705" y="212"/>
                  </a:lnTo>
                  <a:lnTo>
                    <a:pt x="1709" y="205"/>
                  </a:lnTo>
                  <a:lnTo>
                    <a:pt x="1719" y="192"/>
                  </a:lnTo>
                  <a:lnTo>
                    <a:pt x="1730" y="180"/>
                  </a:lnTo>
                  <a:lnTo>
                    <a:pt x="1742" y="168"/>
                  </a:lnTo>
                  <a:lnTo>
                    <a:pt x="1755" y="157"/>
                  </a:lnTo>
                  <a:lnTo>
                    <a:pt x="1761" y="152"/>
                  </a:lnTo>
                  <a:lnTo>
                    <a:pt x="1769" y="147"/>
                  </a:lnTo>
                  <a:lnTo>
                    <a:pt x="1784" y="137"/>
                  </a:lnTo>
                  <a:lnTo>
                    <a:pt x="1791" y="133"/>
                  </a:lnTo>
                  <a:lnTo>
                    <a:pt x="1800" y="129"/>
                  </a:lnTo>
                  <a:lnTo>
                    <a:pt x="1817" y="121"/>
                  </a:lnTo>
                  <a:lnTo>
                    <a:pt x="1826" y="117"/>
                  </a:lnTo>
                  <a:lnTo>
                    <a:pt x="1835" y="114"/>
                  </a:lnTo>
                  <a:lnTo>
                    <a:pt x="1855" y="108"/>
                  </a:lnTo>
                  <a:lnTo>
                    <a:pt x="1876" y="103"/>
                  </a:lnTo>
                  <a:lnTo>
                    <a:pt x="1899" y="99"/>
                  </a:lnTo>
                  <a:lnTo>
                    <a:pt x="1910" y="98"/>
                  </a:lnTo>
                  <a:lnTo>
                    <a:pt x="1923" y="96"/>
                  </a:lnTo>
                  <a:lnTo>
                    <a:pt x="1948" y="95"/>
                  </a:lnTo>
                  <a:lnTo>
                    <a:pt x="1961" y="94"/>
                  </a:lnTo>
                  <a:lnTo>
                    <a:pt x="1974" y="94"/>
                  </a:lnTo>
                  <a:lnTo>
                    <a:pt x="1999" y="94"/>
                  </a:lnTo>
                  <a:lnTo>
                    <a:pt x="2021" y="95"/>
                  </a:lnTo>
                  <a:lnTo>
                    <a:pt x="2041" y="97"/>
                  </a:lnTo>
                  <a:lnTo>
                    <a:pt x="2061" y="99"/>
                  </a:lnTo>
                  <a:lnTo>
                    <a:pt x="2080" y="102"/>
                  </a:lnTo>
                  <a:lnTo>
                    <a:pt x="2100" y="106"/>
                  </a:lnTo>
                  <a:lnTo>
                    <a:pt x="2122" y="110"/>
                  </a:lnTo>
                  <a:lnTo>
                    <a:pt x="2146" y="115"/>
                  </a:lnTo>
                  <a:lnTo>
                    <a:pt x="2146" y="330"/>
                  </a:lnTo>
                  <a:lnTo>
                    <a:pt x="2122" y="325"/>
                  </a:lnTo>
                  <a:lnTo>
                    <a:pt x="2110" y="322"/>
                  </a:lnTo>
                  <a:lnTo>
                    <a:pt x="2097" y="319"/>
                  </a:lnTo>
                  <a:lnTo>
                    <a:pt x="2082" y="317"/>
                  </a:lnTo>
                  <a:lnTo>
                    <a:pt x="2066" y="316"/>
                  </a:lnTo>
                  <a:lnTo>
                    <a:pt x="2048" y="315"/>
                  </a:lnTo>
                  <a:lnTo>
                    <a:pt x="2027" y="31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27" name="Rectangle 26"/>
          <p:cNvSpPr>
            <a:spLocks/>
          </p:cNvSpPr>
          <p:nvPr userDrawn="1"/>
        </p:nvSpPr>
        <p:spPr>
          <a:xfrm>
            <a:off x="1190726" y="0"/>
            <a:ext cx="590400" cy="27160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8" name="Rectangle 27"/>
          <p:cNvSpPr>
            <a:spLocks noChangeAspect="1"/>
          </p:cNvSpPr>
          <p:nvPr userDrawn="1"/>
        </p:nvSpPr>
        <p:spPr>
          <a:xfrm>
            <a:off x="973151" y="970447"/>
            <a:ext cx="236682" cy="23668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9" name="Rectangle 28"/>
          <p:cNvSpPr>
            <a:spLocks noChangeAspect="1"/>
          </p:cNvSpPr>
          <p:nvPr userDrawn="1"/>
        </p:nvSpPr>
        <p:spPr>
          <a:xfrm>
            <a:off x="2" y="0"/>
            <a:ext cx="774076" cy="774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0" name="Rectangle 29"/>
          <p:cNvSpPr/>
          <p:nvPr userDrawn="1"/>
        </p:nvSpPr>
        <p:spPr>
          <a:xfrm>
            <a:off x="-1" y="764629"/>
            <a:ext cx="219600" cy="219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31" name="Picture Placeholder 22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906000" cy="6858000"/>
          </a:xfrm>
          <a:custGeom>
            <a:avLst/>
            <a:gdLst/>
            <a:ahLst/>
            <a:cxnLst/>
            <a:rect l="l" t="t" r="r" b="b"/>
            <a:pathLst>
              <a:path w="9906000" h="6858000">
                <a:moveTo>
                  <a:pt x="7905410" y="6237390"/>
                </a:moveTo>
                <a:lnTo>
                  <a:pt x="7905410" y="6669450"/>
                </a:lnTo>
                <a:lnTo>
                  <a:pt x="9561640" y="6669450"/>
                </a:lnTo>
                <a:lnTo>
                  <a:pt x="9561640" y="6237390"/>
                </a:lnTo>
                <a:close/>
                <a:moveTo>
                  <a:pt x="983432" y="980728"/>
                </a:moveTo>
                <a:lnTo>
                  <a:pt x="983432" y="1196975"/>
                </a:lnTo>
                <a:lnTo>
                  <a:pt x="1199679" y="1196975"/>
                </a:lnTo>
                <a:lnTo>
                  <a:pt x="1199679" y="980728"/>
                </a:lnTo>
                <a:close/>
                <a:moveTo>
                  <a:pt x="767408" y="0"/>
                </a:moveTo>
                <a:lnTo>
                  <a:pt x="1199456" y="0"/>
                </a:lnTo>
                <a:lnTo>
                  <a:pt x="1199456" y="260648"/>
                </a:lnTo>
                <a:lnTo>
                  <a:pt x="1775520" y="260648"/>
                </a:lnTo>
                <a:lnTo>
                  <a:pt x="1775520" y="0"/>
                </a:lnTo>
                <a:lnTo>
                  <a:pt x="9906000" y="0"/>
                </a:lnTo>
                <a:lnTo>
                  <a:pt x="9906000" y="6858000"/>
                </a:lnTo>
                <a:lnTo>
                  <a:pt x="9408460" y="6858000"/>
                </a:lnTo>
                <a:lnTo>
                  <a:pt x="0" y="6858000"/>
                </a:lnTo>
                <a:lnTo>
                  <a:pt x="0" y="980728"/>
                </a:lnTo>
                <a:lnTo>
                  <a:pt x="216545" y="980728"/>
                </a:lnTo>
                <a:lnTo>
                  <a:pt x="216545" y="764704"/>
                </a:lnTo>
                <a:lnTo>
                  <a:pt x="767408" y="764704"/>
                </a:lnTo>
                <a:close/>
              </a:path>
            </a:pathLst>
          </a:custGeom>
          <a:solidFill>
            <a:srgbClr val="EAEAEA"/>
          </a:solidFill>
        </p:spPr>
        <p:txBody>
          <a:bodyPr/>
          <a:lstStyle>
            <a:lvl1pPr marL="0" indent="0" algn="r">
              <a:buFontTx/>
              <a:buNone/>
              <a:defRPr sz="1200"/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60388" y="1990800"/>
            <a:ext cx="7200900" cy="1296000"/>
          </a:xfrm>
        </p:spPr>
        <p:txBody>
          <a:bodyPr anchor="t" anchorCtr="0"/>
          <a:lstStyle>
            <a:lvl1pPr algn="l">
              <a:defRPr sz="5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5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0388" y="1484313"/>
            <a:ext cx="7200900" cy="360000"/>
          </a:xfrm>
        </p:spPr>
        <p:txBody>
          <a:bodyPr anchor="b" anchorCtr="0"/>
          <a:lstStyle>
            <a:lvl1pPr marL="0" indent="0" algn="l">
              <a:buNone/>
              <a:defRPr sz="20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5000"/>
                    </a:prstClr>
                  </a:outerShdw>
                </a:effectLst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dirty="0" smtClean="0"/>
              <a:t>7.12.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560388" y="4653136"/>
            <a:ext cx="7200900" cy="720552"/>
          </a:xfrm>
        </p:spPr>
        <p:txBody>
          <a:bodyPr/>
          <a:lstStyle>
            <a:lvl1pPr marL="0" indent="0">
              <a:buFontTx/>
              <a:buNone/>
              <a:defRPr baseline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5000"/>
                    </a:prstClr>
                  </a:outerShdw>
                </a:effectLst>
              </a:defRPr>
            </a:lvl1pPr>
          </a:lstStyle>
          <a:p>
            <a:pPr lvl="0"/>
            <a:r>
              <a:rPr lang="en-US" dirty="0" smtClean="0"/>
              <a:t>Name / Title / Date</a:t>
            </a:r>
          </a:p>
        </p:txBody>
      </p:sp>
    </p:spTree>
    <p:extLst>
      <p:ext uri="{BB962C8B-B14F-4D97-AF65-F5344CB8AC3E}">
        <p14:creationId xmlns:p14="http://schemas.microsoft.com/office/powerpoint/2010/main" val="1071060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7.12.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2508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 with Subheading" preserve="1" userDrawn="1">
  <p:cSld name="titles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60388" y="1484316"/>
            <a:ext cx="8785225" cy="575767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0388" y="2060849"/>
            <a:ext cx="8785225" cy="403197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7.12.2016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2113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s" preserve="1" userDrawn="1">
  <p:cSld name="two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60388" y="1484313"/>
            <a:ext cx="4248592" cy="46085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97019" y="1484313"/>
            <a:ext cx="4248593" cy="46085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7.12.2016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953000" y="1484313"/>
            <a:ext cx="0" cy="4608512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3306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preserve="1" userDrawn="1">
  <p:cSld name="comparison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60388" y="1484316"/>
            <a:ext cx="4248592" cy="575767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0388" y="2060849"/>
            <a:ext cx="4248592" cy="403197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97020" y="1484316"/>
            <a:ext cx="4248594" cy="575767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97020" y="2060852"/>
            <a:ext cx="4248594" cy="403197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7.12.2016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953000" y="1484313"/>
            <a:ext cx="0" cy="4608512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7474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three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60387" y="1484316"/>
            <a:ext cx="2736383" cy="575767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0387" y="2060578"/>
            <a:ext cx="2736383" cy="40322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585600" y="1484733"/>
            <a:ext cx="2736384" cy="575767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585600" y="2059200"/>
            <a:ext cx="2736384" cy="40322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3"/>
          </p:nvPr>
        </p:nvSpPr>
        <p:spPr>
          <a:xfrm>
            <a:off x="6609600" y="1484316"/>
            <a:ext cx="2736380" cy="575767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4"/>
          </p:nvPr>
        </p:nvSpPr>
        <p:spPr>
          <a:xfrm>
            <a:off x="6609600" y="2060578"/>
            <a:ext cx="2736380" cy="40322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6465600" y="1484313"/>
            <a:ext cx="0" cy="4608512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3441600" y="1484730"/>
            <a:ext cx="0" cy="4608512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dirty="0" smtClean="0"/>
              <a:t>7.12.2016</a:t>
            </a:r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90E5A77-D385-4CDE-8FE8-D3E3CBE93E7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4768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Picture 1/2" preserve="1" userDrawn="1">
  <p:cSld name="title_and_picture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0388" y="1484313"/>
            <a:ext cx="4248592" cy="46085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smtClean="0"/>
              <a:t>7.12.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97020" y="6"/>
            <a:ext cx="4808982" cy="6092820"/>
          </a:xfrm>
          <a:solidFill>
            <a:srgbClr val="EAEAEA"/>
          </a:solidFill>
        </p:spPr>
        <p:txBody>
          <a:bodyPr/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60388" y="476250"/>
            <a:ext cx="4248592" cy="72050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929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0388" y="476250"/>
            <a:ext cx="8785226" cy="7205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60388" y="1484318"/>
            <a:ext cx="8785226" cy="460851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47724" y="6345238"/>
            <a:ext cx="1440906" cy="252412"/>
          </a:xfrm>
          <a:prstGeom prst="rect">
            <a:avLst/>
          </a:prstGeom>
        </p:spPr>
        <p:txBody>
          <a:bodyPr vert="horz" lIns="72000" tIns="0" rIns="72000" bIns="0" rtlCol="0" anchor="ctr" anchorCtr="0">
            <a:noAutofit/>
          </a:bodyPr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7.12.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88630" y="6345238"/>
            <a:ext cx="5472760" cy="252412"/>
          </a:xfrm>
          <a:prstGeom prst="rect">
            <a:avLst/>
          </a:prstGeom>
        </p:spPr>
        <p:txBody>
          <a:bodyPr vert="horz" lIns="72000" tIns="0" rIns="72000" bIns="0" rtlCol="0" anchor="ctr" anchorCtr="0">
            <a:noAutofit/>
          </a:bodyPr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60387" y="6345241"/>
            <a:ext cx="287338" cy="252089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fld id="{F90E5A77-D385-4CDE-8FE8-D3E3CBE93E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(c)" hidden="1"/>
          <p:cNvSpPr txBox="1"/>
          <p:nvPr userDrawn="1"/>
        </p:nvSpPr>
        <p:spPr>
          <a:xfrm>
            <a:off x="9706585" y="6885480"/>
            <a:ext cx="193964" cy="307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fi-FI" sz="200" dirty="0">
                <a:solidFill>
                  <a:schemeClr val="bg1"/>
                </a:solidFill>
              </a:rPr>
              <a:t>©grow. for</a:t>
            </a:r>
            <a:r>
              <a:rPr lang="fi-FI" sz="200" baseline="0" dirty="0">
                <a:solidFill>
                  <a:schemeClr val="bg1"/>
                </a:solidFill>
              </a:rPr>
              <a:t> </a:t>
            </a:r>
            <a:r>
              <a:rPr lang="fi-FI" sz="200" baseline="0" dirty="0" smtClean="0">
                <a:solidFill>
                  <a:schemeClr val="bg1"/>
                </a:solidFill>
              </a:rPr>
              <a:t>fortum</a:t>
            </a:r>
            <a:endParaRPr lang="en-GB" sz="200" dirty="0">
              <a:solidFill>
                <a:schemeClr val="bg1"/>
              </a:solidFill>
            </a:endParaRPr>
          </a:p>
        </p:txBody>
      </p:sp>
      <p:sp>
        <p:nvSpPr>
          <p:cNvPr id="9" name="Fortum2016"/>
          <p:cNvSpPr>
            <a:spLocks noChangeAspect="1" noEditPoints="1"/>
          </p:cNvSpPr>
          <p:nvPr userDrawn="1"/>
        </p:nvSpPr>
        <p:spPr bwMode="auto">
          <a:xfrm>
            <a:off x="8125534" y="6308725"/>
            <a:ext cx="1220079" cy="288000"/>
          </a:xfrm>
          <a:custGeom>
            <a:avLst/>
            <a:gdLst>
              <a:gd name="T0" fmla="*/ 317 w 6630"/>
              <a:gd name="T1" fmla="*/ 622 h 1565"/>
              <a:gd name="T2" fmla="*/ 549 w 6630"/>
              <a:gd name="T3" fmla="*/ 281 h 1565"/>
              <a:gd name="T4" fmla="*/ 146 w 6630"/>
              <a:gd name="T5" fmla="*/ 254 h 1565"/>
              <a:gd name="T6" fmla="*/ 2 w 6630"/>
              <a:gd name="T7" fmla="*/ 668 h 1565"/>
              <a:gd name="T8" fmla="*/ 113 w 6630"/>
              <a:gd name="T9" fmla="*/ 1146 h 1565"/>
              <a:gd name="T10" fmla="*/ 417 w 6630"/>
              <a:gd name="T11" fmla="*/ 1452 h 1565"/>
              <a:gd name="T12" fmla="*/ 862 w 6630"/>
              <a:gd name="T13" fmla="*/ 1565 h 1565"/>
              <a:gd name="T14" fmla="*/ 1067 w 6630"/>
              <a:gd name="T15" fmla="*/ 1206 h 1565"/>
              <a:gd name="T16" fmla="*/ 718 w 6630"/>
              <a:gd name="T17" fmla="*/ 1244 h 1565"/>
              <a:gd name="T18" fmla="*/ 395 w 6630"/>
              <a:gd name="T19" fmla="*/ 1028 h 1565"/>
              <a:gd name="T20" fmla="*/ 689 w 6630"/>
              <a:gd name="T21" fmla="*/ 1169 h 1565"/>
              <a:gd name="T22" fmla="*/ 1039 w 6630"/>
              <a:gd name="T23" fmla="*/ 1148 h 1565"/>
              <a:gd name="T24" fmla="*/ 1292 w 6630"/>
              <a:gd name="T25" fmla="*/ 840 h 1565"/>
              <a:gd name="T26" fmla="*/ 1208 w 6630"/>
              <a:gd name="T27" fmla="*/ 435 h 1565"/>
              <a:gd name="T28" fmla="*/ 902 w 6630"/>
              <a:gd name="T29" fmla="*/ 264 h 1565"/>
              <a:gd name="T30" fmla="*/ 518 w 6630"/>
              <a:gd name="T31" fmla="*/ 388 h 1565"/>
              <a:gd name="T32" fmla="*/ 372 w 6630"/>
              <a:gd name="T33" fmla="*/ 702 h 1565"/>
              <a:gd name="T34" fmla="*/ 3593 w 6630"/>
              <a:gd name="T35" fmla="*/ 799 h 1565"/>
              <a:gd name="T36" fmla="*/ 3366 w 6630"/>
              <a:gd name="T37" fmla="*/ 869 h 1565"/>
              <a:gd name="T38" fmla="*/ 3297 w 6630"/>
              <a:gd name="T39" fmla="*/ 570 h 1565"/>
              <a:gd name="T40" fmla="*/ 3419 w 6630"/>
              <a:gd name="T41" fmla="*/ 595 h 1565"/>
              <a:gd name="T42" fmla="*/ 4253 w 6630"/>
              <a:gd name="T43" fmla="*/ 1275 h 1565"/>
              <a:gd name="T44" fmla="*/ 4022 w 6630"/>
              <a:gd name="T45" fmla="*/ 1243 h 1565"/>
              <a:gd name="T46" fmla="*/ 3739 w 6630"/>
              <a:gd name="T47" fmla="*/ 1222 h 1565"/>
              <a:gd name="T48" fmla="*/ 3881 w 6630"/>
              <a:gd name="T49" fmla="*/ 1458 h 1565"/>
              <a:gd name="T50" fmla="*/ 2979 w 6630"/>
              <a:gd name="T51" fmla="*/ 1024 h 1565"/>
              <a:gd name="T52" fmla="*/ 2840 w 6630"/>
              <a:gd name="T53" fmla="*/ 1384 h 1565"/>
              <a:gd name="T54" fmla="*/ 2563 w 6630"/>
              <a:gd name="T55" fmla="*/ 1502 h 1565"/>
              <a:gd name="T56" fmla="*/ 2237 w 6630"/>
              <a:gd name="T57" fmla="*/ 1402 h 1565"/>
              <a:gd name="T58" fmla="*/ 2085 w 6630"/>
              <a:gd name="T59" fmla="*/ 1074 h 1565"/>
              <a:gd name="T60" fmla="*/ 2179 w 6630"/>
              <a:gd name="T61" fmla="*/ 715 h 1565"/>
              <a:gd name="T62" fmla="*/ 2521 w 6630"/>
              <a:gd name="T63" fmla="*/ 546 h 1565"/>
              <a:gd name="T64" fmla="*/ 2907 w 6630"/>
              <a:gd name="T65" fmla="*/ 740 h 1565"/>
              <a:gd name="T66" fmla="*/ 2711 w 6630"/>
              <a:gd name="T67" fmla="*/ 938 h 1565"/>
              <a:gd name="T68" fmla="*/ 2584 w 6630"/>
              <a:gd name="T69" fmla="*/ 769 h 1565"/>
              <a:gd name="T70" fmla="*/ 2395 w 6630"/>
              <a:gd name="T71" fmla="*/ 833 h 1565"/>
              <a:gd name="T72" fmla="*/ 2349 w 6630"/>
              <a:gd name="T73" fmla="*/ 1090 h 1565"/>
              <a:gd name="T74" fmla="*/ 2495 w 6630"/>
              <a:gd name="T75" fmla="*/ 1278 h 1565"/>
              <a:gd name="T76" fmla="*/ 2670 w 6630"/>
              <a:gd name="T77" fmla="*/ 1213 h 1565"/>
              <a:gd name="T78" fmla="*/ 4906 w 6630"/>
              <a:gd name="T79" fmla="*/ 1070 h 1565"/>
              <a:gd name="T80" fmla="*/ 4796 w 6630"/>
              <a:gd name="T81" fmla="*/ 1276 h 1565"/>
              <a:gd name="T82" fmla="*/ 4627 w 6630"/>
              <a:gd name="T83" fmla="*/ 1221 h 1565"/>
              <a:gd name="T84" fmla="*/ 4342 w 6630"/>
              <a:gd name="T85" fmla="*/ 1149 h 1565"/>
              <a:gd name="T86" fmla="*/ 4475 w 6630"/>
              <a:gd name="T87" fmla="*/ 1421 h 1565"/>
              <a:gd name="T88" fmla="*/ 4831 w 6630"/>
              <a:gd name="T89" fmla="*/ 1494 h 1565"/>
              <a:gd name="T90" fmla="*/ 5106 w 6630"/>
              <a:gd name="T91" fmla="*/ 1336 h 1565"/>
              <a:gd name="T92" fmla="*/ 6626 w 6630"/>
              <a:gd name="T93" fmla="*/ 838 h 1565"/>
              <a:gd name="T94" fmla="*/ 6501 w 6630"/>
              <a:gd name="T95" fmla="*/ 594 h 1565"/>
              <a:gd name="T96" fmla="*/ 6231 w 6630"/>
              <a:gd name="T97" fmla="*/ 567 h 1565"/>
              <a:gd name="T98" fmla="*/ 6057 w 6630"/>
              <a:gd name="T99" fmla="*/ 735 h 1565"/>
              <a:gd name="T100" fmla="*/ 5910 w 6630"/>
              <a:gd name="T101" fmla="*/ 572 h 1565"/>
              <a:gd name="T102" fmla="*/ 5667 w 6630"/>
              <a:gd name="T103" fmla="*/ 579 h 1565"/>
              <a:gd name="T104" fmla="*/ 5264 w 6630"/>
              <a:gd name="T105" fmla="*/ 1024 h 1565"/>
              <a:gd name="T106" fmla="*/ 5598 w 6630"/>
              <a:gd name="T107" fmla="*/ 820 h 1565"/>
              <a:gd name="T108" fmla="*/ 5767 w 6630"/>
              <a:gd name="T109" fmla="*/ 817 h 1565"/>
              <a:gd name="T110" fmla="*/ 6077 w 6630"/>
              <a:gd name="T111" fmla="*/ 1011 h 1565"/>
              <a:gd name="T112" fmla="*/ 6169 w 6630"/>
              <a:gd name="T113" fmla="*/ 804 h 1565"/>
              <a:gd name="T114" fmla="*/ 6344 w 6630"/>
              <a:gd name="T115" fmla="*/ 837 h 1565"/>
              <a:gd name="T116" fmla="*/ 1972 w 6630"/>
              <a:gd name="T117" fmla="*/ 324 h 1565"/>
              <a:gd name="T118" fmla="*/ 2079 w 6630"/>
              <a:gd name="T119" fmla="*/ 777 h 1565"/>
              <a:gd name="T120" fmla="*/ 1685 w 6630"/>
              <a:gd name="T121" fmla="*/ 247 h 1565"/>
              <a:gd name="T122" fmla="*/ 1910 w 6630"/>
              <a:gd name="T123" fmla="*/ 98 h 15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630" h="1565">
                <a:moveTo>
                  <a:pt x="375" y="995"/>
                </a:moveTo>
                <a:lnTo>
                  <a:pt x="362" y="972"/>
                </a:lnTo>
                <a:lnTo>
                  <a:pt x="351" y="949"/>
                </a:lnTo>
                <a:lnTo>
                  <a:pt x="341" y="925"/>
                </a:lnTo>
                <a:lnTo>
                  <a:pt x="333" y="901"/>
                </a:lnTo>
                <a:lnTo>
                  <a:pt x="329" y="889"/>
                </a:lnTo>
                <a:lnTo>
                  <a:pt x="325" y="876"/>
                </a:lnTo>
                <a:lnTo>
                  <a:pt x="319" y="851"/>
                </a:lnTo>
                <a:lnTo>
                  <a:pt x="314" y="826"/>
                </a:lnTo>
                <a:lnTo>
                  <a:pt x="310" y="801"/>
                </a:lnTo>
                <a:lnTo>
                  <a:pt x="309" y="788"/>
                </a:lnTo>
                <a:lnTo>
                  <a:pt x="308" y="775"/>
                </a:lnTo>
                <a:lnTo>
                  <a:pt x="307" y="762"/>
                </a:lnTo>
                <a:lnTo>
                  <a:pt x="306" y="749"/>
                </a:lnTo>
                <a:lnTo>
                  <a:pt x="306" y="724"/>
                </a:lnTo>
                <a:lnTo>
                  <a:pt x="307" y="698"/>
                </a:lnTo>
                <a:lnTo>
                  <a:pt x="309" y="673"/>
                </a:lnTo>
                <a:lnTo>
                  <a:pt x="311" y="660"/>
                </a:lnTo>
                <a:lnTo>
                  <a:pt x="313" y="647"/>
                </a:lnTo>
                <a:lnTo>
                  <a:pt x="315" y="635"/>
                </a:lnTo>
                <a:lnTo>
                  <a:pt x="317" y="622"/>
                </a:lnTo>
                <a:lnTo>
                  <a:pt x="323" y="597"/>
                </a:lnTo>
                <a:lnTo>
                  <a:pt x="330" y="572"/>
                </a:lnTo>
                <a:lnTo>
                  <a:pt x="338" y="548"/>
                </a:lnTo>
                <a:lnTo>
                  <a:pt x="348" y="524"/>
                </a:lnTo>
                <a:lnTo>
                  <a:pt x="358" y="500"/>
                </a:lnTo>
                <a:lnTo>
                  <a:pt x="364" y="488"/>
                </a:lnTo>
                <a:lnTo>
                  <a:pt x="370" y="477"/>
                </a:lnTo>
                <a:lnTo>
                  <a:pt x="376" y="465"/>
                </a:lnTo>
                <a:lnTo>
                  <a:pt x="383" y="454"/>
                </a:lnTo>
                <a:lnTo>
                  <a:pt x="397" y="432"/>
                </a:lnTo>
                <a:lnTo>
                  <a:pt x="404" y="421"/>
                </a:lnTo>
                <a:lnTo>
                  <a:pt x="412" y="410"/>
                </a:lnTo>
                <a:lnTo>
                  <a:pt x="428" y="390"/>
                </a:lnTo>
                <a:lnTo>
                  <a:pt x="445" y="369"/>
                </a:lnTo>
                <a:lnTo>
                  <a:pt x="464" y="350"/>
                </a:lnTo>
                <a:lnTo>
                  <a:pt x="483" y="331"/>
                </a:lnTo>
                <a:lnTo>
                  <a:pt x="504" y="314"/>
                </a:lnTo>
                <a:lnTo>
                  <a:pt x="515" y="305"/>
                </a:lnTo>
                <a:lnTo>
                  <a:pt x="526" y="297"/>
                </a:lnTo>
                <a:lnTo>
                  <a:pt x="537" y="289"/>
                </a:lnTo>
                <a:lnTo>
                  <a:pt x="549" y="281"/>
                </a:lnTo>
                <a:lnTo>
                  <a:pt x="573" y="267"/>
                </a:lnTo>
                <a:lnTo>
                  <a:pt x="629" y="57"/>
                </a:lnTo>
                <a:lnTo>
                  <a:pt x="419" y="0"/>
                </a:lnTo>
                <a:lnTo>
                  <a:pt x="401" y="11"/>
                </a:lnTo>
                <a:lnTo>
                  <a:pt x="383" y="23"/>
                </a:lnTo>
                <a:lnTo>
                  <a:pt x="365" y="35"/>
                </a:lnTo>
                <a:lnTo>
                  <a:pt x="347" y="47"/>
                </a:lnTo>
                <a:lnTo>
                  <a:pt x="330" y="60"/>
                </a:lnTo>
                <a:lnTo>
                  <a:pt x="314" y="73"/>
                </a:lnTo>
                <a:lnTo>
                  <a:pt x="297" y="86"/>
                </a:lnTo>
                <a:lnTo>
                  <a:pt x="282" y="100"/>
                </a:lnTo>
                <a:lnTo>
                  <a:pt x="266" y="114"/>
                </a:lnTo>
                <a:lnTo>
                  <a:pt x="251" y="128"/>
                </a:lnTo>
                <a:lnTo>
                  <a:pt x="237" y="143"/>
                </a:lnTo>
                <a:lnTo>
                  <a:pt x="222" y="158"/>
                </a:lnTo>
                <a:lnTo>
                  <a:pt x="209" y="173"/>
                </a:lnTo>
                <a:lnTo>
                  <a:pt x="195" y="188"/>
                </a:lnTo>
                <a:lnTo>
                  <a:pt x="182" y="204"/>
                </a:lnTo>
                <a:lnTo>
                  <a:pt x="170" y="220"/>
                </a:lnTo>
                <a:lnTo>
                  <a:pt x="158" y="237"/>
                </a:lnTo>
                <a:lnTo>
                  <a:pt x="146" y="254"/>
                </a:lnTo>
                <a:lnTo>
                  <a:pt x="135" y="270"/>
                </a:lnTo>
                <a:lnTo>
                  <a:pt x="124" y="288"/>
                </a:lnTo>
                <a:lnTo>
                  <a:pt x="114" y="305"/>
                </a:lnTo>
                <a:lnTo>
                  <a:pt x="104" y="323"/>
                </a:lnTo>
                <a:lnTo>
                  <a:pt x="94" y="341"/>
                </a:lnTo>
                <a:lnTo>
                  <a:pt x="85" y="359"/>
                </a:lnTo>
                <a:lnTo>
                  <a:pt x="76" y="377"/>
                </a:lnTo>
                <a:lnTo>
                  <a:pt x="68" y="395"/>
                </a:lnTo>
                <a:lnTo>
                  <a:pt x="61" y="414"/>
                </a:lnTo>
                <a:lnTo>
                  <a:pt x="53" y="433"/>
                </a:lnTo>
                <a:lnTo>
                  <a:pt x="47" y="452"/>
                </a:lnTo>
                <a:lnTo>
                  <a:pt x="40" y="471"/>
                </a:lnTo>
                <a:lnTo>
                  <a:pt x="29" y="509"/>
                </a:lnTo>
                <a:lnTo>
                  <a:pt x="24" y="529"/>
                </a:lnTo>
                <a:lnTo>
                  <a:pt x="19" y="548"/>
                </a:lnTo>
                <a:lnTo>
                  <a:pt x="15" y="568"/>
                </a:lnTo>
                <a:lnTo>
                  <a:pt x="12" y="588"/>
                </a:lnTo>
                <a:lnTo>
                  <a:pt x="9" y="608"/>
                </a:lnTo>
                <a:lnTo>
                  <a:pt x="6" y="628"/>
                </a:lnTo>
                <a:lnTo>
                  <a:pt x="4" y="648"/>
                </a:lnTo>
                <a:lnTo>
                  <a:pt x="2" y="668"/>
                </a:lnTo>
                <a:lnTo>
                  <a:pt x="1" y="688"/>
                </a:lnTo>
                <a:lnTo>
                  <a:pt x="0" y="708"/>
                </a:lnTo>
                <a:lnTo>
                  <a:pt x="0" y="749"/>
                </a:lnTo>
                <a:lnTo>
                  <a:pt x="1" y="769"/>
                </a:lnTo>
                <a:lnTo>
                  <a:pt x="2" y="790"/>
                </a:lnTo>
                <a:lnTo>
                  <a:pt x="4" y="810"/>
                </a:lnTo>
                <a:lnTo>
                  <a:pt x="6" y="831"/>
                </a:lnTo>
                <a:lnTo>
                  <a:pt x="13" y="871"/>
                </a:lnTo>
                <a:lnTo>
                  <a:pt x="16" y="891"/>
                </a:lnTo>
                <a:lnTo>
                  <a:pt x="21" y="911"/>
                </a:lnTo>
                <a:lnTo>
                  <a:pt x="25" y="932"/>
                </a:lnTo>
                <a:lnTo>
                  <a:pt x="31" y="952"/>
                </a:lnTo>
                <a:lnTo>
                  <a:pt x="36" y="972"/>
                </a:lnTo>
                <a:lnTo>
                  <a:pt x="43" y="991"/>
                </a:lnTo>
                <a:lnTo>
                  <a:pt x="57" y="1031"/>
                </a:lnTo>
                <a:lnTo>
                  <a:pt x="65" y="1050"/>
                </a:lnTo>
                <a:lnTo>
                  <a:pt x="73" y="1070"/>
                </a:lnTo>
                <a:lnTo>
                  <a:pt x="82" y="1089"/>
                </a:lnTo>
                <a:lnTo>
                  <a:pt x="92" y="1108"/>
                </a:lnTo>
                <a:lnTo>
                  <a:pt x="102" y="1127"/>
                </a:lnTo>
                <a:lnTo>
                  <a:pt x="113" y="1146"/>
                </a:lnTo>
                <a:lnTo>
                  <a:pt x="124" y="1165"/>
                </a:lnTo>
                <a:lnTo>
                  <a:pt x="135" y="1183"/>
                </a:lnTo>
                <a:lnTo>
                  <a:pt x="147" y="1201"/>
                </a:lnTo>
                <a:lnTo>
                  <a:pt x="159" y="1218"/>
                </a:lnTo>
                <a:lnTo>
                  <a:pt x="172" y="1235"/>
                </a:lnTo>
                <a:lnTo>
                  <a:pt x="185" y="1252"/>
                </a:lnTo>
                <a:lnTo>
                  <a:pt x="198" y="1268"/>
                </a:lnTo>
                <a:lnTo>
                  <a:pt x="212" y="1284"/>
                </a:lnTo>
                <a:lnTo>
                  <a:pt x="226" y="1299"/>
                </a:lnTo>
                <a:lnTo>
                  <a:pt x="240" y="1314"/>
                </a:lnTo>
                <a:lnTo>
                  <a:pt x="255" y="1329"/>
                </a:lnTo>
                <a:lnTo>
                  <a:pt x="270" y="1343"/>
                </a:lnTo>
                <a:lnTo>
                  <a:pt x="285" y="1357"/>
                </a:lnTo>
                <a:lnTo>
                  <a:pt x="301" y="1370"/>
                </a:lnTo>
                <a:lnTo>
                  <a:pt x="317" y="1383"/>
                </a:lnTo>
                <a:lnTo>
                  <a:pt x="333" y="1396"/>
                </a:lnTo>
                <a:lnTo>
                  <a:pt x="349" y="1408"/>
                </a:lnTo>
                <a:lnTo>
                  <a:pt x="366" y="1419"/>
                </a:lnTo>
                <a:lnTo>
                  <a:pt x="383" y="1431"/>
                </a:lnTo>
                <a:lnTo>
                  <a:pt x="400" y="1441"/>
                </a:lnTo>
                <a:lnTo>
                  <a:pt x="417" y="1452"/>
                </a:lnTo>
                <a:lnTo>
                  <a:pt x="435" y="1462"/>
                </a:lnTo>
                <a:lnTo>
                  <a:pt x="453" y="1471"/>
                </a:lnTo>
                <a:lnTo>
                  <a:pt x="471" y="1480"/>
                </a:lnTo>
                <a:lnTo>
                  <a:pt x="489" y="1489"/>
                </a:lnTo>
                <a:lnTo>
                  <a:pt x="508" y="1497"/>
                </a:lnTo>
                <a:lnTo>
                  <a:pt x="526" y="1505"/>
                </a:lnTo>
                <a:lnTo>
                  <a:pt x="545" y="1512"/>
                </a:lnTo>
                <a:lnTo>
                  <a:pt x="564" y="1519"/>
                </a:lnTo>
                <a:lnTo>
                  <a:pt x="583" y="1525"/>
                </a:lnTo>
                <a:lnTo>
                  <a:pt x="622" y="1536"/>
                </a:lnTo>
                <a:lnTo>
                  <a:pt x="641" y="1541"/>
                </a:lnTo>
                <a:lnTo>
                  <a:pt x="661" y="1546"/>
                </a:lnTo>
                <a:lnTo>
                  <a:pt x="680" y="1550"/>
                </a:lnTo>
                <a:lnTo>
                  <a:pt x="700" y="1554"/>
                </a:lnTo>
                <a:lnTo>
                  <a:pt x="720" y="1557"/>
                </a:lnTo>
                <a:lnTo>
                  <a:pt x="740" y="1559"/>
                </a:lnTo>
                <a:lnTo>
                  <a:pt x="760" y="1561"/>
                </a:lnTo>
                <a:lnTo>
                  <a:pt x="780" y="1563"/>
                </a:lnTo>
                <a:lnTo>
                  <a:pt x="800" y="1564"/>
                </a:lnTo>
                <a:lnTo>
                  <a:pt x="821" y="1565"/>
                </a:lnTo>
                <a:lnTo>
                  <a:pt x="862" y="1565"/>
                </a:lnTo>
                <a:lnTo>
                  <a:pt x="882" y="1564"/>
                </a:lnTo>
                <a:lnTo>
                  <a:pt x="903" y="1563"/>
                </a:lnTo>
                <a:lnTo>
                  <a:pt x="923" y="1561"/>
                </a:lnTo>
                <a:lnTo>
                  <a:pt x="943" y="1559"/>
                </a:lnTo>
                <a:lnTo>
                  <a:pt x="984" y="1553"/>
                </a:lnTo>
                <a:lnTo>
                  <a:pt x="1004" y="1549"/>
                </a:lnTo>
                <a:lnTo>
                  <a:pt x="1024" y="1545"/>
                </a:lnTo>
                <a:lnTo>
                  <a:pt x="1044" y="1540"/>
                </a:lnTo>
                <a:lnTo>
                  <a:pt x="1064" y="1535"/>
                </a:lnTo>
                <a:lnTo>
                  <a:pt x="1084" y="1529"/>
                </a:lnTo>
                <a:lnTo>
                  <a:pt x="1104" y="1522"/>
                </a:lnTo>
                <a:lnTo>
                  <a:pt x="1143" y="1508"/>
                </a:lnTo>
                <a:lnTo>
                  <a:pt x="1163" y="1500"/>
                </a:lnTo>
                <a:lnTo>
                  <a:pt x="1182" y="1492"/>
                </a:lnTo>
                <a:lnTo>
                  <a:pt x="1202" y="1483"/>
                </a:lnTo>
                <a:lnTo>
                  <a:pt x="1221" y="1473"/>
                </a:lnTo>
                <a:lnTo>
                  <a:pt x="1240" y="1463"/>
                </a:lnTo>
                <a:lnTo>
                  <a:pt x="1259" y="1453"/>
                </a:lnTo>
                <a:lnTo>
                  <a:pt x="1105" y="1187"/>
                </a:lnTo>
                <a:lnTo>
                  <a:pt x="1080" y="1200"/>
                </a:lnTo>
                <a:lnTo>
                  <a:pt x="1067" y="1206"/>
                </a:lnTo>
                <a:lnTo>
                  <a:pt x="1055" y="1212"/>
                </a:lnTo>
                <a:lnTo>
                  <a:pt x="1029" y="1223"/>
                </a:lnTo>
                <a:lnTo>
                  <a:pt x="1016" y="1227"/>
                </a:lnTo>
                <a:lnTo>
                  <a:pt x="1004" y="1232"/>
                </a:lnTo>
                <a:lnTo>
                  <a:pt x="991" y="1236"/>
                </a:lnTo>
                <a:lnTo>
                  <a:pt x="978" y="1240"/>
                </a:lnTo>
                <a:lnTo>
                  <a:pt x="965" y="1243"/>
                </a:lnTo>
                <a:lnTo>
                  <a:pt x="952" y="1246"/>
                </a:lnTo>
                <a:lnTo>
                  <a:pt x="939" y="1248"/>
                </a:lnTo>
                <a:lnTo>
                  <a:pt x="926" y="1251"/>
                </a:lnTo>
                <a:lnTo>
                  <a:pt x="899" y="1254"/>
                </a:lnTo>
                <a:lnTo>
                  <a:pt x="873" y="1257"/>
                </a:lnTo>
                <a:lnTo>
                  <a:pt x="860" y="1257"/>
                </a:lnTo>
                <a:lnTo>
                  <a:pt x="847" y="1258"/>
                </a:lnTo>
                <a:lnTo>
                  <a:pt x="820" y="1257"/>
                </a:lnTo>
                <a:lnTo>
                  <a:pt x="794" y="1256"/>
                </a:lnTo>
                <a:lnTo>
                  <a:pt x="768" y="1253"/>
                </a:lnTo>
                <a:lnTo>
                  <a:pt x="756" y="1251"/>
                </a:lnTo>
                <a:lnTo>
                  <a:pt x="743" y="1249"/>
                </a:lnTo>
                <a:lnTo>
                  <a:pt x="730" y="1247"/>
                </a:lnTo>
                <a:lnTo>
                  <a:pt x="718" y="1244"/>
                </a:lnTo>
                <a:lnTo>
                  <a:pt x="693" y="1238"/>
                </a:lnTo>
                <a:lnTo>
                  <a:pt x="680" y="1234"/>
                </a:lnTo>
                <a:lnTo>
                  <a:pt x="668" y="1230"/>
                </a:lnTo>
                <a:lnTo>
                  <a:pt x="644" y="1222"/>
                </a:lnTo>
                <a:lnTo>
                  <a:pt x="632" y="1217"/>
                </a:lnTo>
                <a:lnTo>
                  <a:pt x="620" y="1212"/>
                </a:lnTo>
                <a:lnTo>
                  <a:pt x="597" y="1201"/>
                </a:lnTo>
                <a:lnTo>
                  <a:pt x="574" y="1189"/>
                </a:lnTo>
                <a:lnTo>
                  <a:pt x="552" y="1176"/>
                </a:lnTo>
                <a:lnTo>
                  <a:pt x="541" y="1170"/>
                </a:lnTo>
                <a:lnTo>
                  <a:pt x="531" y="1162"/>
                </a:lnTo>
                <a:lnTo>
                  <a:pt x="520" y="1155"/>
                </a:lnTo>
                <a:lnTo>
                  <a:pt x="510" y="1148"/>
                </a:lnTo>
                <a:lnTo>
                  <a:pt x="490" y="1132"/>
                </a:lnTo>
                <a:lnTo>
                  <a:pt x="471" y="1115"/>
                </a:lnTo>
                <a:lnTo>
                  <a:pt x="453" y="1097"/>
                </a:lnTo>
                <a:lnTo>
                  <a:pt x="444" y="1088"/>
                </a:lnTo>
                <a:lnTo>
                  <a:pt x="435" y="1078"/>
                </a:lnTo>
                <a:lnTo>
                  <a:pt x="418" y="1059"/>
                </a:lnTo>
                <a:lnTo>
                  <a:pt x="403" y="1038"/>
                </a:lnTo>
                <a:lnTo>
                  <a:pt x="395" y="1028"/>
                </a:lnTo>
                <a:lnTo>
                  <a:pt x="388" y="1017"/>
                </a:lnTo>
                <a:lnTo>
                  <a:pt x="381" y="1006"/>
                </a:lnTo>
                <a:lnTo>
                  <a:pt x="375" y="995"/>
                </a:lnTo>
                <a:close/>
                <a:moveTo>
                  <a:pt x="431" y="962"/>
                </a:moveTo>
                <a:lnTo>
                  <a:pt x="443" y="982"/>
                </a:lnTo>
                <a:lnTo>
                  <a:pt x="456" y="1000"/>
                </a:lnTo>
                <a:lnTo>
                  <a:pt x="469" y="1018"/>
                </a:lnTo>
                <a:lnTo>
                  <a:pt x="484" y="1035"/>
                </a:lnTo>
                <a:lnTo>
                  <a:pt x="499" y="1052"/>
                </a:lnTo>
                <a:lnTo>
                  <a:pt x="516" y="1067"/>
                </a:lnTo>
                <a:lnTo>
                  <a:pt x="532" y="1082"/>
                </a:lnTo>
                <a:lnTo>
                  <a:pt x="550" y="1096"/>
                </a:lnTo>
                <a:lnTo>
                  <a:pt x="568" y="1109"/>
                </a:lnTo>
                <a:lnTo>
                  <a:pt x="587" y="1121"/>
                </a:lnTo>
                <a:lnTo>
                  <a:pt x="597" y="1127"/>
                </a:lnTo>
                <a:lnTo>
                  <a:pt x="606" y="1133"/>
                </a:lnTo>
                <a:lnTo>
                  <a:pt x="626" y="1143"/>
                </a:lnTo>
                <a:lnTo>
                  <a:pt x="647" y="1153"/>
                </a:lnTo>
                <a:lnTo>
                  <a:pt x="667" y="1161"/>
                </a:lnTo>
                <a:lnTo>
                  <a:pt x="678" y="1165"/>
                </a:lnTo>
                <a:lnTo>
                  <a:pt x="689" y="1169"/>
                </a:lnTo>
                <a:lnTo>
                  <a:pt x="710" y="1175"/>
                </a:lnTo>
                <a:lnTo>
                  <a:pt x="721" y="1178"/>
                </a:lnTo>
                <a:lnTo>
                  <a:pt x="732" y="1181"/>
                </a:lnTo>
                <a:lnTo>
                  <a:pt x="743" y="1183"/>
                </a:lnTo>
                <a:lnTo>
                  <a:pt x="754" y="1185"/>
                </a:lnTo>
                <a:lnTo>
                  <a:pt x="777" y="1189"/>
                </a:lnTo>
                <a:lnTo>
                  <a:pt x="799" y="1191"/>
                </a:lnTo>
                <a:lnTo>
                  <a:pt x="811" y="1192"/>
                </a:lnTo>
                <a:lnTo>
                  <a:pt x="822" y="1193"/>
                </a:lnTo>
                <a:lnTo>
                  <a:pt x="846" y="1193"/>
                </a:lnTo>
                <a:lnTo>
                  <a:pt x="858" y="1193"/>
                </a:lnTo>
                <a:lnTo>
                  <a:pt x="869" y="1192"/>
                </a:lnTo>
                <a:lnTo>
                  <a:pt x="892" y="1190"/>
                </a:lnTo>
                <a:lnTo>
                  <a:pt x="904" y="1188"/>
                </a:lnTo>
                <a:lnTo>
                  <a:pt x="915" y="1187"/>
                </a:lnTo>
                <a:lnTo>
                  <a:pt x="938" y="1182"/>
                </a:lnTo>
                <a:lnTo>
                  <a:pt x="961" y="1177"/>
                </a:lnTo>
                <a:lnTo>
                  <a:pt x="984" y="1170"/>
                </a:lnTo>
                <a:lnTo>
                  <a:pt x="1006" y="1162"/>
                </a:lnTo>
                <a:lnTo>
                  <a:pt x="1028" y="1153"/>
                </a:lnTo>
                <a:lnTo>
                  <a:pt x="1039" y="1148"/>
                </a:lnTo>
                <a:lnTo>
                  <a:pt x="1050" y="1142"/>
                </a:lnTo>
                <a:lnTo>
                  <a:pt x="1072" y="1130"/>
                </a:lnTo>
                <a:lnTo>
                  <a:pt x="1093" y="1117"/>
                </a:lnTo>
                <a:lnTo>
                  <a:pt x="1104" y="1111"/>
                </a:lnTo>
                <a:lnTo>
                  <a:pt x="1114" y="1103"/>
                </a:lnTo>
                <a:lnTo>
                  <a:pt x="1133" y="1089"/>
                </a:lnTo>
                <a:lnTo>
                  <a:pt x="1151" y="1073"/>
                </a:lnTo>
                <a:lnTo>
                  <a:pt x="1160" y="1065"/>
                </a:lnTo>
                <a:lnTo>
                  <a:pt x="1169" y="1057"/>
                </a:lnTo>
                <a:lnTo>
                  <a:pt x="1185" y="1040"/>
                </a:lnTo>
                <a:lnTo>
                  <a:pt x="1200" y="1022"/>
                </a:lnTo>
                <a:lnTo>
                  <a:pt x="1215" y="1004"/>
                </a:lnTo>
                <a:lnTo>
                  <a:pt x="1228" y="985"/>
                </a:lnTo>
                <a:lnTo>
                  <a:pt x="1240" y="965"/>
                </a:lnTo>
                <a:lnTo>
                  <a:pt x="1246" y="955"/>
                </a:lnTo>
                <a:lnTo>
                  <a:pt x="1251" y="945"/>
                </a:lnTo>
                <a:lnTo>
                  <a:pt x="1262" y="925"/>
                </a:lnTo>
                <a:lnTo>
                  <a:pt x="1271" y="904"/>
                </a:lnTo>
                <a:lnTo>
                  <a:pt x="1279" y="883"/>
                </a:lnTo>
                <a:lnTo>
                  <a:pt x="1286" y="862"/>
                </a:lnTo>
                <a:lnTo>
                  <a:pt x="1292" y="840"/>
                </a:lnTo>
                <a:lnTo>
                  <a:pt x="1297" y="818"/>
                </a:lnTo>
                <a:lnTo>
                  <a:pt x="1301" y="796"/>
                </a:lnTo>
                <a:lnTo>
                  <a:pt x="1304" y="772"/>
                </a:lnTo>
                <a:lnTo>
                  <a:pt x="1306" y="750"/>
                </a:lnTo>
                <a:lnTo>
                  <a:pt x="1307" y="728"/>
                </a:lnTo>
                <a:lnTo>
                  <a:pt x="1307" y="705"/>
                </a:lnTo>
                <a:lnTo>
                  <a:pt x="1306" y="683"/>
                </a:lnTo>
                <a:lnTo>
                  <a:pt x="1303" y="661"/>
                </a:lnTo>
                <a:lnTo>
                  <a:pt x="1300" y="639"/>
                </a:lnTo>
                <a:lnTo>
                  <a:pt x="1296" y="617"/>
                </a:lnTo>
                <a:lnTo>
                  <a:pt x="1290" y="595"/>
                </a:lnTo>
                <a:lnTo>
                  <a:pt x="1284" y="573"/>
                </a:lnTo>
                <a:lnTo>
                  <a:pt x="1276" y="552"/>
                </a:lnTo>
                <a:lnTo>
                  <a:pt x="1272" y="542"/>
                </a:lnTo>
                <a:lnTo>
                  <a:pt x="1267" y="531"/>
                </a:lnTo>
                <a:lnTo>
                  <a:pt x="1262" y="521"/>
                </a:lnTo>
                <a:lnTo>
                  <a:pt x="1257" y="511"/>
                </a:lnTo>
                <a:lnTo>
                  <a:pt x="1247" y="491"/>
                </a:lnTo>
                <a:lnTo>
                  <a:pt x="1235" y="472"/>
                </a:lnTo>
                <a:lnTo>
                  <a:pt x="1222" y="453"/>
                </a:lnTo>
                <a:lnTo>
                  <a:pt x="1208" y="435"/>
                </a:lnTo>
                <a:lnTo>
                  <a:pt x="1194" y="418"/>
                </a:lnTo>
                <a:lnTo>
                  <a:pt x="1178" y="401"/>
                </a:lnTo>
                <a:lnTo>
                  <a:pt x="1162" y="386"/>
                </a:lnTo>
                <a:lnTo>
                  <a:pt x="1145" y="371"/>
                </a:lnTo>
                <a:lnTo>
                  <a:pt x="1128" y="357"/>
                </a:lnTo>
                <a:lnTo>
                  <a:pt x="1119" y="350"/>
                </a:lnTo>
                <a:lnTo>
                  <a:pt x="1110" y="344"/>
                </a:lnTo>
                <a:lnTo>
                  <a:pt x="1091" y="332"/>
                </a:lnTo>
                <a:lnTo>
                  <a:pt x="1082" y="326"/>
                </a:lnTo>
                <a:lnTo>
                  <a:pt x="1072" y="320"/>
                </a:lnTo>
                <a:lnTo>
                  <a:pt x="1052" y="310"/>
                </a:lnTo>
                <a:lnTo>
                  <a:pt x="1032" y="300"/>
                </a:lnTo>
                <a:lnTo>
                  <a:pt x="1011" y="292"/>
                </a:lnTo>
                <a:lnTo>
                  <a:pt x="1000" y="288"/>
                </a:lnTo>
                <a:lnTo>
                  <a:pt x="990" y="284"/>
                </a:lnTo>
                <a:lnTo>
                  <a:pt x="968" y="278"/>
                </a:lnTo>
                <a:lnTo>
                  <a:pt x="957" y="275"/>
                </a:lnTo>
                <a:lnTo>
                  <a:pt x="946" y="272"/>
                </a:lnTo>
                <a:lnTo>
                  <a:pt x="935" y="270"/>
                </a:lnTo>
                <a:lnTo>
                  <a:pt x="924" y="267"/>
                </a:lnTo>
                <a:lnTo>
                  <a:pt x="902" y="264"/>
                </a:lnTo>
                <a:lnTo>
                  <a:pt x="879" y="261"/>
                </a:lnTo>
                <a:lnTo>
                  <a:pt x="868" y="261"/>
                </a:lnTo>
                <a:lnTo>
                  <a:pt x="856" y="260"/>
                </a:lnTo>
                <a:lnTo>
                  <a:pt x="833" y="260"/>
                </a:lnTo>
                <a:lnTo>
                  <a:pt x="821" y="260"/>
                </a:lnTo>
                <a:lnTo>
                  <a:pt x="809" y="261"/>
                </a:lnTo>
                <a:lnTo>
                  <a:pt x="786" y="263"/>
                </a:lnTo>
                <a:lnTo>
                  <a:pt x="775" y="264"/>
                </a:lnTo>
                <a:lnTo>
                  <a:pt x="763" y="266"/>
                </a:lnTo>
                <a:lnTo>
                  <a:pt x="740" y="270"/>
                </a:lnTo>
                <a:lnTo>
                  <a:pt x="718" y="276"/>
                </a:lnTo>
                <a:lnTo>
                  <a:pt x="695" y="283"/>
                </a:lnTo>
                <a:lnTo>
                  <a:pt x="672" y="291"/>
                </a:lnTo>
                <a:lnTo>
                  <a:pt x="650" y="300"/>
                </a:lnTo>
                <a:lnTo>
                  <a:pt x="627" y="311"/>
                </a:lnTo>
                <a:lnTo>
                  <a:pt x="605" y="323"/>
                </a:lnTo>
                <a:lnTo>
                  <a:pt x="584" y="336"/>
                </a:lnTo>
                <a:lnTo>
                  <a:pt x="564" y="350"/>
                </a:lnTo>
                <a:lnTo>
                  <a:pt x="545" y="364"/>
                </a:lnTo>
                <a:lnTo>
                  <a:pt x="527" y="380"/>
                </a:lnTo>
                <a:lnTo>
                  <a:pt x="518" y="388"/>
                </a:lnTo>
                <a:lnTo>
                  <a:pt x="510" y="396"/>
                </a:lnTo>
                <a:lnTo>
                  <a:pt x="493" y="413"/>
                </a:lnTo>
                <a:lnTo>
                  <a:pt x="478" y="431"/>
                </a:lnTo>
                <a:lnTo>
                  <a:pt x="471" y="440"/>
                </a:lnTo>
                <a:lnTo>
                  <a:pt x="464" y="449"/>
                </a:lnTo>
                <a:lnTo>
                  <a:pt x="451" y="468"/>
                </a:lnTo>
                <a:lnTo>
                  <a:pt x="438" y="487"/>
                </a:lnTo>
                <a:lnTo>
                  <a:pt x="433" y="497"/>
                </a:lnTo>
                <a:lnTo>
                  <a:pt x="427" y="507"/>
                </a:lnTo>
                <a:lnTo>
                  <a:pt x="417" y="528"/>
                </a:lnTo>
                <a:lnTo>
                  <a:pt x="408" y="549"/>
                </a:lnTo>
                <a:lnTo>
                  <a:pt x="404" y="559"/>
                </a:lnTo>
                <a:lnTo>
                  <a:pt x="400" y="570"/>
                </a:lnTo>
                <a:lnTo>
                  <a:pt x="392" y="591"/>
                </a:lnTo>
                <a:lnTo>
                  <a:pt x="386" y="613"/>
                </a:lnTo>
                <a:lnTo>
                  <a:pt x="384" y="624"/>
                </a:lnTo>
                <a:lnTo>
                  <a:pt x="381" y="635"/>
                </a:lnTo>
                <a:lnTo>
                  <a:pt x="379" y="646"/>
                </a:lnTo>
                <a:lnTo>
                  <a:pt x="377" y="657"/>
                </a:lnTo>
                <a:lnTo>
                  <a:pt x="374" y="679"/>
                </a:lnTo>
                <a:lnTo>
                  <a:pt x="372" y="702"/>
                </a:lnTo>
                <a:lnTo>
                  <a:pt x="371" y="724"/>
                </a:lnTo>
                <a:lnTo>
                  <a:pt x="371" y="747"/>
                </a:lnTo>
                <a:lnTo>
                  <a:pt x="372" y="758"/>
                </a:lnTo>
                <a:lnTo>
                  <a:pt x="372" y="769"/>
                </a:lnTo>
                <a:lnTo>
                  <a:pt x="373" y="781"/>
                </a:lnTo>
                <a:lnTo>
                  <a:pt x="375" y="792"/>
                </a:lnTo>
                <a:lnTo>
                  <a:pt x="378" y="815"/>
                </a:lnTo>
                <a:lnTo>
                  <a:pt x="382" y="837"/>
                </a:lnTo>
                <a:lnTo>
                  <a:pt x="388" y="858"/>
                </a:lnTo>
                <a:lnTo>
                  <a:pt x="394" y="880"/>
                </a:lnTo>
                <a:lnTo>
                  <a:pt x="402" y="901"/>
                </a:lnTo>
                <a:lnTo>
                  <a:pt x="406" y="911"/>
                </a:lnTo>
                <a:lnTo>
                  <a:pt x="410" y="922"/>
                </a:lnTo>
                <a:lnTo>
                  <a:pt x="415" y="932"/>
                </a:lnTo>
                <a:lnTo>
                  <a:pt x="420" y="942"/>
                </a:lnTo>
                <a:lnTo>
                  <a:pt x="431" y="962"/>
                </a:lnTo>
                <a:close/>
                <a:moveTo>
                  <a:pt x="3652" y="820"/>
                </a:moveTo>
                <a:lnTo>
                  <a:pt x="3636" y="813"/>
                </a:lnTo>
                <a:lnTo>
                  <a:pt x="3621" y="807"/>
                </a:lnTo>
                <a:lnTo>
                  <a:pt x="3606" y="802"/>
                </a:lnTo>
                <a:lnTo>
                  <a:pt x="3593" y="799"/>
                </a:lnTo>
                <a:lnTo>
                  <a:pt x="3579" y="796"/>
                </a:lnTo>
                <a:lnTo>
                  <a:pt x="3564" y="795"/>
                </a:lnTo>
                <a:lnTo>
                  <a:pt x="3549" y="794"/>
                </a:lnTo>
                <a:lnTo>
                  <a:pt x="3533" y="793"/>
                </a:lnTo>
                <a:lnTo>
                  <a:pt x="3520" y="794"/>
                </a:lnTo>
                <a:lnTo>
                  <a:pt x="3507" y="795"/>
                </a:lnTo>
                <a:lnTo>
                  <a:pt x="3494" y="796"/>
                </a:lnTo>
                <a:lnTo>
                  <a:pt x="3488" y="797"/>
                </a:lnTo>
                <a:lnTo>
                  <a:pt x="3482" y="798"/>
                </a:lnTo>
                <a:lnTo>
                  <a:pt x="3470" y="801"/>
                </a:lnTo>
                <a:lnTo>
                  <a:pt x="3458" y="804"/>
                </a:lnTo>
                <a:lnTo>
                  <a:pt x="3447" y="808"/>
                </a:lnTo>
                <a:lnTo>
                  <a:pt x="3437" y="813"/>
                </a:lnTo>
                <a:lnTo>
                  <a:pt x="3426" y="818"/>
                </a:lnTo>
                <a:lnTo>
                  <a:pt x="3417" y="824"/>
                </a:lnTo>
                <a:lnTo>
                  <a:pt x="3407" y="830"/>
                </a:lnTo>
                <a:lnTo>
                  <a:pt x="3398" y="837"/>
                </a:lnTo>
                <a:lnTo>
                  <a:pt x="3389" y="844"/>
                </a:lnTo>
                <a:lnTo>
                  <a:pt x="3381" y="852"/>
                </a:lnTo>
                <a:lnTo>
                  <a:pt x="3373" y="860"/>
                </a:lnTo>
                <a:lnTo>
                  <a:pt x="3366" y="869"/>
                </a:lnTo>
                <a:lnTo>
                  <a:pt x="3359" y="878"/>
                </a:lnTo>
                <a:lnTo>
                  <a:pt x="3352" y="888"/>
                </a:lnTo>
                <a:lnTo>
                  <a:pt x="3346" y="899"/>
                </a:lnTo>
                <a:lnTo>
                  <a:pt x="3340" y="910"/>
                </a:lnTo>
                <a:lnTo>
                  <a:pt x="3335" y="921"/>
                </a:lnTo>
                <a:lnTo>
                  <a:pt x="3330" y="933"/>
                </a:lnTo>
                <a:lnTo>
                  <a:pt x="3325" y="945"/>
                </a:lnTo>
                <a:lnTo>
                  <a:pt x="3321" y="958"/>
                </a:lnTo>
                <a:lnTo>
                  <a:pt x="3318" y="971"/>
                </a:lnTo>
                <a:lnTo>
                  <a:pt x="3315" y="985"/>
                </a:lnTo>
                <a:lnTo>
                  <a:pt x="3312" y="999"/>
                </a:lnTo>
                <a:lnTo>
                  <a:pt x="3310" y="1013"/>
                </a:lnTo>
                <a:lnTo>
                  <a:pt x="3308" y="1028"/>
                </a:lnTo>
                <a:lnTo>
                  <a:pt x="3307" y="1044"/>
                </a:lnTo>
                <a:lnTo>
                  <a:pt x="3306" y="1059"/>
                </a:lnTo>
                <a:lnTo>
                  <a:pt x="3306" y="1076"/>
                </a:lnTo>
                <a:lnTo>
                  <a:pt x="3306" y="1478"/>
                </a:lnTo>
                <a:lnTo>
                  <a:pt x="3048" y="1478"/>
                </a:lnTo>
                <a:lnTo>
                  <a:pt x="3048" y="1024"/>
                </a:lnTo>
                <a:lnTo>
                  <a:pt x="3048" y="570"/>
                </a:lnTo>
                <a:lnTo>
                  <a:pt x="3297" y="570"/>
                </a:lnTo>
                <a:lnTo>
                  <a:pt x="3297" y="776"/>
                </a:lnTo>
                <a:lnTo>
                  <a:pt x="3300" y="764"/>
                </a:lnTo>
                <a:lnTo>
                  <a:pt x="3304" y="751"/>
                </a:lnTo>
                <a:lnTo>
                  <a:pt x="3308" y="739"/>
                </a:lnTo>
                <a:lnTo>
                  <a:pt x="3312" y="727"/>
                </a:lnTo>
                <a:lnTo>
                  <a:pt x="3317" y="716"/>
                </a:lnTo>
                <a:lnTo>
                  <a:pt x="3322" y="705"/>
                </a:lnTo>
                <a:lnTo>
                  <a:pt x="3327" y="694"/>
                </a:lnTo>
                <a:lnTo>
                  <a:pt x="3333" y="684"/>
                </a:lnTo>
                <a:lnTo>
                  <a:pt x="3339" y="674"/>
                </a:lnTo>
                <a:lnTo>
                  <a:pt x="3346" y="664"/>
                </a:lnTo>
                <a:lnTo>
                  <a:pt x="3352" y="655"/>
                </a:lnTo>
                <a:lnTo>
                  <a:pt x="3360" y="646"/>
                </a:lnTo>
                <a:lnTo>
                  <a:pt x="3367" y="638"/>
                </a:lnTo>
                <a:lnTo>
                  <a:pt x="3375" y="630"/>
                </a:lnTo>
                <a:lnTo>
                  <a:pt x="3383" y="622"/>
                </a:lnTo>
                <a:lnTo>
                  <a:pt x="3392" y="615"/>
                </a:lnTo>
                <a:lnTo>
                  <a:pt x="3396" y="611"/>
                </a:lnTo>
                <a:lnTo>
                  <a:pt x="3401" y="608"/>
                </a:lnTo>
                <a:lnTo>
                  <a:pt x="3410" y="601"/>
                </a:lnTo>
                <a:lnTo>
                  <a:pt x="3419" y="595"/>
                </a:lnTo>
                <a:lnTo>
                  <a:pt x="3429" y="590"/>
                </a:lnTo>
                <a:lnTo>
                  <a:pt x="3439" y="585"/>
                </a:lnTo>
                <a:lnTo>
                  <a:pt x="3450" y="580"/>
                </a:lnTo>
                <a:lnTo>
                  <a:pt x="3461" y="576"/>
                </a:lnTo>
                <a:lnTo>
                  <a:pt x="3472" y="572"/>
                </a:lnTo>
                <a:lnTo>
                  <a:pt x="3483" y="568"/>
                </a:lnTo>
                <a:lnTo>
                  <a:pt x="3495" y="565"/>
                </a:lnTo>
                <a:lnTo>
                  <a:pt x="3507" y="563"/>
                </a:lnTo>
                <a:lnTo>
                  <a:pt x="3519" y="561"/>
                </a:lnTo>
                <a:lnTo>
                  <a:pt x="3531" y="559"/>
                </a:lnTo>
                <a:lnTo>
                  <a:pt x="3544" y="558"/>
                </a:lnTo>
                <a:lnTo>
                  <a:pt x="3557" y="557"/>
                </a:lnTo>
                <a:lnTo>
                  <a:pt x="3571" y="557"/>
                </a:lnTo>
                <a:lnTo>
                  <a:pt x="3589" y="557"/>
                </a:lnTo>
                <a:lnTo>
                  <a:pt x="3599" y="558"/>
                </a:lnTo>
                <a:lnTo>
                  <a:pt x="3609" y="559"/>
                </a:lnTo>
                <a:lnTo>
                  <a:pt x="3629" y="562"/>
                </a:lnTo>
                <a:lnTo>
                  <a:pt x="3652" y="566"/>
                </a:lnTo>
                <a:lnTo>
                  <a:pt x="3652" y="820"/>
                </a:lnTo>
                <a:close/>
                <a:moveTo>
                  <a:pt x="4253" y="1478"/>
                </a:moveTo>
                <a:lnTo>
                  <a:pt x="4253" y="1275"/>
                </a:lnTo>
                <a:lnTo>
                  <a:pt x="4238" y="1278"/>
                </a:lnTo>
                <a:lnTo>
                  <a:pt x="4224" y="1281"/>
                </a:lnTo>
                <a:lnTo>
                  <a:pt x="4211" y="1283"/>
                </a:lnTo>
                <a:lnTo>
                  <a:pt x="4199" y="1284"/>
                </a:lnTo>
                <a:lnTo>
                  <a:pt x="4174" y="1286"/>
                </a:lnTo>
                <a:lnTo>
                  <a:pt x="4147" y="1286"/>
                </a:lnTo>
                <a:lnTo>
                  <a:pt x="4125" y="1286"/>
                </a:lnTo>
                <a:lnTo>
                  <a:pt x="4116" y="1285"/>
                </a:lnTo>
                <a:lnTo>
                  <a:pt x="4106" y="1284"/>
                </a:lnTo>
                <a:lnTo>
                  <a:pt x="4089" y="1281"/>
                </a:lnTo>
                <a:lnTo>
                  <a:pt x="4081" y="1280"/>
                </a:lnTo>
                <a:lnTo>
                  <a:pt x="4074" y="1278"/>
                </a:lnTo>
                <a:lnTo>
                  <a:pt x="4066" y="1275"/>
                </a:lnTo>
                <a:lnTo>
                  <a:pt x="4060" y="1272"/>
                </a:lnTo>
                <a:lnTo>
                  <a:pt x="4053" y="1269"/>
                </a:lnTo>
                <a:lnTo>
                  <a:pt x="4047" y="1266"/>
                </a:lnTo>
                <a:lnTo>
                  <a:pt x="4042" y="1262"/>
                </a:lnTo>
                <a:lnTo>
                  <a:pt x="4036" y="1258"/>
                </a:lnTo>
                <a:lnTo>
                  <a:pt x="4031" y="1253"/>
                </a:lnTo>
                <a:lnTo>
                  <a:pt x="4027" y="1248"/>
                </a:lnTo>
                <a:lnTo>
                  <a:pt x="4022" y="1243"/>
                </a:lnTo>
                <a:lnTo>
                  <a:pt x="4019" y="1238"/>
                </a:lnTo>
                <a:lnTo>
                  <a:pt x="4012" y="1225"/>
                </a:lnTo>
                <a:lnTo>
                  <a:pt x="4009" y="1218"/>
                </a:lnTo>
                <a:lnTo>
                  <a:pt x="4006" y="1211"/>
                </a:lnTo>
                <a:lnTo>
                  <a:pt x="4004" y="1203"/>
                </a:lnTo>
                <a:lnTo>
                  <a:pt x="4001" y="1195"/>
                </a:lnTo>
                <a:lnTo>
                  <a:pt x="3998" y="1178"/>
                </a:lnTo>
                <a:lnTo>
                  <a:pt x="3997" y="1168"/>
                </a:lnTo>
                <a:lnTo>
                  <a:pt x="3996" y="1158"/>
                </a:lnTo>
                <a:lnTo>
                  <a:pt x="3994" y="1137"/>
                </a:lnTo>
                <a:lnTo>
                  <a:pt x="3994" y="1114"/>
                </a:lnTo>
                <a:lnTo>
                  <a:pt x="3994" y="775"/>
                </a:lnTo>
                <a:lnTo>
                  <a:pt x="4242" y="775"/>
                </a:lnTo>
                <a:lnTo>
                  <a:pt x="4242" y="574"/>
                </a:lnTo>
                <a:lnTo>
                  <a:pt x="3994" y="574"/>
                </a:lnTo>
                <a:lnTo>
                  <a:pt x="3994" y="280"/>
                </a:lnTo>
                <a:lnTo>
                  <a:pt x="3736" y="426"/>
                </a:lnTo>
                <a:lnTo>
                  <a:pt x="3736" y="1160"/>
                </a:lnTo>
                <a:lnTo>
                  <a:pt x="3736" y="1182"/>
                </a:lnTo>
                <a:lnTo>
                  <a:pt x="3737" y="1202"/>
                </a:lnTo>
                <a:lnTo>
                  <a:pt x="3739" y="1222"/>
                </a:lnTo>
                <a:lnTo>
                  <a:pt x="3741" y="1241"/>
                </a:lnTo>
                <a:lnTo>
                  <a:pt x="3742" y="1251"/>
                </a:lnTo>
                <a:lnTo>
                  <a:pt x="3744" y="1260"/>
                </a:lnTo>
                <a:lnTo>
                  <a:pt x="3747" y="1278"/>
                </a:lnTo>
                <a:lnTo>
                  <a:pt x="3751" y="1295"/>
                </a:lnTo>
                <a:lnTo>
                  <a:pt x="3756" y="1311"/>
                </a:lnTo>
                <a:lnTo>
                  <a:pt x="3762" y="1326"/>
                </a:lnTo>
                <a:lnTo>
                  <a:pt x="3768" y="1341"/>
                </a:lnTo>
                <a:lnTo>
                  <a:pt x="3775" y="1355"/>
                </a:lnTo>
                <a:lnTo>
                  <a:pt x="3782" y="1369"/>
                </a:lnTo>
                <a:lnTo>
                  <a:pt x="3790" y="1381"/>
                </a:lnTo>
                <a:lnTo>
                  <a:pt x="3799" y="1393"/>
                </a:lnTo>
                <a:lnTo>
                  <a:pt x="3804" y="1399"/>
                </a:lnTo>
                <a:lnTo>
                  <a:pt x="3809" y="1405"/>
                </a:lnTo>
                <a:lnTo>
                  <a:pt x="3814" y="1410"/>
                </a:lnTo>
                <a:lnTo>
                  <a:pt x="3819" y="1415"/>
                </a:lnTo>
                <a:lnTo>
                  <a:pt x="3830" y="1425"/>
                </a:lnTo>
                <a:lnTo>
                  <a:pt x="3842" y="1434"/>
                </a:lnTo>
                <a:lnTo>
                  <a:pt x="3854" y="1443"/>
                </a:lnTo>
                <a:lnTo>
                  <a:pt x="3867" y="1451"/>
                </a:lnTo>
                <a:lnTo>
                  <a:pt x="3881" y="1458"/>
                </a:lnTo>
                <a:lnTo>
                  <a:pt x="3896" y="1465"/>
                </a:lnTo>
                <a:lnTo>
                  <a:pt x="3911" y="1470"/>
                </a:lnTo>
                <a:lnTo>
                  <a:pt x="3919" y="1473"/>
                </a:lnTo>
                <a:lnTo>
                  <a:pt x="3927" y="1476"/>
                </a:lnTo>
                <a:lnTo>
                  <a:pt x="3944" y="1480"/>
                </a:lnTo>
                <a:lnTo>
                  <a:pt x="3961" y="1484"/>
                </a:lnTo>
                <a:lnTo>
                  <a:pt x="3979" y="1488"/>
                </a:lnTo>
                <a:lnTo>
                  <a:pt x="3998" y="1491"/>
                </a:lnTo>
                <a:lnTo>
                  <a:pt x="4018" y="1493"/>
                </a:lnTo>
                <a:lnTo>
                  <a:pt x="4038" y="1494"/>
                </a:lnTo>
                <a:lnTo>
                  <a:pt x="4060" y="1495"/>
                </a:lnTo>
                <a:lnTo>
                  <a:pt x="4082" y="1495"/>
                </a:lnTo>
                <a:lnTo>
                  <a:pt x="4104" y="1495"/>
                </a:lnTo>
                <a:lnTo>
                  <a:pt x="4125" y="1495"/>
                </a:lnTo>
                <a:lnTo>
                  <a:pt x="4146" y="1493"/>
                </a:lnTo>
                <a:lnTo>
                  <a:pt x="4167" y="1492"/>
                </a:lnTo>
                <a:lnTo>
                  <a:pt x="4187" y="1490"/>
                </a:lnTo>
                <a:lnTo>
                  <a:pt x="4208" y="1487"/>
                </a:lnTo>
                <a:lnTo>
                  <a:pt x="4230" y="1483"/>
                </a:lnTo>
                <a:lnTo>
                  <a:pt x="4253" y="1478"/>
                </a:lnTo>
                <a:close/>
                <a:moveTo>
                  <a:pt x="2979" y="1024"/>
                </a:moveTo>
                <a:lnTo>
                  <a:pt x="2978" y="1050"/>
                </a:lnTo>
                <a:lnTo>
                  <a:pt x="2976" y="1075"/>
                </a:lnTo>
                <a:lnTo>
                  <a:pt x="2974" y="1100"/>
                </a:lnTo>
                <a:lnTo>
                  <a:pt x="2970" y="1125"/>
                </a:lnTo>
                <a:lnTo>
                  <a:pt x="2966" y="1149"/>
                </a:lnTo>
                <a:lnTo>
                  <a:pt x="2960" y="1172"/>
                </a:lnTo>
                <a:lnTo>
                  <a:pt x="2954" y="1195"/>
                </a:lnTo>
                <a:lnTo>
                  <a:pt x="2950" y="1206"/>
                </a:lnTo>
                <a:lnTo>
                  <a:pt x="2946" y="1217"/>
                </a:lnTo>
                <a:lnTo>
                  <a:pt x="2938" y="1238"/>
                </a:lnTo>
                <a:lnTo>
                  <a:pt x="2928" y="1259"/>
                </a:lnTo>
                <a:lnTo>
                  <a:pt x="2918" y="1279"/>
                </a:lnTo>
                <a:lnTo>
                  <a:pt x="2907" y="1299"/>
                </a:lnTo>
                <a:lnTo>
                  <a:pt x="2896" y="1317"/>
                </a:lnTo>
                <a:lnTo>
                  <a:pt x="2883" y="1335"/>
                </a:lnTo>
                <a:lnTo>
                  <a:pt x="2876" y="1344"/>
                </a:lnTo>
                <a:lnTo>
                  <a:pt x="2870" y="1352"/>
                </a:lnTo>
                <a:lnTo>
                  <a:pt x="2863" y="1360"/>
                </a:lnTo>
                <a:lnTo>
                  <a:pt x="2855" y="1368"/>
                </a:lnTo>
                <a:lnTo>
                  <a:pt x="2848" y="1376"/>
                </a:lnTo>
                <a:lnTo>
                  <a:pt x="2840" y="1384"/>
                </a:lnTo>
                <a:lnTo>
                  <a:pt x="2833" y="1391"/>
                </a:lnTo>
                <a:lnTo>
                  <a:pt x="2825" y="1399"/>
                </a:lnTo>
                <a:lnTo>
                  <a:pt x="2817" y="1406"/>
                </a:lnTo>
                <a:lnTo>
                  <a:pt x="2808" y="1412"/>
                </a:lnTo>
                <a:lnTo>
                  <a:pt x="2791" y="1425"/>
                </a:lnTo>
                <a:lnTo>
                  <a:pt x="2783" y="1431"/>
                </a:lnTo>
                <a:lnTo>
                  <a:pt x="2774" y="1437"/>
                </a:lnTo>
                <a:lnTo>
                  <a:pt x="2755" y="1448"/>
                </a:lnTo>
                <a:lnTo>
                  <a:pt x="2746" y="1453"/>
                </a:lnTo>
                <a:lnTo>
                  <a:pt x="2736" y="1458"/>
                </a:lnTo>
                <a:lnTo>
                  <a:pt x="2716" y="1467"/>
                </a:lnTo>
                <a:lnTo>
                  <a:pt x="2696" y="1476"/>
                </a:lnTo>
                <a:lnTo>
                  <a:pt x="2686" y="1479"/>
                </a:lnTo>
                <a:lnTo>
                  <a:pt x="2675" y="1483"/>
                </a:lnTo>
                <a:lnTo>
                  <a:pt x="2665" y="1486"/>
                </a:lnTo>
                <a:lnTo>
                  <a:pt x="2654" y="1489"/>
                </a:lnTo>
                <a:lnTo>
                  <a:pt x="2632" y="1494"/>
                </a:lnTo>
                <a:lnTo>
                  <a:pt x="2609" y="1498"/>
                </a:lnTo>
                <a:lnTo>
                  <a:pt x="2598" y="1499"/>
                </a:lnTo>
                <a:lnTo>
                  <a:pt x="2586" y="1501"/>
                </a:lnTo>
                <a:lnTo>
                  <a:pt x="2563" y="1502"/>
                </a:lnTo>
                <a:lnTo>
                  <a:pt x="2551" y="1503"/>
                </a:lnTo>
                <a:lnTo>
                  <a:pt x="2539" y="1503"/>
                </a:lnTo>
                <a:lnTo>
                  <a:pt x="2513" y="1502"/>
                </a:lnTo>
                <a:lnTo>
                  <a:pt x="2501" y="1502"/>
                </a:lnTo>
                <a:lnTo>
                  <a:pt x="2488" y="1501"/>
                </a:lnTo>
                <a:lnTo>
                  <a:pt x="2475" y="1500"/>
                </a:lnTo>
                <a:lnTo>
                  <a:pt x="2462" y="1498"/>
                </a:lnTo>
                <a:lnTo>
                  <a:pt x="2439" y="1494"/>
                </a:lnTo>
                <a:lnTo>
                  <a:pt x="2415" y="1489"/>
                </a:lnTo>
                <a:lnTo>
                  <a:pt x="2393" y="1484"/>
                </a:lnTo>
                <a:lnTo>
                  <a:pt x="2382" y="1480"/>
                </a:lnTo>
                <a:lnTo>
                  <a:pt x="2371" y="1477"/>
                </a:lnTo>
                <a:lnTo>
                  <a:pt x="2350" y="1469"/>
                </a:lnTo>
                <a:lnTo>
                  <a:pt x="2329" y="1460"/>
                </a:lnTo>
                <a:lnTo>
                  <a:pt x="2319" y="1455"/>
                </a:lnTo>
                <a:lnTo>
                  <a:pt x="2309" y="1450"/>
                </a:lnTo>
                <a:lnTo>
                  <a:pt x="2290" y="1440"/>
                </a:lnTo>
                <a:lnTo>
                  <a:pt x="2272" y="1428"/>
                </a:lnTo>
                <a:lnTo>
                  <a:pt x="2254" y="1415"/>
                </a:lnTo>
                <a:lnTo>
                  <a:pt x="2246" y="1409"/>
                </a:lnTo>
                <a:lnTo>
                  <a:pt x="2237" y="1402"/>
                </a:lnTo>
                <a:lnTo>
                  <a:pt x="2221" y="1388"/>
                </a:lnTo>
                <a:lnTo>
                  <a:pt x="2206" y="1372"/>
                </a:lnTo>
                <a:lnTo>
                  <a:pt x="2199" y="1364"/>
                </a:lnTo>
                <a:lnTo>
                  <a:pt x="2192" y="1356"/>
                </a:lnTo>
                <a:lnTo>
                  <a:pt x="2185" y="1348"/>
                </a:lnTo>
                <a:lnTo>
                  <a:pt x="2178" y="1339"/>
                </a:lnTo>
                <a:lnTo>
                  <a:pt x="2172" y="1330"/>
                </a:lnTo>
                <a:lnTo>
                  <a:pt x="2166" y="1321"/>
                </a:lnTo>
                <a:lnTo>
                  <a:pt x="2154" y="1303"/>
                </a:lnTo>
                <a:lnTo>
                  <a:pt x="2143" y="1283"/>
                </a:lnTo>
                <a:lnTo>
                  <a:pt x="2138" y="1273"/>
                </a:lnTo>
                <a:lnTo>
                  <a:pt x="2133" y="1263"/>
                </a:lnTo>
                <a:lnTo>
                  <a:pt x="2124" y="1242"/>
                </a:lnTo>
                <a:lnTo>
                  <a:pt x="2115" y="1220"/>
                </a:lnTo>
                <a:lnTo>
                  <a:pt x="2108" y="1197"/>
                </a:lnTo>
                <a:lnTo>
                  <a:pt x="2101" y="1174"/>
                </a:lnTo>
                <a:lnTo>
                  <a:pt x="2096" y="1150"/>
                </a:lnTo>
                <a:lnTo>
                  <a:pt x="2094" y="1138"/>
                </a:lnTo>
                <a:lnTo>
                  <a:pt x="2092" y="1125"/>
                </a:lnTo>
                <a:lnTo>
                  <a:pt x="2088" y="1100"/>
                </a:lnTo>
                <a:lnTo>
                  <a:pt x="2085" y="1074"/>
                </a:lnTo>
                <a:lnTo>
                  <a:pt x="2085" y="1061"/>
                </a:lnTo>
                <a:lnTo>
                  <a:pt x="2084" y="1047"/>
                </a:lnTo>
                <a:lnTo>
                  <a:pt x="2083" y="1020"/>
                </a:lnTo>
                <a:lnTo>
                  <a:pt x="2084" y="995"/>
                </a:lnTo>
                <a:lnTo>
                  <a:pt x="2085" y="983"/>
                </a:lnTo>
                <a:lnTo>
                  <a:pt x="2085" y="970"/>
                </a:lnTo>
                <a:lnTo>
                  <a:pt x="2088" y="946"/>
                </a:lnTo>
                <a:lnTo>
                  <a:pt x="2092" y="922"/>
                </a:lnTo>
                <a:lnTo>
                  <a:pt x="2096" y="899"/>
                </a:lnTo>
                <a:lnTo>
                  <a:pt x="2102" y="876"/>
                </a:lnTo>
                <a:lnTo>
                  <a:pt x="2108" y="854"/>
                </a:lnTo>
                <a:lnTo>
                  <a:pt x="2116" y="832"/>
                </a:lnTo>
                <a:lnTo>
                  <a:pt x="2124" y="811"/>
                </a:lnTo>
                <a:lnTo>
                  <a:pt x="2133" y="791"/>
                </a:lnTo>
                <a:lnTo>
                  <a:pt x="2138" y="781"/>
                </a:lnTo>
                <a:lnTo>
                  <a:pt x="2144" y="770"/>
                </a:lnTo>
                <a:lnTo>
                  <a:pt x="2155" y="751"/>
                </a:lnTo>
                <a:lnTo>
                  <a:pt x="2160" y="742"/>
                </a:lnTo>
                <a:lnTo>
                  <a:pt x="2166" y="732"/>
                </a:lnTo>
                <a:lnTo>
                  <a:pt x="2173" y="723"/>
                </a:lnTo>
                <a:lnTo>
                  <a:pt x="2179" y="715"/>
                </a:lnTo>
                <a:lnTo>
                  <a:pt x="2193" y="698"/>
                </a:lnTo>
                <a:lnTo>
                  <a:pt x="2207" y="681"/>
                </a:lnTo>
                <a:lnTo>
                  <a:pt x="2222" y="666"/>
                </a:lnTo>
                <a:lnTo>
                  <a:pt x="2238" y="651"/>
                </a:lnTo>
                <a:lnTo>
                  <a:pt x="2255" y="637"/>
                </a:lnTo>
                <a:lnTo>
                  <a:pt x="2272" y="624"/>
                </a:lnTo>
                <a:lnTo>
                  <a:pt x="2290" y="612"/>
                </a:lnTo>
                <a:lnTo>
                  <a:pt x="2309" y="601"/>
                </a:lnTo>
                <a:lnTo>
                  <a:pt x="2329" y="591"/>
                </a:lnTo>
                <a:lnTo>
                  <a:pt x="2349" y="582"/>
                </a:lnTo>
                <a:lnTo>
                  <a:pt x="2359" y="577"/>
                </a:lnTo>
                <a:lnTo>
                  <a:pt x="2370" y="573"/>
                </a:lnTo>
                <a:lnTo>
                  <a:pt x="2391" y="566"/>
                </a:lnTo>
                <a:lnTo>
                  <a:pt x="2413" y="560"/>
                </a:lnTo>
                <a:lnTo>
                  <a:pt x="2436" y="555"/>
                </a:lnTo>
                <a:lnTo>
                  <a:pt x="2447" y="553"/>
                </a:lnTo>
                <a:lnTo>
                  <a:pt x="2459" y="551"/>
                </a:lnTo>
                <a:lnTo>
                  <a:pt x="2471" y="549"/>
                </a:lnTo>
                <a:lnTo>
                  <a:pt x="2483" y="548"/>
                </a:lnTo>
                <a:lnTo>
                  <a:pt x="2508" y="546"/>
                </a:lnTo>
                <a:lnTo>
                  <a:pt x="2521" y="546"/>
                </a:lnTo>
                <a:lnTo>
                  <a:pt x="2533" y="545"/>
                </a:lnTo>
                <a:lnTo>
                  <a:pt x="2559" y="546"/>
                </a:lnTo>
                <a:lnTo>
                  <a:pt x="2585" y="548"/>
                </a:lnTo>
                <a:lnTo>
                  <a:pt x="2610" y="551"/>
                </a:lnTo>
                <a:lnTo>
                  <a:pt x="2634" y="554"/>
                </a:lnTo>
                <a:lnTo>
                  <a:pt x="2657" y="559"/>
                </a:lnTo>
                <a:lnTo>
                  <a:pt x="2679" y="566"/>
                </a:lnTo>
                <a:lnTo>
                  <a:pt x="2701" y="573"/>
                </a:lnTo>
                <a:lnTo>
                  <a:pt x="2722" y="581"/>
                </a:lnTo>
                <a:lnTo>
                  <a:pt x="2742" y="590"/>
                </a:lnTo>
                <a:lnTo>
                  <a:pt x="2762" y="600"/>
                </a:lnTo>
                <a:lnTo>
                  <a:pt x="2780" y="611"/>
                </a:lnTo>
                <a:lnTo>
                  <a:pt x="2798" y="623"/>
                </a:lnTo>
                <a:lnTo>
                  <a:pt x="2815" y="636"/>
                </a:lnTo>
                <a:lnTo>
                  <a:pt x="2832" y="650"/>
                </a:lnTo>
                <a:lnTo>
                  <a:pt x="2847" y="664"/>
                </a:lnTo>
                <a:lnTo>
                  <a:pt x="2862" y="680"/>
                </a:lnTo>
                <a:lnTo>
                  <a:pt x="2876" y="696"/>
                </a:lnTo>
                <a:lnTo>
                  <a:pt x="2889" y="713"/>
                </a:lnTo>
                <a:lnTo>
                  <a:pt x="2901" y="731"/>
                </a:lnTo>
                <a:lnTo>
                  <a:pt x="2907" y="740"/>
                </a:lnTo>
                <a:lnTo>
                  <a:pt x="2912" y="749"/>
                </a:lnTo>
                <a:lnTo>
                  <a:pt x="2917" y="759"/>
                </a:lnTo>
                <a:lnTo>
                  <a:pt x="2923" y="769"/>
                </a:lnTo>
                <a:lnTo>
                  <a:pt x="2932" y="790"/>
                </a:lnTo>
                <a:lnTo>
                  <a:pt x="2941" y="810"/>
                </a:lnTo>
                <a:lnTo>
                  <a:pt x="2949" y="832"/>
                </a:lnTo>
                <a:lnTo>
                  <a:pt x="2956" y="854"/>
                </a:lnTo>
                <a:lnTo>
                  <a:pt x="2962" y="876"/>
                </a:lnTo>
                <a:lnTo>
                  <a:pt x="2967" y="899"/>
                </a:lnTo>
                <a:lnTo>
                  <a:pt x="2971" y="923"/>
                </a:lnTo>
                <a:lnTo>
                  <a:pt x="2974" y="948"/>
                </a:lnTo>
                <a:lnTo>
                  <a:pt x="2977" y="972"/>
                </a:lnTo>
                <a:lnTo>
                  <a:pt x="2978" y="998"/>
                </a:lnTo>
                <a:lnTo>
                  <a:pt x="2979" y="1024"/>
                </a:lnTo>
                <a:close/>
                <a:moveTo>
                  <a:pt x="2718" y="1022"/>
                </a:moveTo>
                <a:lnTo>
                  <a:pt x="2718" y="1007"/>
                </a:lnTo>
                <a:lnTo>
                  <a:pt x="2717" y="992"/>
                </a:lnTo>
                <a:lnTo>
                  <a:pt x="2716" y="978"/>
                </a:lnTo>
                <a:lnTo>
                  <a:pt x="2715" y="964"/>
                </a:lnTo>
                <a:lnTo>
                  <a:pt x="2713" y="951"/>
                </a:lnTo>
                <a:lnTo>
                  <a:pt x="2711" y="938"/>
                </a:lnTo>
                <a:lnTo>
                  <a:pt x="2709" y="926"/>
                </a:lnTo>
                <a:lnTo>
                  <a:pt x="2706" y="913"/>
                </a:lnTo>
                <a:lnTo>
                  <a:pt x="2702" y="902"/>
                </a:lnTo>
                <a:lnTo>
                  <a:pt x="2699" y="890"/>
                </a:lnTo>
                <a:lnTo>
                  <a:pt x="2695" y="880"/>
                </a:lnTo>
                <a:lnTo>
                  <a:pt x="2690" y="869"/>
                </a:lnTo>
                <a:lnTo>
                  <a:pt x="2685" y="859"/>
                </a:lnTo>
                <a:lnTo>
                  <a:pt x="2680" y="850"/>
                </a:lnTo>
                <a:lnTo>
                  <a:pt x="2675" y="841"/>
                </a:lnTo>
                <a:lnTo>
                  <a:pt x="2669" y="832"/>
                </a:lnTo>
                <a:lnTo>
                  <a:pt x="2663" y="824"/>
                </a:lnTo>
                <a:lnTo>
                  <a:pt x="2657" y="816"/>
                </a:lnTo>
                <a:lnTo>
                  <a:pt x="2650" y="809"/>
                </a:lnTo>
                <a:lnTo>
                  <a:pt x="2643" y="802"/>
                </a:lnTo>
                <a:lnTo>
                  <a:pt x="2635" y="796"/>
                </a:lnTo>
                <a:lnTo>
                  <a:pt x="2627" y="791"/>
                </a:lnTo>
                <a:lnTo>
                  <a:pt x="2619" y="785"/>
                </a:lnTo>
                <a:lnTo>
                  <a:pt x="2611" y="781"/>
                </a:lnTo>
                <a:lnTo>
                  <a:pt x="2602" y="776"/>
                </a:lnTo>
                <a:lnTo>
                  <a:pt x="2593" y="772"/>
                </a:lnTo>
                <a:lnTo>
                  <a:pt x="2584" y="769"/>
                </a:lnTo>
                <a:lnTo>
                  <a:pt x="2574" y="767"/>
                </a:lnTo>
                <a:lnTo>
                  <a:pt x="2565" y="765"/>
                </a:lnTo>
                <a:lnTo>
                  <a:pt x="2554" y="763"/>
                </a:lnTo>
                <a:lnTo>
                  <a:pt x="2544" y="762"/>
                </a:lnTo>
                <a:lnTo>
                  <a:pt x="2533" y="762"/>
                </a:lnTo>
                <a:lnTo>
                  <a:pt x="2523" y="762"/>
                </a:lnTo>
                <a:lnTo>
                  <a:pt x="2512" y="763"/>
                </a:lnTo>
                <a:lnTo>
                  <a:pt x="2502" y="765"/>
                </a:lnTo>
                <a:lnTo>
                  <a:pt x="2492" y="767"/>
                </a:lnTo>
                <a:lnTo>
                  <a:pt x="2481" y="769"/>
                </a:lnTo>
                <a:lnTo>
                  <a:pt x="2472" y="772"/>
                </a:lnTo>
                <a:lnTo>
                  <a:pt x="2463" y="776"/>
                </a:lnTo>
                <a:lnTo>
                  <a:pt x="2454" y="781"/>
                </a:lnTo>
                <a:lnTo>
                  <a:pt x="2446" y="786"/>
                </a:lnTo>
                <a:lnTo>
                  <a:pt x="2437" y="791"/>
                </a:lnTo>
                <a:lnTo>
                  <a:pt x="2429" y="797"/>
                </a:lnTo>
                <a:lnTo>
                  <a:pt x="2422" y="803"/>
                </a:lnTo>
                <a:lnTo>
                  <a:pt x="2415" y="810"/>
                </a:lnTo>
                <a:lnTo>
                  <a:pt x="2408" y="817"/>
                </a:lnTo>
                <a:lnTo>
                  <a:pt x="2401" y="825"/>
                </a:lnTo>
                <a:lnTo>
                  <a:pt x="2395" y="833"/>
                </a:lnTo>
                <a:lnTo>
                  <a:pt x="2389" y="842"/>
                </a:lnTo>
                <a:lnTo>
                  <a:pt x="2383" y="851"/>
                </a:lnTo>
                <a:lnTo>
                  <a:pt x="2378" y="860"/>
                </a:lnTo>
                <a:lnTo>
                  <a:pt x="2373" y="870"/>
                </a:lnTo>
                <a:lnTo>
                  <a:pt x="2368" y="881"/>
                </a:lnTo>
                <a:lnTo>
                  <a:pt x="2364" y="891"/>
                </a:lnTo>
                <a:lnTo>
                  <a:pt x="2360" y="903"/>
                </a:lnTo>
                <a:lnTo>
                  <a:pt x="2357" y="914"/>
                </a:lnTo>
                <a:lnTo>
                  <a:pt x="2354" y="926"/>
                </a:lnTo>
                <a:lnTo>
                  <a:pt x="2351" y="939"/>
                </a:lnTo>
                <a:lnTo>
                  <a:pt x="2349" y="951"/>
                </a:lnTo>
                <a:lnTo>
                  <a:pt x="2347" y="964"/>
                </a:lnTo>
                <a:lnTo>
                  <a:pt x="2346" y="978"/>
                </a:lnTo>
                <a:lnTo>
                  <a:pt x="2344" y="991"/>
                </a:lnTo>
                <a:lnTo>
                  <a:pt x="2344" y="1005"/>
                </a:lnTo>
                <a:lnTo>
                  <a:pt x="2344" y="1020"/>
                </a:lnTo>
                <a:lnTo>
                  <a:pt x="2344" y="1034"/>
                </a:lnTo>
                <a:lnTo>
                  <a:pt x="2344" y="1049"/>
                </a:lnTo>
                <a:lnTo>
                  <a:pt x="2346" y="1063"/>
                </a:lnTo>
                <a:lnTo>
                  <a:pt x="2347" y="1076"/>
                </a:lnTo>
                <a:lnTo>
                  <a:pt x="2349" y="1090"/>
                </a:lnTo>
                <a:lnTo>
                  <a:pt x="2351" y="1103"/>
                </a:lnTo>
                <a:lnTo>
                  <a:pt x="2357" y="1127"/>
                </a:lnTo>
                <a:lnTo>
                  <a:pt x="2361" y="1139"/>
                </a:lnTo>
                <a:lnTo>
                  <a:pt x="2365" y="1150"/>
                </a:lnTo>
                <a:lnTo>
                  <a:pt x="2369" y="1162"/>
                </a:lnTo>
                <a:lnTo>
                  <a:pt x="2374" y="1172"/>
                </a:lnTo>
                <a:lnTo>
                  <a:pt x="2379" y="1182"/>
                </a:lnTo>
                <a:lnTo>
                  <a:pt x="2384" y="1192"/>
                </a:lnTo>
                <a:lnTo>
                  <a:pt x="2396" y="1210"/>
                </a:lnTo>
                <a:lnTo>
                  <a:pt x="2402" y="1219"/>
                </a:lnTo>
                <a:lnTo>
                  <a:pt x="2409" y="1227"/>
                </a:lnTo>
                <a:lnTo>
                  <a:pt x="2416" y="1234"/>
                </a:lnTo>
                <a:lnTo>
                  <a:pt x="2424" y="1241"/>
                </a:lnTo>
                <a:lnTo>
                  <a:pt x="2431" y="1247"/>
                </a:lnTo>
                <a:lnTo>
                  <a:pt x="2439" y="1253"/>
                </a:lnTo>
                <a:lnTo>
                  <a:pt x="2448" y="1259"/>
                </a:lnTo>
                <a:lnTo>
                  <a:pt x="2457" y="1264"/>
                </a:lnTo>
                <a:lnTo>
                  <a:pt x="2465" y="1268"/>
                </a:lnTo>
                <a:lnTo>
                  <a:pt x="2475" y="1272"/>
                </a:lnTo>
                <a:lnTo>
                  <a:pt x="2484" y="1275"/>
                </a:lnTo>
                <a:lnTo>
                  <a:pt x="2495" y="1278"/>
                </a:lnTo>
                <a:lnTo>
                  <a:pt x="2505" y="1280"/>
                </a:lnTo>
                <a:lnTo>
                  <a:pt x="2516" y="1281"/>
                </a:lnTo>
                <a:lnTo>
                  <a:pt x="2526" y="1282"/>
                </a:lnTo>
                <a:lnTo>
                  <a:pt x="2537" y="1283"/>
                </a:lnTo>
                <a:lnTo>
                  <a:pt x="2548" y="1282"/>
                </a:lnTo>
                <a:lnTo>
                  <a:pt x="2558" y="1281"/>
                </a:lnTo>
                <a:lnTo>
                  <a:pt x="2568" y="1280"/>
                </a:lnTo>
                <a:lnTo>
                  <a:pt x="2578" y="1278"/>
                </a:lnTo>
                <a:lnTo>
                  <a:pt x="2587" y="1275"/>
                </a:lnTo>
                <a:lnTo>
                  <a:pt x="2596" y="1272"/>
                </a:lnTo>
                <a:lnTo>
                  <a:pt x="2600" y="1271"/>
                </a:lnTo>
                <a:lnTo>
                  <a:pt x="2605" y="1269"/>
                </a:lnTo>
                <a:lnTo>
                  <a:pt x="2613" y="1264"/>
                </a:lnTo>
                <a:lnTo>
                  <a:pt x="2622" y="1260"/>
                </a:lnTo>
                <a:lnTo>
                  <a:pt x="2630" y="1255"/>
                </a:lnTo>
                <a:lnTo>
                  <a:pt x="2637" y="1249"/>
                </a:lnTo>
                <a:lnTo>
                  <a:pt x="2644" y="1243"/>
                </a:lnTo>
                <a:lnTo>
                  <a:pt x="2651" y="1236"/>
                </a:lnTo>
                <a:lnTo>
                  <a:pt x="2658" y="1229"/>
                </a:lnTo>
                <a:lnTo>
                  <a:pt x="2664" y="1221"/>
                </a:lnTo>
                <a:lnTo>
                  <a:pt x="2670" y="1213"/>
                </a:lnTo>
                <a:lnTo>
                  <a:pt x="2676" y="1204"/>
                </a:lnTo>
                <a:lnTo>
                  <a:pt x="2681" y="1195"/>
                </a:lnTo>
                <a:lnTo>
                  <a:pt x="2686" y="1185"/>
                </a:lnTo>
                <a:lnTo>
                  <a:pt x="2691" y="1175"/>
                </a:lnTo>
                <a:lnTo>
                  <a:pt x="2695" y="1165"/>
                </a:lnTo>
                <a:lnTo>
                  <a:pt x="2699" y="1154"/>
                </a:lnTo>
                <a:lnTo>
                  <a:pt x="2703" y="1142"/>
                </a:lnTo>
                <a:lnTo>
                  <a:pt x="2706" y="1131"/>
                </a:lnTo>
                <a:lnTo>
                  <a:pt x="2709" y="1118"/>
                </a:lnTo>
                <a:lnTo>
                  <a:pt x="2711" y="1106"/>
                </a:lnTo>
                <a:lnTo>
                  <a:pt x="2713" y="1093"/>
                </a:lnTo>
                <a:lnTo>
                  <a:pt x="2715" y="1079"/>
                </a:lnTo>
                <a:lnTo>
                  <a:pt x="2717" y="1065"/>
                </a:lnTo>
                <a:lnTo>
                  <a:pt x="2718" y="1051"/>
                </a:lnTo>
                <a:lnTo>
                  <a:pt x="2718" y="1037"/>
                </a:lnTo>
                <a:lnTo>
                  <a:pt x="2718" y="1022"/>
                </a:lnTo>
                <a:close/>
                <a:moveTo>
                  <a:pt x="5165" y="1037"/>
                </a:moveTo>
                <a:lnTo>
                  <a:pt x="5165" y="570"/>
                </a:lnTo>
                <a:lnTo>
                  <a:pt x="4907" y="570"/>
                </a:lnTo>
                <a:lnTo>
                  <a:pt x="4907" y="1037"/>
                </a:lnTo>
                <a:lnTo>
                  <a:pt x="4906" y="1070"/>
                </a:lnTo>
                <a:lnTo>
                  <a:pt x="4905" y="1100"/>
                </a:lnTo>
                <a:lnTo>
                  <a:pt x="4904" y="1114"/>
                </a:lnTo>
                <a:lnTo>
                  <a:pt x="4903" y="1127"/>
                </a:lnTo>
                <a:lnTo>
                  <a:pt x="4900" y="1152"/>
                </a:lnTo>
                <a:lnTo>
                  <a:pt x="4895" y="1174"/>
                </a:lnTo>
                <a:lnTo>
                  <a:pt x="4890" y="1194"/>
                </a:lnTo>
                <a:lnTo>
                  <a:pt x="4887" y="1203"/>
                </a:lnTo>
                <a:lnTo>
                  <a:pt x="4883" y="1211"/>
                </a:lnTo>
                <a:lnTo>
                  <a:pt x="4879" y="1219"/>
                </a:lnTo>
                <a:lnTo>
                  <a:pt x="4875" y="1226"/>
                </a:lnTo>
                <a:lnTo>
                  <a:pt x="4866" y="1240"/>
                </a:lnTo>
                <a:lnTo>
                  <a:pt x="4860" y="1245"/>
                </a:lnTo>
                <a:lnTo>
                  <a:pt x="4855" y="1251"/>
                </a:lnTo>
                <a:lnTo>
                  <a:pt x="4849" y="1255"/>
                </a:lnTo>
                <a:lnTo>
                  <a:pt x="4843" y="1260"/>
                </a:lnTo>
                <a:lnTo>
                  <a:pt x="4836" y="1264"/>
                </a:lnTo>
                <a:lnTo>
                  <a:pt x="4829" y="1267"/>
                </a:lnTo>
                <a:lnTo>
                  <a:pt x="4821" y="1270"/>
                </a:lnTo>
                <a:lnTo>
                  <a:pt x="4813" y="1273"/>
                </a:lnTo>
                <a:lnTo>
                  <a:pt x="4805" y="1275"/>
                </a:lnTo>
                <a:lnTo>
                  <a:pt x="4796" y="1276"/>
                </a:lnTo>
                <a:lnTo>
                  <a:pt x="4787" y="1278"/>
                </a:lnTo>
                <a:lnTo>
                  <a:pt x="4777" y="1279"/>
                </a:lnTo>
                <a:lnTo>
                  <a:pt x="4767" y="1279"/>
                </a:lnTo>
                <a:lnTo>
                  <a:pt x="4757" y="1279"/>
                </a:lnTo>
                <a:lnTo>
                  <a:pt x="4746" y="1279"/>
                </a:lnTo>
                <a:lnTo>
                  <a:pt x="4735" y="1279"/>
                </a:lnTo>
                <a:lnTo>
                  <a:pt x="4725" y="1278"/>
                </a:lnTo>
                <a:lnTo>
                  <a:pt x="4715" y="1276"/>
                </a:lnTo>
                <a:lnTo>
                  <a:pt x="4706" y="1275"/>
                </a:lnTo>
                <a:lnTo>
                  <a:pt x="4697" y="1273"/>
                </a:lnTo>
                <a:lnTo>
                  <a:pt x="4689" y="1270"/>
                </a:lnTo>
                <a:lnTo>
                  <a:pt x="4681" y="1267"/>
                </a:lnTo>
                <a:lnTo>
                  <a:pt x="4674" y="1264"/>
                </a:lnTo>
                <a:lnTo>
                  <a:pt x="4667" y="1260"/>
                </a:lnTo>
                <a:lnTo>
                  <a:pt x="4660" y="1256"/>
                </a:lnTo>
                <a:lnTo>
                  <a:pt x="4654" y="1251"/>
                </a:lnTo>
                <a:lnTo>
                  <a:pt x="4648" y="1246"/>
                </a:lnTo>
                <a:lnTo>
                  <a:pt x="4642" y="1241"/>
                </a:lnTo>
                <a:lnTo>
                  <a:pt x="4637" y="1235"/>
                </a:lnTo>
                <a:lnTo>
                  <a:pt x="4632" y="1228"/>
                </a:lnTo>
                <a:lnTo>
                  <a:pt x="4627" y="1221"/>
                </a:lnTo>
                <a:lnTo>
                  <a:pt x="4623" y="1214"/>
                </a:lnTo>
                <a:lnTo>
                  <a:pt x="4619" y="1206"/>
                </a:lnTo>
                <a:lnTo>
                  <a:pt x="4616" y="1197"/>
                </a:lnTo>
                <a:lnTo>
                  <a:pt x="4613" y="1188"/>
                </a:lnTo>
                <a:lnTo>
                  <a:pt x="4610" y="1179"/>
                </a:lnTo>
                <a:lnTo>
                  <a:pt x="4607" y="1169"/>
                </a:lnTo>
                <a:lnTo>
                  <a:pt x="4605" y="1158"/>
                </a:lnTo>
                <a:lnTo>
                  <a:pt x="4603" y="1147"/>
                </a:lnTo>
                <a:lnTo>
                  <a:pt x="4601" y="1135"/>
                </a:lnTo>
                <a:lnTo>
                  <a:pt x="4600" y="1123"/>
                </a:lnTo>
                <a:lnTo>
                  <a:pt x="4599" y="1110"/>
                </a:lnTo>
                <a:lnTo>
                  <a:pt x="4598" y="1096"/>
                </a:lnTo>
                <a:lnTo>
                  <a:pt x="4597" y="1082"/>
                </a:lnTo>
                <a:lnTo>
                  <a:pt x="4597" y="1052"/>
                </a:lnTo>
                <a:lnTo>
                  <a:pt x="4597" y="570"/>
                </a:lnTo>
                <a:lnTo>
                  <a:pt x="4338" y="570"/>
                </a:lnTo>
                <a:lnTo>
                  <a:pt x="4338" y="1048"/>
                </a:lnTo>
                <a:lnTo>
                  <a:pt x="4339" y="1067"/>
                </a:lnTo>
                <a:lnTo>
                  <a:pt x="4339" y="1084"/>
                </a:lnTo>
                <a:lnTo>
                  <a:pt x="4340" y="1118"/>
                </a:lnTo>
                <a:lnTo>
                  <a:pt x="4342" y="1149"/>
                </a:lnTo>
                <a:lnTo>
                  <a:pt x="4345" y="1178"/>
                </a:lnTo>
                <a:lnTo>
                  <a:pt x="4347" y="1192"/>
                </a:lnTo>
                <a:lnTo>
                  <a:pt x="4349" y="1205"/>
                </a:lnTo>
                <a:lnTo>
                  <a:pt x="4353" y="1230"/>
                </a:lnTo>
                <a:lnTo>
                  <a:pt x="4356" y="1242"/>
                </a:lnTo>
                <a:lnTo>
                  <a:pt x="4359" y="1254"/>
                </a:lnTo>
                <a:lnTo>
                  <a:pt x="4362" y="1265"/>
                </a:lnTo>
                <a:lnTo>
                  <a:pt x="4366" y="1275"/>
                </a:lnTo>
                <a:lnTo>
                  <a:pt x="4373" y="1296"/>
                </a:lnTo>
                <a:lnTo>
                  <a:pt x="4382" y="1315"/>
                </a:lnTo>
                <a:lnTo>
                  <a:pt x="4392" y="1333"/>
                </a:lnTo>
                <a:lnTo>
                  <a:pt x="4398" y="1341"/>
                </a:lnTo>
                <a:lnTo>
                  <a:pt x="4404" y="1350"/>
                </a:lnTo>
                <a:lnTo>
                  <a:pt x="4410" y="1358"/>
                </a:lnTo>
                <a:lnTo>
                  <a:pt x="4416" y="1366"/>
                </a:lnTo>
                <a:lnTo>
                  <a:pt x="4423" y="1373"/>
                </a:lnTo>
                <a:lnTo>
                  <a:pt x="4430" y="1381"/>
                </a:lnTo>
                <a:lnTo>
                  <a:pt x="4437" y="1388"/>
                </a:lnTo>
                <a:lnTo>
                  <a:pt x="4445" y="1396"/>
                </a:lnTo>
                <a:lnTo>
                  <a:pt x="4461" y="1410"/>
                </a:lnTo>
                <a:lnTo>
                  <a:pt x="4475" y="1421"/>
                </a:lnTo>
                <a:lnTo>
                  <a:pt x="4489" y="1431"/>
                </a:lnTo>
                <a:lnTo>
                  <a:pt x="4505" y="1440"/>
                </a:lnTo>
                <a:lnTo>
                  <a:pt x="4520" y="1449"/>
                </a:lnTo>
                <a:lnTo>
                  <a:pt x="4537" y="1457"/>
                </a:lnTo>
                <a:lnTo>
                  <a:pt x="4554" y="1464"/>
                </a:lnTo>
                <a:lnTo>
                  <a:pt x="4572" y="1471"/>
                </a:lnTo>
                <a:lnTo>
                  <a:pt x="4590" y="1477"/>
                </a:lnTo>
                <a:lnTo>
                  <a:pt x="4609" y="1482"/>
                </a:lnTo>
                <a:lnTo>
                  <a:pt x="4619" y="1484"/>
                </a:lnTo>
                <a:lnTo>
                  <a:pt x="4628" y="1486"/>
                </a:lnTo>
                <a:lnTo>
                  <a:pt x="4638" y="1489"/>
                </a:lnTo>
                <a:lnTo>
                  <a:pt x="4648" y="1490"/>
                </a:lnTo>
                <a:lnTo>
                  <a:pt x="4669" y="1494"/>
                </a:lnTo>
                <a:lnTo>
                  <a:pt x="4689" y="1496"/>
                </a:lnTo>
                <a:lnTo>
                  <a:pt x="4711" y="1498"/>
                </a:lnTo>
                <a:lnTo>
                  <a:pt x="4732" y="1499"/>
                </a:lnTo>
                <a:lnTo>
                  <a:pt x="4755" y="1499"/>
                </a:lnTo>
                <a:lnTo>
                  <a:pt x="4781" y="1499"/>
                </a:lnTo>
                <a:lnTo>
                  <a:pt x="4806" y="1497"/>
                </a:lnTo>
                <a:lnTo>
                  <a:pt x="4818" y="1496"/>
                </a:lnTo>
                <a:lnTo>
                  <a:pt x="4831" y="1494"/>
                </a:lnTo>
                <a:lnTo>
                  <a:pt x="4855" y="1491"/>
                </a:lnTo>
                <a:lnTo>
                  <a:pt x="4878" y="1486"/>
                </a:lnTo>
                <a:lnTo>
                  <a:pt x="4900" y="1480"/>
                </a:lnTo>
                <a:lnTo>
                  <a:pt x="4911" y="1477"/>
                </a:lnTo>
                <a:lnTo>
                  <a:pt x="4922" y="1474"/>
                </a:lnTo>
                <a:lnTo>
                  <a:pt x="4943" y="1466"/>
                </a:lnTo>
                <a:lnTo>
                  <a:pt x="4953" y="1462"/>
                </a:lnTo>
                <a:lnTo>
                  <a:pt x="4963" y="1457"/>
                </a:lnTo>
                <a:lnTo>
                  <a:pt x="4983" y="1448"/>
                </a:lnTo>
                <a:lnTo>
                  <a:pt x="5001" y="1437"/>
                </a:lnTo>
                <a:lnTo>
                  <a:pt x="5019" y="1426"/>
                </a:lnTo>
                <a:lnTo>
                  <a:pt x="5036" y="1413"/>
                </a:lnTo>
                <a:lnTo>
                  <a:pt x="5044" y="1407"/>
                </a:lnTo>
                <a:lnTo>
                  <a:pt x="5052" y="1400"/>
                </a:lnTo>
                <a:lnTo>
                  <a:pt x="5059" y="1393"/>
                </a:lnTo>
                <a:lnTo>
                  <a:pt x="5066" y="1386"/>
                </a:lnTo>
                <a:lnTo>
                  <a:pt x="5080" y="1370"/>
                </a:lnTo>
                <a:lnTo>
                  <a:pt x="5091" y="1357"/>
                </a:lnTo>
                <a:lnTo>
                  <a:pt x="5096" y="1350"/>
                </a:lnTo>
                <a:lnTo>
                  <a:pt x="5101" y="1344"/>
                </a:lnTo>
                <a:lnTo>
                  <a:pt x="5106" y="1336"/>
                </a:lnTo>
                <a:lnTo>
                  <a:pt x="5110" y="1329"/>
                </a:lnTo>
                <a:lnTo>
                  <a:pt x="5118" y="1314"/>
                </a:lnTo>
                <a:lnTo>
                  <a:pt x="5126" y="1298"/>
                </a:lnTo>
                <a:lnTo>
                  <a:pt x="5133" y="1280"/>
                </a:lnTo>
                <a:lnTo>
                  <a:pt x="5139" y="1262"/>
                </a:lnTo>
                <a:lnTo>
                  <a:pt x="5145" y="1243"/>
                </a:lnTo>
                <a:lnTo>
                  <a:pt x="5150" y="1222"/>
                </a:lnTo>
                <a:lnTo>
                  <a:pt x="5154" y="1200"/>
                </a:lnTo>
                <a:lnTo>
                  <a:pt x="5157" y="1177"/>
                </a:lnTo>
                <a:lnTo>
                  <a:pt x="5160" y="1152"/>
                </a:lnTo>
                <a:lnTo>
                  <a:pt x="5162" y="1126"/>
                </a:lnTo>
                <a:lnTo>
                  <a:pt x="5163" y="1112"/>
                </a:lnTo>
                <a:lnTo>
                  <a:pt x="5164" y="1098"/>
                </a:lnTo>
                <a:lnTo>
                  <a:pt x="5165" y="1068"/>
                </a:lnTo>
                <a:lnTo>
                  <a:pt x="5165" y="1037"/>
                </a:lnTo>
                <a:close/>
                <a:moveTo>
                  <a:pt x="6630" y="1478"/>
                </a:moveTo>
                <a:lnTo>
                  <a:pt x="6630" y="957"/>
                </a:lnTo>
                <a:lnTo>
                  <a:pt x="6629" y="905"/>
                </a:lnTo>
                <a:lnTo>
                  <a:pt x="6629" y="881"/>
                </a:lnTo>
                <a:lnTo>
                  <a:pt x="6628" y="859"/>
                </a:lnTo>
                <a:lnTo>
                  <a:pt x="6626" y="838"/>
                </a:lnTo>
                <a:lnTo>
                  <a:pt x="6625" y="819"/>
                </a:lnTo>
                <a:lnTo>
                  <a:pt x="6623" y="801"/>
                </a:lnTo>
                <a:lnTo>
                  <a:pt x="6620" y="784"/>
                </a:lnTo>
                <a:lnTo>
                  <a:pt x="6617" y="767"/>
                </a:lnTo>
                <a:lnTo>
                  <a:pt x="6614" y="752"/>
                </a:lnTo>
                <a:lnTo>
                  <a:pt x="6611" y="738"/>
                </a:lnTo>
                <a:lnTo>
                  <a:pt x="6607" y="725"/>
                </a:lnTo>
                <a:lnTo>
                  <a:pt x="6602" y="713"/>
                </a:lnTo>
                <a:lnTo>
                  <a:pt x="6597" y="701"/>
                </a:lnTo>
                <a:lnTo>
                  <a:pt x="6592" y="690"/>
                </a:lnTo>
                <a:lnTo>
                  <a:pt x="6586" y="680"/>
                </a:lnTo>
                <a:lnTo>
                  <a:pt x="6582" y="672"/>
                </a:lnTo>
                <a:lnTo>
                  <a:pt x="6577" y="665"/>
                </a:lnTo>
                <a:lnTo>
                  <a:pt x="6567" y="651"/>
                </a:lnTo>
                <a:lnTo>
                  <a:pt x="6561" y="645"/>
                </a:lnTo>
                <a:lnTo>
                  <a:pt x="6556" y="638"/>
                </a:lnTo>
                <a:lnTo>
                  <a:pt x="6543" y="626"/>
                </a:lnTo>
                <a:lnTo>
                  <a:pt x="6530" y="615"/>
                </a:lnTo>
                <a:lnTo>
                  <a:pt x="6523" y="609"/>
                </a:lnTo>
                <a:lnTo>
                  <a:pt x="6516" y="604"/>
                </a:lnTo>
                <a:lnTo>
                  <a:pt x="6501" y="594"/>
                </a:lnTo>
                <a:lnTo>
                  <a:pt x="6485" y="586"/>
                </a:lnTo>
                <a:lnTo>
                  <a:pt x="6477" y="582"/>
                </a:lnTo>
                <a:lnTo>
                  <a:pt x="6468" y="578"/>
                </a:lnTo>
                <a:lnTo>
                  <a:pt x="6451" y="571"/>
                </a:lnTo>
                <a:lnTo>
                  <a:pt x="6433" y="565"/>
                </a:lnTo>
                <a:lnTo>
                  <a:pt x="6414" y="560"/>
                </a:lnTo>
                <a:lnTo>
                  <a:pt x="6405" y="558"/>
                </a:lnTo>
                <a:lnTo>
                  <a:pt x="6395" y="556"/>
                </a:lnTo>
                <a:lnTo>
                  <a:pt x="6375" y="553"/>
                </a:lnTo>
                <a:lnTo>
                  <a:pt x="6355" y="552"/>
                </a:lnTo>
                <a:lnTo>
                  <a:pt x="6345" y="551"/>
                </a:lnTo>
                <a:lnTo>
                  <a:pt x="6335" y="551"/>
                </a:lnTo>
                <a:lnTo>
                  <a:pt x="6322" y="551"/>
                </a:lnTo>
                <a:lnTo>
                  <a:pt x="6310" y="552"/>
                </a:lnTo>
                <a:lnTo>
                  <a:pt x="6298" y="553"/>
                </a:lnTo>
                <a:lnTo>
                  <a:pt x="6286" y="554"/>
                </a:lnTo>
                <a:lnTo>
                  <a:pt x="6275" y="556"/>
                </a:lnTo>
                <a:lnTo>
                  <a:pt x="6264" y="558"/>
                </a:lnTo>
                <a:lnTo>
                  <a:pt x="6253" y="561"/>
                </a:lnTo>
                <a:lnTo>
                  <a:pt x="6242" y="564"/>
                </a:lnTo>
                <a:lnTo>
                  <a:pt x="6231" y="567"/>
                </a:lnTo>
                <a:lnTo>
                  <a:pt x="6221" y="571"/>
                </a:lnTo>
                <a:lnTo>
                  <a:pt x="6211" y="575"/>
                </a:lnTo>
                <a:lnTo>
                  <a:pt x="6201" y="580"/>
                </a:lnTo>
                <a:lnTo>
                  <a:pt x="6191" y="585"/>
                </a:lnTo>
                <a:lnTo>
                  <a:pt x="6181" y="590"/>
                </a:lnTo>
                <a:lnTo>
                  <a:pt x="6172" y="596"/>
                </a:lnTo>
                <a:lnTo>
                  <a:pt x="6163" y="602"/>
                </a:lnTo>
                <a:lnTo>
                  <a:pt x="6154" y="609"/>
                </a:lnTo>
                <a:lnTo>
                  <a:pt x="6146" y="616"/>
                </a:lnTo>
                <a:lnTo>
                  <a:pt x="6137" y="624"/>
                </a:lnTo>
                <a:lnTo>
                  <a:pt x="6129" y="632"/>
                </a:lnTo>
                <a:lnTo>
                  <a:pt x="6121" y="640"/>
                </a:lnTo>
                <a:lnTo>
                  <a:pt x="6113" y="649"/>
                </a:lnTo>
                <a:lnTo>
                  <a:pt x="6105" y="658"/>
                </a:lnTo>
                <a:lnTo>
                  <a:pt x="6098" y="668"/>
                </a:lnTo>
                <a:lnTo>
                  <a:pt x="6091" y="678"/>
                </a:lnTo>
                <a:lnTo>
                  <a:pt x="6084" y="688"/>
                </a:lnTo>
                <a:lnTo>
                  <a:pt x="6077" y="699"/>
                </a:lnTo>
                <a:lnTo>
                  <a:pt x="6070" y="711"/>
                </a:lnTo>
                <a:lnTo>
                  <a:pt x="6064" y="723"/>
                </a:lnTo>
                <a:lnTo>
                  <a:pt x="6057" y="735"/>
                </a:lnTo>
                <a:lnTo>
                  <a:pt x="6051" y="748"/>
                </a:lnTo>
                <a:lnTo>
                  <a:pt x="6045" y="761"/>
                </a:lnTo>
                <a:lnTo>
                  <a:pt x="6039" y="736"/>
                </a:lnTo>
                <a:lnTo>
                  <a:pt x="6035" y="724"/>
                </a:lnTo>
                <a:lnTo>
                  <a:pt x="6031" y="712"/>
                </a:lnTo>
                <a:lnTo>
                  <a:pt x="6022" y="690"/>
                </a:lnTo>
                <a:lnTo>
                  <a:pt x="6017" y="679"/>
                </a:lnTo>
                <a:lnTo>
                  <a:pt x="6012" y="669"/>
                </a:lnTo>
                <a:lnTo>
                  <a:pt x="6001" y="650"/>
                </a:lnTo>
                <a:lnTo>
                  <a:pt x="5995" y="642"/>
                </a:lnTo>
                <a:lnTo>
                  <a:pt x="5989" y="633"/>
                </a:lnTo>
                <a:lnTo>
                  <a:pt x="5982" y="625"/>
                </a:lnTo>
                <a:lnTo>
                  <a:pt x="5975" y="618"/>
                </a:lnTo>
                <a:lnTo>
                  <a:pt x="5968" y="610"/>
                </a:lnTo>
                <a:lnTo>
                  <a:pt x="5961" y="604"/>
                </a:lnTo>
                <a:lnTo>
                  <a:pt x="5953" y="597"/>
                </a:lnTo>
                <a:lnTo>
                  <a:pt x="5945" y="591"/>
                </a:lnTo>
                <a:lnTo>
                  <a:pt x="5937" y="586"/>
                </a:lnTo>
                <a:lnTo>
                  <a:pt x="5928" y="581"/>
                </a:lnTo>
                <a:lnTo>
                  <a:pt x="5919" y="576"/>
                </a:lnTo>
                <a:lnTo>
                  <a:pt x="5910" y="572"/>
                </a:lnTo>
                <a:lnTo>
                  <a:pt x="5900" y="568"/>
                </a:lnTo>
                <a:lnTo>
                  <a:pt x="5890" y="564"/>
                </a:lnTo>
                <a:lnTo>
                  <a:pt x="5880" y="561"/>
                </a:lnTo>
                <a:lnTo>
                  <a:pt x="5870" y="558"/>
                </a:lnTo>
                <a:lnTo>
                  <a:pt x="5859" y="556"/>
                </a:lnTo>
                <a:lnTo>
                  <a:pt x="5848" y="554"/>
                </a:lnTo>
                <a:lnTo>
                  <a:pt x="5837" y="553"/>
                </a:lnTo>
                <a:lnTo>
                  <a:pt x="5825" y="552"/>
                </a:lnTo>
                <a:lnTo>
                  <a:pt x="5813" y="551"/>
                </a:lnTo>
                <a:lnTo>
                  <a:pt x="5801" y="551"/>
                </a:lnTo>
                <a:lnTo>
                  <a:pt x="5775" y="552"/>
                </a:lnTo>
                <a:lnTo>
                  <a:pt x="5763" y="553"/>
                </a:lnTo>
                <a:lnTo>
                  <a:pt x="5751" y="554"/>
                </a:lnTo>
                <a:lnTo>
                  <a:pt x="5740" y="556"/>
                </a:lnTo>
                <a:lnTo>
                  <a:pt x="5729" y="558"/>
                </a:lnTo>
                <a:lnTo>
                  <a:pt x="5718" y="560"/>
                </a:lnTo>
                <a:lnTo>
                  <a:pt x="5707" y="563"/>
                </a:lnTo>
                <a:lnTo>
                  <a:pt x="5697" y="567"/>
                </a:lnTo>
                <a:lnTo>
                  <a:pt x="5687" y="570"/>
                </a:lnTo>
                <a:lnTo>
                  <a:pt x="5677" y="574"/>
                </a:lnTo>
                <a:lnTo>
                  <a:pt x="5667" y="579"/>
                </a:lnTo>
                <a:lnTo>
                  <a:pt x="5658" y="584"/>
                </a:lnTo>
                <a:lnTo>
                  <a:pt x="5649" y="589"/>
                </a:lnTo>
                <a:lnTo>
                  <a:pt x="5640" y="595"/>
                </a:lnTo>
                <a:lnTo>
                  <a:pt x="5631" y="601"/>
                </a:lnTo>
                <a:lnTo>
                  <a:pt x="5622" y="607"/>
                </a:lnTo>
                <a:lnTo>
                  <a:pt x="5614" y="614"/>
                </a:lnTo>
                <a:lnTo>
                  <a:pt x="5606" y="622"/>
                </a:lnTo>
                <a:lnTo>
                  <a:pt x="5598" y="629"/>
                </a:lnTo>
                <a:lnTo>
                  <a:pt x="5590" y="637"/>
                </a:lnTo>
                <a:lnTo>
                  <a:pt x="5582" y="646"/>
                </a:lnTo>
                <a:lnTo>
                  <a:pt x="5575" y="655"/>
                </a:lnTo>
                <a:lnTo>
                  <a:pt x="5568" y="665"/>
                </a:lnTo>
                <a:lnTo>
                  <a:pt x="5553" y="685"/>
                </a:lnTo>
                <a:lnTo>
                  <a:pt x="5546" y="695"/>
                </a:lnTo>
                <a:lnTo>
                  <a:pt x="5540" y="707"/>
                </a:lnTo>
                <a:lnTo>
                  <a:pt x="5533" y="718"/>
                </a:lnTo>
                <a:lnTo>
                  <a:pt x="5526" y="730"/>
                </a:lnTo>
                <a:lnTo>
                  <a:pt x="5513" y="756"/>
                </a:lnTo>
                <a:lnTo>
                  <a:pt x="5513" y="570"/>
                </a:lnTo>
                <a:lnTo>
                  <a:pt x="5264" y="570"/>
                </a:lnTo>
                <a:lnTo>
                  <a:pt x="5264" y="1024"/>
                </a:lnTo>
                <a:lnTo>
                  <a:pt x="5264" y="1478"/>
                </a:lnTo>
                <a:lnTo>
                  <a:pt x="5523" y="1478"/>
                </a:lnTo>
                <a:lnTo>
                  <a:pt x="5523" y="1057"/>
                </a:lnTo>
                <a:lnTo>
                  <a:pt x="5523" y="1035"/>
                </a:lnTo>
                <a:lnTo>
                  <a:pt x="5523" y="1015"/>
                </a:lnTo>
                <a:lnTo>
                  <a:pt x="5524" y="997"/>
                </a:lnTo>
                <a:lnTo>
                  <a:pt x="5525" y="988"/>
                </a:lnTo>
                <a:lnTo>
                  <a:pt x="5526" y="979"/>
                </a:lnTo>
                <a:lnTo>
                  <a:pt x="5528" y="963"/>
                </a:lnTo>
                <a:lnTo>
                  <a:pt x="5530" y="948"/>
                </a:lnTo>
                <a:lnTo>
                  <a:pt x="5533" y="935"/>
                </a:lnTo>
                <a:lnTo>
                  <a:pt x="5536" y="922"/>
                </a:lnTo>
                <a:lnTo>
                  <a:pt x="5541" y="907"/>
                </a:lnTo>
                <a:lnTo>
                  <a:pt x="5546" y="893"/>
                </a:lnTo>
                <a:lnTo>
                  <a:pt x="5552" y="879"/>
                </a:lnTo>
                <a:lnTo>
                  <a:pt x="5559" y="867"/>
                </a:lnTo>
                <a:lnTo>
                  <a:pt x="5567" y="855"/>
                </a:lnTo>
                <a:lnTo>
                  <a:pt x="5575" y="844"/>
                </a:lnTo>
                <a:lnTo>
                  <a:pt x="5584" y="834"/>
                </a:lnTo>
                <a:lnTo>
                  <a:pt x="5593" y="824"/>
                </a:lnTo>
                <a:lnTo>
                  <a:pt x="5598" y="820"/>
                </a:lnTo>
                <a:lnTo>
                  <a:pt x="5603" y="816"/>
                </a:lnTo>
                <a:lnTo>
                  <a:pt x="5614" y="809"/>
                </a:lnTo>
                <a:lnTo>
                  <a:pt x="5625" y="802"/>
                </a:lnTo>
                <a:lnTo>
                  <a:pt x="5631" y="800"/>
                </a:lnTo>
                <a:lnTo>
                  <a:pt x="5636" y="797"/>
                </a:lnTo>
                <a:lnTo>
                  <a:pt x="5648" y="793"/>
                </a:lnTo>
                <a:lnTo>
                  <a:pt x="5661" y="790"/>
                </a:lnTo>
                <a:lnTo>
                  <a:pt x="5667" y="789"/>
                </a:lnTo>
                <a:lnTo>
                  <a:pt x="5673" y="788"/>
                </a:lnTo>
                <a:lnTo>
                  <a:pt x="5680" y="788"/>
                </a:lnTo>
                <a:lnTo>
                  <a:pt x="5686" y="788"/>
                </a:lnTo>
                <a:lnTo>
                  <a:pt x="5696" y="788"/>
                </a:lnTo>
                <a:lnTo>
                  <a:pt x="5705" y="789"/>
                </a:lnTo>
                <a:lnTo>
                  <a:pt x="5714" y="790"/>
                </a:lnTo>
                <a:lnTo>
                  <a:pt x="5723" y="793"/>
                </a:lnTo>
                <a:lnTo>
                  <a:pt x="5732" y="795"/>
                </a:lnTo>
                <a:lnTo>
                  <a:pt x="5739" y="799"/>
                </a:lnTo>
                <a:lnTo>
                  <a:pt x="5747" y="802"/>
                </a:lnTo>
                <a:lnTo>
                  <a:pt x="5754" y="807"/>
                </a:lnTo>
                <a:lnTo>
                  <a:pt x="5761" y="812"/>
                </a:lnTo>
                <a:lnTo>
                  <a:pt x="5767" y="817"/>
                </a:lnTo>
                <a:lnTo>
                  <a:pt x="5773" y="823"/>
                </a:lnTo>
                <a:lnTo>
                  <a:pt x="5779" y="830"/>
                </a:lnTo>
                <a:lnTo>
                  <a:pt x="5784" y="837"/>
                </a:lnTo>
                <a:lnTo>
                  <a:pt x="5789" y="845"/>
                </a:lnTo>
                <a:lnTo>
                  <a:pt x="5793" y="853"/>
                </a:lnTo>
                <a:lnTo>
                  <a:pt x="5797" y="861"/>
                </a:lnTo>
                <a:lnTo>
                  <a:pt x="5800" y="868"/>
                </a:lnTo>
                <a:lnTo>
                  <a:pt x="5802" y="875"/>
                </a:lnTo>
                <a:lnTo>
                  <a:pt x="5806" y="890"/>
                </a:lnTo>
                <a:lnTo>
                  <a:pt x="5809" y="906"/>
                </a:lnTo>
                <a:lnTo>
                  <a:pt x="5812" y="924"/>
                </a:lnTo>
                <a:lnTo>
                  <a:pt x="5814" y="945"/>
                </a:lnTo>
                <a:lnTo>
                  <a:pt x="5816" y="969"/>
                </a:lnTo>
                <a:lnTo>
                  <a:pt x="5816" y="981"/>
                </a:lnTo>
                <a:lnTo>
                  <a:pt x="5816" y="995"/>
                </a:lnTo>
                <a:lnTo>
                  <a:pt x="5817" y="1024"/>
                </a:lnTo>
                <a:lnTo>
                  <a:pt x="5817" y="1478"/>
                </a:lnTo>
                <a:lnTo>
                  <a:pt x="6077" y="1478"/>
                </a:lnTo>
                <a:lnTo>
                  <a:pt x="6077" y="1041"/>
                </a:lnTo>
                <a:lnTo>
                  <a:pt x="6077" y="1026"/>
                </a:lnTo>
                <a:lnTo>
                  <a:pt x="6077" y="1011"/>
                </a:lnTo>
                <a:lnTo>
                  <a:pt x="6078" y="997"/>
                </a:lnTo>
                <a:lnTo>
                  <a:pt x="6079" y="983"/>
                </a:lnTo>
                <a:lnTo>
                  <a:pt x="6081" y="970"/>
                </a:lnTo>
                <a:lnTo>
                  <a:pt x="6083" y="957"/>
                </a:lnTo>
                <a:lnTo>
                  <a:pt x="6085" y="944"/>
                </a:lnTo>
                <a:lnTo>
                  <a:pt x="6087" y="932"/>
                </a:lnTo>
                <a:lnTo>
                  <a:pt x="6093" y="910"/>
                </a:lnTo>
                <a:lnTo>
                  <a:pt x="6096" y="899"/>
                </a:lnTo>
                <a:lnTo>
                  <a:pt x="6100" y="889"/>
                </a:lnTo>
                <a:lnTo>
                  <a:pt x="6104" y="879"/>
                </a:lnTo>
                <a:lnTo>
                  <a:pt x="6108" y="870"/>
                </a:lnTo>
                <a:lnTo>
                  <a:pt x="6113" y="861"/>
                </a:lnTo>
                <a:lnTo>
                  <a:pt x="6118" y="853"/>
                </a:lnTo>
                <a:lnTo>
                  <a:pt x="6123" y="845"/>
                </a:lnTo>
                <a:lnTo>
                  <a:pt x="6129" y="838"/>
                </a:lnTo>
                <a:lnTo>
                  <a:pt x="6135" y="831"/>
                </a:lnTo>
                <a:lnTo>
                  <a:pt x="6141" y="824"/>
                </a:lnTo>
                <a:lnTo>
                  <a:pt x="6148" y="819"/>
                </a:lnTo>
                <a:lnTo>
                  <a:pt x="6155" y="813"/>
                </a:lnTo>
                <a:lnTo>
                  <a:pt x="6162" y="808"/>
                </a:lnTo>
                <a:lnTo>
                  <a:pt x="6169" y="804"/>
                </a:lnTo>
                <a:lnTo>
                  <a:pt x="6177" y="800"/>
                </a:lnTo>
                <a:lnTo>
                  <a:pt x="6185" y="797"/>
                </a:lnTo>
                <a:lnTo>
                  <a:pt x="6194" y="794"/>
                </a:lnTo>
                <a:lnTo>
                  <a:pt x="6202" y="792"/>
                </a:lnTo>
                <a:lnTo>
                  <a:pt x="6211" y="790"/>
                </a:lnTo>
                <a:lnTo>
                  <a:pt x="6221" y="789"/>
                </a:lnTo>
                <a:lnTo>
                  <a:pt x="6230" y="788"/>
                </a:lnTo>
                <a:lnTo>
                  <a:pt x="6240" y="788"/>
                </a:lnTo>
                <a:lnTo>
                  <a:pt x="6252" y="788"/>
                </a:lnTo>
                <a:lnTo>
                  <a:pt x="6263" y="789"/>
                </a:lnTo>
                <a:lnTo>
                  <a:pt x="6273" y="791"/>
                </a:lnTo>
                <a:lnTo>
                  <a:pt x="6283" y="793"/>
                </a:lnTo>
                <a:lnTo>
                  <a:pt x="6293" y="796"/>
                </a:lnTo>
                <a:lnTo>
                  <a:pt x="6302" y="800"/>
                </a:lnTo>
                <a:lnTo>
                  <a:pt x="6306" y="802"/>
                </a:lnTo>
                <a:lnTo>
                  <a:pt x="6310" y="804"/>
                </a:lnTo>
                <a:lnTo>
                  <a:pt x="6318" y="809"/>
                </a:lnTo>
                <a:lnTo>
                  <a:pt x="6325" y="815"/>
                </a:lnTo>
                <a:lnTo>
                  <a:pt x="6332" y="821"/>
                </a:lnTo>
                <a:lnTo>
                  <a:pt x="6338" y="829"/>
                </a:lnTo>
                <a:lnTo>
                  <a:pt x="6344" y="837"/>
                </a:lnTo>
                <a:lnTo>
                  <a:pt x="6349" y="845"/>
                </a:lnTo>
                <a:lnTo>
                  <a:pt x="6353" y="855"/>
                </a:lnTo>
                <a:lnTo>
                  <a:pt x="6357" y="865"/>
                </a:lnTo>
                <a:lnTo>
                  <a:pt x="6360" y="876"/>
                </a:lnTo>
                <a:lnTo>
                  <a:pt x="6362" y="887"/>
                </a:lnTo>
                <a:lnTo>
                  <a:pt x="6364" y="900"/>
                </a:lnTo>
                <a:lnTo>
                  <a:pt x="6366" y="915"/>
                </a:lnTo>
                <a:lnTo>
                  <a:pt x="6367" y="931"/>
                </a:lnTo>
                <a:lnTo>
                  <a:pt x="6369" y="969"/>
                </a:lnTo>
                <a:lnTo>
                  <a:pt x="6370" y="990"/>
                </a:lnTo>
                <a:lnTo>
                  <a:pt x="6370" y="1011"/>
                </a:lnTo>
                <a:lnTo>
                  <a:pt x="6370" y="1478"/>
                </a:lnTo>
                <a:lnTo>
                  <a:pt x="6630" y="1478"/>
                </a:lnTo>
                <a:close/>
                <a:moveTo>
                  <a:pt x="2027" y="314"/>
                </a:moveTo>
                <a:lnTo>
                  <a:pt x="2012" y="315"/>
                </a:lnTo>
                <a:lnTo>
                  <a:pt x="2005" y="316"/>
                </a:lnTo>
                <a:lnTo>
                  <a:pt x="1998" y="317"/>
                </a:lnTo>
                <a:lnTo>
                  <a:pt x="1991" y="318"/>
                </a:lnTo>
                <a:lnTo>
                  <a:pt x="1985" y="320"/>
                </a:lnTo>
                <a:lnTo>
                  <a:pt x="1979" y="322"/>
                </a:lnTo>
                <a:lnTo>
                  <a:pt x="1972" y="324"/>
                </a:lnTo>
                <a:lnTo>
                  <a:pt x="1961" y="330"/>
                </a:lnTo>
                <a:lnTo>
                  <a:pt x="1955" y="333"/>
                </a:lnTo>
                <a:lnTo>
                  <a:pt x="1950" y="337"/>
                </a:lnTo>
                <a:lnTo>
                  <a:pt x="1940" y="344"/>
                </a:lnTo>
                <a:lnTo>
                  <a:pt x="1935" y="349"/>
                </a:lnTo>
                <a:lnTo>
                  <a:pt x="1931" y="353"/>
                </a:lnTo>
                <a:lnTo>
                  <a:pt x="1923" y="363"/>
                </a:lnTo>
                <a:lnTo>
                  <a:pt x="1919" y="369"/>
                </a:lnTo>
                <a:lnTo>
                  <a:pt x="1916" y="374"/>
                </a:lnTo>
                <a:lnTo>
                  <a:pt x="1913" y="380"/>
                </a:lnTo>
                <a:lnTo>
                  <a:pt x="1910" y="386"/>
                </a:lnTo>
                <a:lnTo>
                  <a:pt x="1905" y="399"/>
                </a:lnTo>
                <a:lnTo>
                  <a:pt x="1901" y="413"/>
                </a:lnTo>
                <a:lnTo>
                  <a:pt x="1899" y="420"/>
                </a:lnTo>
                <a:lnTo>
                  <a:pt x="1898" y="427"/>
                </a:lnTo>
                <a:lnTo>
                  <a:pt x="1896" y="443"/>
                </a:lnTo>
                <a:lnTo>
                  <a:pt x="1896" y="451"/>
                </a:lnTo>
                <a:lnTo>
                  <a:pt x="1896" y="459"/>
                </a:lnTo>
                <a:lnTo>
                  <a:pt x="1896" y="571"/>
                </a:lnTo>
                <a:lnTo>
                  <a:pt x="2079" y="571"/>
                </a:lnTo>
                <a:lnTo>
                  <a:pt x="2079" y="777"/>
                </a:lnTo>
                <a:lnTo>
                  <a:pt x="1896" y="777"/>
                </a:lnTo>
                <a:lnTo>
                  <a:pt x="1896" y="1479"/>
                </a:lnTo>
                <a:lnTo>
                  <a:pt x="1645" y="1479"/>
                </a:lnTo>
                <a:lnTo>
                  <a:pt x="1645" y="779"/>
                </a:lnTo>
                <a:lnTo>
                  <a:pt x="1529" y="779"/>
                </a:lnTo>
                <a:lnTo>
                  <a:pt x="1529" y="576"/>
                </a:lnTo>
                <a:lnTo>
                  <a:pt x="1645" y="576"/>
                </a:lnTo>
                <a:lnTo>
                  <a:pt x="1645" y="482"/>
                </a:lnTo>
                <a:lnTo>
                  <a:pt x="1645" y="447"/>
                </a:lnTo>
                <a:lnTo>
                  <a:pt x="1646" y="430"/>
                </a:lnTo>
                <a:lnTo>
                  <a:pt x="1647" y="412"/>
                </a:lnTo>
                <a:lnTo>
                  <a:pt x="1649" y="395"/>
                </a:lnTo>
                <a:lnTo>
                  <a:pt x="1650" y="377"/>
                </a:lnTo>
                <a:lnTo>
                  <a:pt x="1653" y="360"/>
                </a:lnTo>
                <a:lnTo>
                  <a:pt x="1655" y="343"/>
                </a:lnTo>
                <a:lnTo>
                  <a:pt x="1659" y="326"/>
                </a:lnTo>
                <a:lnTo>
                  <a:pt x="1663" y="310"/>
                </a:lnTo>
                <a:lnTo>
                  <a:pt x="1667" y="294"/>
                </a:lnTo>
                <a:lnTo>
                  <a:pt x="1672" y="278"/>
                </a:lnTo>
                <a:lnTo>
                  <a:pt x="1678" y="262"/>
                </a:lnTo>
                <a:lnTo>
                  <a:pt x="1685" y="247"/>
                </a:lnTo>
                <a:lnTo>
                  <a:pt x="1692" y="233"/>
                </a:lnTo>
                <a:lnTo>
                  <a:pt x="1696" y="225"/>
                </a:lnTo>
                <a:lnTo>
                  <a:pt x="1700" y="218"/>
                </a:lnTo>
                <a:lnTo>
                  <a:pt x="1705" y="212"/>
                </a:lnTo>
                <a:lnTo>
                  <a:pt x="1709" y="205"/>
                </a:lnTo>
                <a:lnTo>
                  <a:pt x="1719" y="192"/>
                </a:lnTo>
                <a:lnTo>
                  <a:pt x="1730" y="180"/>
                </a:lnTo>
                <a:lnTo>
                  <a:pt x="1742" y="168"/>
                </a:lnTo>
                <a:lnTo>
                  <a:pt x="1755" y="157"/>
                </a:lnTo>
                <a:lnTo>
                  <a:pt x="1761" y="152"/>
                </a:lnTo>
                <a:lnTo>
                  <a:pt x="1769" y="147"/>
                </a:lnTo>
                <a:lnTo>
                  <a:pt x="1784" y="137"/>
                </a:lnTo>
                <a:lnTo>
                  <a:pt x="1791" y="133"/>
                </a:lnTo>
                <a:lnTo>
                  <a:pt x="1800" y="129"/>
                </a:lnTo>
                <a:lnTo>
                  <a:pt x="1817" y="121"/>
                </a:lnTo>
                <a:lnTo>
                  <a:pt x="1826" y="117"/>
                </a:lnTo>
                <a:lnTo>
                  <a:pt x="1835" y="114"/>
                </a:lnTo>
                <a:lnTo>
                  <a:pt x="1855" y="108"/>
                </a:lnTo>
                <a:lnTo>
                  <a:pt x="1876" y="103"/>
                </a:lnTo>
                <a:lnTo>
                  <a:pt x="1899" y="99"/>
                </a:lnTo>
                <a:lnTo>
                  <a:pt x="1910" y="98"/>
                </a:lnTo>
                <a:lnTo>
                  <a:pt x="1923" y="96"/>
                </a:lnTo>
                <a:lnTo>
                  <a:pt x="1948" y="95"/>
                </a:lnTo>
                <a:lnTo>
                  <a:pt x="1961" y="94"/>
                </a:lnTo>
                <a:lnTo>
                  <a:pt x="1974" y="94"/>
                </a:lnTo>
                <a:lnTo>
                  <a:pt x="1999" y="94"/>
                </a:lnTo>
                <a:lnTo>
                  <a:pt x="2021" y="95"/>
                </a:lnTo>
                <a:lnTo>
                  <a:pt x="2041" y="97"/>
                </a:lnTo>
                <a:lnTo>
                  <a:pt x="2061" y="99"/>
                </a:lnTo>
                <a:lnTo>
                  <a:pt x="2080" y="102"/>
                </a:lnTo>
                <a:lnTo>
                  <a:pt x="2100" y="106"/>
                </a:lnTo>
                <a:lnTo>
                  <a:pt x="2122" y="110"/>
                </a:lnTo>
                <a:lnTo>
                  <a:pt x="2146" y="115"/>
                </a:lnTo>
                <a:lnTo>
                  <a:pt x="2146" y="330"/>
                </a:lnTo>
                <a:lnTo>
                  <a:pt x="2122" y="325"/>
                </a:lnTo>
                <a:lnTo>
                  <a:pt x="2110" y="322"/>
                </a:lnTo>
                <a:lnTo>
                  <a:pt x="2097" y="319"/>
                </a:lnTo>
                <a:lnTo>
                  <a:pt x="2082" y="317"/>
                </a:lnTo>
                <a:lnTo>
                  <a:pt x="2066" y="316"/>
                </a:lnTo>
                <a:lnTo>
                  <a:pt x="2048" y="315"/>
                </a:lnTo>
                <a:lnTo>
                  <a:pt x="2027" y="31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89612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6" r:id="rId2"/>
    <p:sldLayoutId id="2147483670" r:id="rId3"/>
    <p:sldLayoutId id="2147483650" r:id="rId4"/>
    <p:sldLayoutId id="2147483672" r:id="rId5"/>
    <p:sldLayoutId id="2147483652" r:id="rId6"/>
    <p:sldLayoutId id="2147483653" r:id="rId7"/>
    <p:sldLayoutId id="2147483661" r:id="rId8"/>
    <p:sldLayoutId id="2147483662" r:id="rId9"/>
    <p:sldLayoutId id="2147483663" r:id="rId10"/>
    <p:sldLayoutId id="2147483668" r:id="rId11"/>
    <p:sldLayoutId id="2147483654" r:id="rId12"/>
    <p:sldLayoutId id="2147483655" r:id="rId13"/>
    <p:sldLayoutId id="2147483659" r:id="rId14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8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00000"/>
        </a:lnSpc>
        <a:spcBef>
          <a:spcPts val="800"/>
        </a:spcBef>
        <a:buClr>
          <a:schemeClr val="accent2"/>
        </a:buClr>
        <a:buFont typeface="Arial" panose="020B0604020202020204" pitchFamily="34" charset="0"/>
        <a:buChar char="•"/>
        <a:defRPr sz="2000" kern="1200">
          <a:solidFill>
            <a:srgbClr val="000000"/>
          </a:solidFill>
          <a:latin typeface="+mn-lt"/>
          <a:ea typeface="+mn-ea"/>
          <a:cs typeface="+mn-cs"/>
        </a:defRPr>
      </a:lvl1pPr>
      <a:lvl2pPr marL="539750" indent="-273050" algn="l" defTabSz="914400" rtl="0" eaLnBrk="1" latinLnBrk="0" hangingPunct="1">
        <a:lnSpc>
          <a:spcPct val="100000"/>
        </a:lnSpc>
        <a:spcBef>
          <a:spcPts val="800"/>
        </a:spcBef>
        <a:buClr>
          <a:schemeClr val="accent2"/>
        </a:buClr>
        <a:buFont typeface="Arial" panose="020B0604020202020204" pitchFamily="34" charset="0"/>
        <a:buChar char="–"/>
        <a:defRPr sz="1800" kern="1200">
          <a:solidFill>
            <a:srgbClr val="000000"/>
          </a:solidFill>
          <a:latin typeface="+mn-lt"/>
          <a:ea typeface="+mn-ea"/>
          <a:cs typeface="+mn-cs"/>
        </a:defRPr>
      </a:lvl2pPr>
      <a:lvl3pPr marL="806450" indent="-266700" algn="l" defTabSz="914400" rtl="0" eaLnBrk="1" latinLnBrk="0" hangingPunct="1">
        <a:lnSpc>
          <a:spcPct val="100000"/>
        </a:lnSpc>
        <a:spcBef>
          <a:spcPts val="8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rgbClr val="000000"/>
          </a:solidFill>
          <a:latin typeface="+mn-lt"/>
          <a:ea typeface="+mn-ea"/>
          <a:cs typeface="+mn-cs"/>
        </a:defRPr>
      </a:lvl3pPr>
      <a:lvl4pPr marL="1071563" indent="-265113" algn="l" defTabSz="914400" rtl="0" eaLnBrk="1" latinLnBrk="0" hangingPunct="1">
        <a:lnSpc>
          <a:spcPct val="100000"/>
        </a:lnSpc>
        <a:spcBef>
          <a:spcPts val="800"/>
        </a:spcBef>
        <a:buClr>
          <a:schemeClr val="accent2"/>
        </a:buClr>
        <a:buFont typeface="Arial" panose="020B0604020202020204" pitchFamily="34" charset="0"/>
        <a:buChar char="–"/>
        <a:defRPr sz="1400" kern="1200">
          <a:solidFill>
            <a:srgbClr val="000000"/>
          </a:solidFill>
          <a:latin typeface="+mn-lt"/>
          <a:ea typeface="+mn-ea"/>
          <a:cs typeface="+mn-cs"/>
        </a:defRPr>
      </a:lvl4pPr>
      <a:lvl5pPr marL="1346200" indent="-274638" algn="l" defTabSz="914400" rtl="0" eaLnBrk="1" latinLnBrk="0" hangingPunct="1">
        <a:lnSpc>
          <a:spcPct val="100000"/>
        </a:lnSpc>
        <a:spcBef>
          <a:spcPts val="800"/>
        </a:spcBef>
        <a:buClr>
          <a:schemeClr val="accent2"/>
        </a:buClr>
        <a:buFont typeface="Arial" panose="020B0604020202020204" pitchFamily="34" charset="0"/>
        <a:buChar char="•"/>
        <a:defRPr sz="1400" kern="1200">
          <a:solidFill>
            <a:srgbClr val="000000"/>
          </a:solidFill>
          <a:latin typeface="+mn-lt"/>
          <a:ea typeface="+mn-ea"/>
          <a:cs typeface="+mn-cs"/>
        </a:defRPr>
      </a:lvl5pPr>
      <a:lvl6pPr marL="1612900" indent="-266700" algn="l" defTabSz="914400" rtl="0" eaLnBrk="1" latinLnBrk="0" hangingPunct="1">
        <a:lnSpc>
          <a:spcPct val="100000"/>
        </a:lnSpc>
        <a:spcBef>
          <a:spcPts val="800"/>
        </a:spcBef>
        <a:buClr>
          <a:schemeClr val="accent2"/>
        </a:buClr>
        <a:buFont typeface="Arial" panose="020B0604020202020204" pitchFamily="34" charset="0"/>
        <a:buChar char="–"/>
        <a:defRPr sz="1200" kern="1200">
          <a:solidFill>
            <a:srgbClr val="000000"/>
          </a:solidFill>
          <a:latin typeface="+mn-lt"/>
          <a:ea typeface="+mn-ea"/>
          <a:cs typeface="+mn-cs"/>
        </a:defRPr>
      </a:lvl6pPr>
      <a:lvl7pPr marL="1878013" indent="-265113" algn="l" defTabSz="914400" rtl="0" eaLnBrk="1" latinLnBrk="0" hangingPunct="1">
        <a:lnSpc>
          <a:spcPct val="100000"/>
        </a:lnSpc>
        <a:spcBef>
          <a:spcPts val="800"/>
        </a:spcBef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rgbClr val="000000"/>
          </a:solidFill>
          <a:latin typeface="+mn-lt"/>
          <a:ea typeface="+mn-ea"/>
          <a:cs typeface="+mn-cs"/>
        </a:defRPr>
      </a:lvl7pPr>
      <a:lvl8pPr marL="2152650" indent="-274638" algn="l" defTabSz="914400" rtl="0" eaLnBrk="1" latinLnBrk="0" hangingPunct="1">
        <a:lnSpc>
          <a:spcPct val="100000"/>
        </a:lnSpc>
        <a:spcBef>
          <a:spcPts val="800"/>
        </a:spcBef>
        <a:buClr>
          <a:schemeClr val="accent2"/>
        </a:buClr>
        <a:buFont typeface="Arial" panose="020B0604020202020204" pitchFamily="34" charset="0"/>
        <a:buChar char="–"/>
        <a:defRPr sz="1200" kern="1200">
          <a:solidFill>
            <a:srgbClr val="000000"/>
          </a:solidFill>
          <a:latin typeface="+mn-lt"/>
          <a:ea typeface="+mn-ea"/>
          <a:cs typeface="+mn-cs"/>
        </a:defRPr>
      </a:lvl8pPr>
      <a:lvl9pPr marL="2419350" indent="-266700" algn="l" defTabSz="914400" rtl="0" eaLnBrk="1" latinLnBrk="0" hangingPunct="1">
        <a:lnSpc>
          <a:spcPct val="100000"/>
        </a:lnSpc>
        <a:spcBef>
          <a:spcPts val="800"/>
        </a:spcBef>
        <a:buClr>
          <a:schemeClr val="accent2"/>
        </a:buClr>
        <a:buFont typeface="Arial" panose="020B0604020202020204" pitchFamily="34" charset="0"/>
        <a:buChar char="•"/>
        <a:defRPr sz="1200" kern="12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slideLayout" Target="../slideLayouts/slideLayout4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image" Target="../media/image3.emf"/><Relationship Id="rId2" Type="http://schemas.openxmlformats.org/officeDocument/2006/relationships/tags" Target="../tags/tag1.xml"/><Relationship Id="rId16" Type="http://schemas.openxmlformats.org/officeDocument/2006/relationships/oleObject" Target="../embeddings/oleObject2.bin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5" Type="http://schemas.openxmlformats.org/officeDocument/2006/relationships/image" Target="../media/image2.emf"/><Relationship Id="rId10" Type="http://schemas.openxmlformats.org/officeDocument/2006/relationships/tags" Target="../tags/tag9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oleObject" Target="../embeddings/oleObject1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4" Type="http://schemas.openxmlformats.org/officeDocument/2006/relationships/hyperlink" Target="mailto:Esa.Hyvarinen@fortum.com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/>
          <p:cNvPicPr>
            <a:picLocks noGrp="1" noChangeAspect="1"/>
          </p:cNvPicPr>
          <p:nvPr>
            <p:ph type="pic" sz="quarter" idx="14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560387" y="2708920"/>
            <a:ext cx="8713092" cy="1296000"/>
          </a:xfrm>
        </p:spPr>
        <p:txBody>
          <a:bodyPr/>
          <a:lstStyle/>
          <a:p>
            <a:r>
              <a:rPr lang="fi-FI" sz="5400" dirty="0" smtClean="0"/>
              <a:t>Energiayhtiön </a:t>
            </a:r>
            <a:r>
              <a:rPr lang="fi-FI" sz="5400" dirty="0"/>
              <a:t>näkökulma- </a:t>
            </a:r>
            <a:r>
              <a:rPr lang="fi-FI" sz="5400" dirty="0" smtClean="0"/>
              <a:t>metsä </a:t>
            </a:r>
            <a:r>
              <a:rPr lang="fi-FI" sz="5400" dirty="0"/>
              <a:t>ja vesi osana </a:t>
            </a:r>
            <a:r>
              <a:rPr lang="fi-FI" sz="5400" dirty="0" err="1"/>
              <a:t>Nexusta</a:t>
            </a:r>
            <a:r>
              <a:rPr lang="en-US" sz="5400" spc="-30" dirty="0">
                <a:effectLst>
                  <a:outerShdw blurRad="254000" algn="ctr" rotWithShape="0">
                    <a:prstClr val="black">
                      <a:alpha val="30000"/>
                    </a:prstClr>
                  </a:outerShdw>
                </a:effectLst>
              </a:rPr>
              <a:t/>
            </a:r>
            <a:br>
              <a:rPr lang="en-US" sz="5400" spc="-30" dirty="0">
                <a:effectLst>
                  <a:outerShdw blurRad="254000" algn="ctr" rotWithShape="0">
                    <a:prstClr val="black">
                      <a:alpha val="30000"/>
                    </a:prstClr>
                  </a:outerShdw>
                </a:effectLst>
              </a:rPr>
            </a:br>
            <a:endParaRPr lang="fi-FI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60388" y="5750733"/>
            <a:ext cx="7200900" cy="720552"/>
          </a:xfrm>
        </p:spPr>
        <p:txBody>
          <a:bodyPr/>
          <a:lstStyle/>
          <a:p>
            <a:r>
              <a:rPr lang="fi-FI" b="1" dirty="0" smtClean="0">
                <a:solidFill>
                  <a:schemeClr val="tx2">
                    <a:lumMod val="50000"/>
                  </a:schemeClr>
                </a:solidFill>
              </a:rPr>
              <a:t>Esa Hyvärinen</a:t>
            </a:r>
          </a:p>
          <a:p>
            <a:r>
              <a:rPr lang="fi-FI" b="1" dirty="0" smtClean="0">
                <a:solidFill>
                  <a:schemeClr val="tx2">
                    <a:lumMod val="50000"/>
                  </a:schemeClr>
                </a:solidFill>
              </a:rPr>
              <a:t>28.03.2018</a:t>
            </a:r>
          </a:p>
        </p:txBody>
      </p:sp>
    </p:spTree>
    <p:extLst>
      <p:ext uri="{BB962C8B-B14F-4D97-AF65-F5344CB8AC3E}">
        <p14:creationId xmlns:p14="http://schemas.microsoft.com/office/powerpoint/2010/main" val="1782391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/>
              <a:t>2</a:t>
            </a:fld>
            <a:endParaRPr lang="en-US" dirty="0"/>
          </a:p>
        </p:txBody>
      </p:sp>
      <p:sp>
        <p:nvSpPr>
          <p:cNvPr id="3" name="Rubrik 2"/>
          <p:cNvSpPr>
            <a:spLocks noGrp="1"/>
          </p:cNvSpPr>
          <p:nvPr>
            <p:ph type="title"/>
          </p:nvPr>
        </p:nvSpPr>
        <p:spPr>
          <a:xfrm>
            <a:off x="488504" y="476250"/>
            <a:ext cx="9217024" cy="720502"/>
          </a:xfrm>
        </p:spPr>
        <p:txBody>
          <a:bodyPr/>
          <a:lstStyle/>
          <a:p>
            <a:r>
              <a:rPr lang="en-US" dirty="0" smtClean="0"/>
              <a:t>Hourly based electricity consumption in Sweden 2016 </a:t>
            </a:r>
            <a:br>
              <a:rPr lang="en-US" dirty="0" smtClean="0"/>
            </a:br>
            <a:r>
              <a:rPr lang="en-US" dirty="0" smtClean="0"/>
              <a:t>-&gt; 23 GW </a:t>
            </a:r>
            <a:r>
              <a:rPr lang="en-US" dirty="0"/>
              <a:t>W</a:t>
            </a:r>
            <a:r>
              <a:rPr lang="en-US" dirty="0" smtClean="0"/>
              <a:t>ind (simulated) 75 TWh/year</a:t>
            </a:r>
            <a:endParaRPr lang="en-US" dirty="0"/>
          </a:p>
        </p:txBody>
      </p:sp>
      <p:graphicFrame>
        <p:nvGraphicFramePr>
          <p:cNvPr id="4" name="Diagram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02502892"/>
              </p:ext>
            </p:extLst>
          </p:nvPr>
        </p:nvGraphicFramePr>
        <p:xfrm>
          <a:off x="560387" y="1700808"/>
          <a:ext cx="8785227" cy="41764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Straight Connector 5"/>
          <p:cNvCxnSpPr/>
          <p:nvPr/>
        </p:nvCxnSpPr>
        <p:spPr>
          <a:xfrm>
            <a:off x="1156399" y="4149080"/>
            <a:ext cx="8136904" cy="0"/>
          </a:xfrm>
          <a:prstGeom prst="line">
            <a:avLst/>
          </a:prstGeom>
          <a:ln w="3810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3800872" y="6021288"/>
            <a:ext cx="360040" cy="0"/>
          </a:xfrm>
          <a:prstGeom prst="line">
            <a:avLst/>
          </a:prstGeom>
          <a:ln w="3810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4304928" y="5898177"/>
            <a:ext cx="20162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Installed Nuclear capacity 2015</a:t>
            </a:r>
          </a:p>
        </p:txBody>
      </p:sp>
    </p:spTree>
    <p:extLst>
      <p:ext uri="{BB962C8B-B14F-4D97-AF65-F5344CB8AC3E}">
        <p14:creationId xmlns:p14="http://schemas.microsoft.com/office/powerpoint/2010/main" val="3302450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291" y="644228"/>
          <a:ext cx="1289" cy="12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6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291" y="644228"/>
                        <a:ext cx="1289" cy="12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642938"/>
            <a:ext cx="128984" cy="1289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138" dirty="0">
              <a:latin typeface="Arial" panose="020B0604020202020204" pitchFamily="34" charset="0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577" y="796207"/>
            <a:ext cx="9010848" cy="585408"/>
          </a:xfrm>
        </p:spPr>
        <p:txBody>
          <a:bodyPr/>
          <a:lstStyle/>
          <a:p>
            <a:r>
              <a:rPr lang="en-US" dirty="0" smtClean="0"/>
              <a:t>Centralised </a:t>
            </a:r>
            <a:r>
              <a:rPr lang="en-US" dirty="0"/>
              <a:t>heating enables </a:t>
            </a:r>
            <a:r>
              <a:rPr lang="en-US" dirty="0" smtClean="0"/>
              <a:t>more intermittent wind and solar produc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/>
              <a:t>3</a:t>
            </a:fld>
            <a:endParaRPr lang="en-US" dirty="0"/>
          </a:p>
        </p:txBody>
      </p:sp>
      <p:graphicFrame>
        <p:nvGraphicFramePr>
          <p:cNvPr id="6" name="Object 5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557213" y="1542830"/>
          <a:ext cx="8458783" cy="41094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7" name="Chart" r:id="rId16" imgW="10410810" imgH="5057745" progId="MSGraph.Chart.8">
                  <p:embed followColorScheme="full"/>
                </p:oleObj>
              </mc:Choice>
              <mc:Fallback>
                <p:oleObj name="Chart" r:id="rId16" imgW="10410810" imgH="505774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557213" y="1542830"/>
                        <a:ext cx="8458783" cy="41094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TextBox 37"/>
          <p:cNvSpPr txBox="1"/>
          <p:nvPr/>
        </p:nvSpPr>
        <p:spPr>
          <a:xfrm rot="16200000">
            <a:off x="-333110" y="2995034"/>
            <a:ext cx="1755195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300" dirty="0"/>
              <a:t>MW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3080792" y="1549243"/>
            <a:ext cx="4153962" cy="3174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63" b="1" dirty="0"/>
              <a:t>Finnish electricity and heat demand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916052" y="5827766"/>
            <a:ext cx="7488832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75" dirty="0"/>
              <a:t>*Heat demand produced with heat pump increase electricity demand with 1/3 of the heat demand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149960" y="5476728"/>
            <a:ext cx="146278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i-FI" sz="1300" dirty="0"/>
              <a:t>January</a:t>
            </a:r>
            <a:endParaRPr lang="en-US" sz="1300" dirty="0"/>
          </a:p>
        </p:txBody>
      </p:sp>
      <p:sp>
        <p:nvSpPr>
          <p:cNvPr id="20" name="TextBox 19"/>
          <p:cNvSpPr txBox="1"/>
          <p:nvPr/>
        </p:nvSpPr>
        <p:spPr>
          <a:xfrm>
            <a:off x="7410274" y="5494185"/>
            <a:ext cx="146278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i-FI" sz="1300" dirty="0"/>
              <a:t>December</a:t>
            </a:r>
            <a:endParaRPr lang="en-US" sz="1300" dirty="0"/>
          </a:p>
        </p:txBody>
      </p:sp>
      <p:cxnSp>
        <p:nvCxnSpPr>
          <p:cNvPr id="18" name="Straight Connector 17"/>
          <p:cNvCxnSpPr/>
          <p:nvPr>
            <p:custDataLst>
              <p:tags r:id="rId5"/>
            </p:custDataLst>
          </p:nvPr>
        </p:nvCxnSpPr>
        <p:spPr bwMode="gray">
          <a:xfrm>
            <a:off x="3487738" y="2931648"/>
            <a:ext cx="203795" cy="0"/>
          </a:xfrm>
          <a:prstGeom prst="line">
            <a:avLst/>
          </a:prstGeom>
          <a:ln w="19050">
            <a:solidFill>
              <a:schemeClr val="accent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>
            <p:custDataLst>
              <p:tags r:id="rId6"/>
            </p:custDataLst>
          </p:nvPr>
        </p:nvCxnSpPr>
        <p:spPr bwMode="gray">
          <a:xfrm>
            <a:off x="3487738" y="2503420"/>
            <a:ext cx="203795" cy="0"/>
          </a:xfrm>
          <a:prstGeom prst="line">
            <a:avLst/>
          </a:prstGeom>
          <a:ln w="9525">
            <a:solidFill>
              <a:srgbClr val="C0C0C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>
            <p:custDataLst>
              <p:tags r:id="rId7"/>
            </p:custDataLst>
          </p:nvPr>
        </p:nvCxnSpPr>
        <p:spPr bwMode="gray">
          <a:xfrm>
            <a:off x="3487738" y="2717534"/>
            <a:ext cx="203795" cy="0"/>
          </a:xfrm>
          <a:prstGeom prst="line">
            <a:avLst/>
          </a:prstGeom>
          <a:ln w="19050">
            <a:solidFill>
              <a:schemeClr val="accent3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>
            <p:custDataLst>
              <p:tags r:id="rId8"/>
            </p:custDataLst>
          </p:nvPr>
        </p:nvCxnSpPr>
        <p:spPr bwMode="gray">
          <a:xfrm>
            <a:off x="3487738" y="2289306"/>
            <a:ext cx="203795" cy="0"/>
          </a:xfrm>
          <a:prstGeom prst="line">
            <a:avLst/>
          </a:prstGeom>
          <a:ln w="1905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732808" y="2209336"/>
            <a:ext cx="3268464" cy="172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20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1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071563" indent="-265113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346200" indent="-274638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1612900" indent="-2667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1878013" indent="-265113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2152650" indent="-274638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2419350" indent="-2667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0ED8EB9-703B-4E2A-859E-B9C1F1777D8D}" type="datetime'Electr''icity dem''and w''ithout dis''t''rict heating and CHP'">
              <a:rPr lang="en-US" altLang="en-US" sz="1138">
                <a:solidFill>
                  <a:schemeClr val="accent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Electricity demand without district heating and CHP</a:t>
            </a:fld>
            <a:endParaRPr lang="en-US" sz="1138" dirty="0">
              <a:solidFill>
                <a:schemeClr val="accent1"/>
              </a:solidFill>
              <a:sym typeface="+mn-lt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732808" y="2423450"/>
            <a:ext cx="2699643" cy="172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20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1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071563" indent="-265113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346200" indent="-274638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1612900" indent="-2667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1878013" indent="-265113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2152650" indent="-274638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2419350" indent="-2667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DF40FDD-14C8-46B8-99F5-49CD3CF11D1D}" type="datetime'Elect''ricity de''mand witho''ut ''di''''strict ''h''eating*'">
              <a:rPr lang="en-US" altLang="en-US" sz="1138">
                <a:solidFill>
                  <a:schemeClr val="bg2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Electricity demand without district heating*</a:t>
            </a:fld>
            <a:endParaRPr lang="en-US" sz="1138" dirty="0">
              <a:solidFill>
                <a:schemeClr val="bg2"/>
              </a:solidFill>
              <a:sym typeface="+mn-lt"/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732808" y="2851679"/>
            <a:ext cx="1320800" cy="172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20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1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071563" indent="-265113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346200" indent="-274638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1612900" indent="-2667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1878013" indent="-265113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2152650" indent="-274638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2419350" indent="-2667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A13220C-0FF3-4A07-AF96-4E7EEB99F955}" type="datetime'''D''''''is''t''r''i''ct ''''hea''''t ''''dem''a''''n''''d'">
              <a:rPr lang="en-US" altLang="en-US" sz="1138">
                <a:solidFill>
                  <a:schemeClr val="accent6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District heat demand</a:t>
            </a:fld>
            <a:endParaRPr lang="en-US" sz="1138" dirty="0">
              <a:solidFill>
                <a:schemeClr val="accent6"/>
              </a:solidFill>
              <a:sym typeface="+mn-lt"/>
            </a:endParaRPr>
          </a:p>
        </p:txBody>
      </p:sp>
      <p:sp>
        <p:nvSpPr>
          <p:cNvPr id="33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732808" y="2637565"/>
            <a:ext cx="1177628" cy="172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20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1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071563" indent="-265113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346200" indent="-274638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1612900" indent="-2667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1878013" indent="-265113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2152650" indent="-274638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2419350" indent="-2667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0DB1FBA-0EEA-4956-BFFE-6B2ECD1B8EC3}" type="datetime'El''ect''''ri''''c''it''''y'''''''''' ''demand'">
              <a:rPr lang="en-US" altLang="en-US" sz="1138">
                <a:solidFill>
                  <a:schemeClr val="accent3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Electricity demand</a:t>
            </a:fld>
            <a:endParaRPr lang="en-US" sz="1138" dirty="0">
              <a:solidFill>
                <a:schemeClr val="accent3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05456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Kuva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642938"/>
            <a:ext cx="9906000" cy="3095625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603647" indent="-232172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928688" indent="-185738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300163" indent="-185738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1671638" indent="-185738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043113" indent="-185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414588" indent="-185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2786063" indent="-185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157538" indent="-185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fld id="{61369028-39D8-4047-B51B-5B9C9764896B}" type="slidenum">
              <a:rPr lang="fi-FI">
                <a:solidFill>
                  <a:srgbClr val="494F4E"/>
                </a:solidFill>
                <a:latin typeface="Calibri" charset="0"/>
              </a:rPr>
              <a:pPr/>
              <a:t>4</a:t>
            </a:fld>
            <a:endParaRPr lang="fi-FI">
              <a:solidFill>
                <a:srgbClr val="494F4E"/>
              </a:solidFill>
              <a:latin typeface="Calibri" charset="0"/>
            </a:endParaRPr>
          </a:p>
        </p:txBody>
      </p:sp>
      <p:sp>
        <p:nvSpPr>
          <p:cNvPr id="8" name="Content Placeholder 4"/>
          <p:cNvSpPr txBox="1">
            <a:spLocks/>
          </p:cNvSpPr>
          <p:nvPr/>
        </p:nvSpPr>
        <p:spPr>
          <a:xfrm>
            <a:off x="562848" y="3985306"/>
            <a:ext cx="8584413" cy="1549928"/>
          </a:xfrm>
          <a:prstGeom prst="rect">
            <a:avLst/>
          </a:prstGeom>
        </p:spPr>
        <p:txBody>
          <a:bodyPr>
            <a:normAutofit/>
          </a:bodyPr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20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539750" indent="-27305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1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806450" indent="-2667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071563" indent="-265113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346200" indent="-274638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1612900" indent="-2667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1878013" indent="-265113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2152650" indent="-274638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2419350" indent="-2667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None/>
            </a:pPr>
            <a:r>
              <a:rPr lang="en-GB" sz="1625" dirty="0" smtClean="0">
                <a:hlinkClick r:id="rId4"/>
              </a:rPr>
              <a:t>Esa.Hyvarinen@fortum.com</a:t>
            </a:r>
            <a:endParaRPr lang="en-GB" sz="1625" dirty="0" smtClean="0"/>
          </a:p>
          <a:p>
            <a:pPr marL="0" lvl="0" indent="0">
              <a:buNone/>
            </a:pPr>
            <a:r>
              <a:rPr lang="en-GB" sz="1625" dirty="0" smtClean="0"/>
              <a:t>@</a:t>
            </a:r>
            <a:r>
              <a:rPr lang="en-GB" sz="1625" dirty="0" err="1" smtClean="0"/>
              <a:t>EsaHyvarinen</a:t>
            </a:r>
            <a:endParaRPr lang="en-GB" sz="1625" dirty="0" smtClean="0"/>
          </a:p>
        </p:txBody>
      </p:sp>
    </p:spTree>
    <p:extLst>
      <p:ext uri="{BB962C8B-B14F-4D97-AF65-F5344CB8AC3E}">
        <p14:creationId xmlns:p14="http://schemas.microsoft.com/office/powerpoint/2010/main" val="2003000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P7BMuiQF2D8MCmrj7tu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fu3um.ScOpDtfsF2UdI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X.VTjQSuqQw5aT0_Y09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0869YIS7yjJG6TeL2W_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GBrm5RS_y.p68Ur9LSD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N.kQ5eTe67H.m7GXStx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rjh5RvQPm3Uf085K1XR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kwEs3uSyisiG0y9bZ7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tfh3JVQKimtfEXiLi46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r6BjaFQsulVY9tIxGbsw"/>
</p:tagLst>
</file>

<file path=ppt/theme/theme1.xml><?xml version="1.0" encoding="utf-8"?>
<a:theme xmlns:a="http://schemas.openxmlformats.org/drawingml/2006/main" name="Fortum">
  <a:themeElements>
    <a:clrScheme name="fortum PPT 2017">
      <a:dk1>
        <a:srgbClr val="000000"/>
      </a:dk1>
      <a:lt1>
        <a:sysClr val="window" lastClr="FFFFFF"/>
      </a:lt1>
      <a:dk2>
        <a:srgbClr val="9BBDB6"/>
      </a:dk2>
      <a:lt2>
        <a:srgbClr val="B9B4AA"/>
      </a:lt2>
      <a:accent1>
        <a:srgbClr val="5AC37D"/>
      </a:accent1>
      <a:accent2>
        <a:srgbClr val="377A6C"/>
      </a:accent2>
      <a:accent3>
        <a:srgbClr val="78A0D4"/>
      </a:accent3>
      <a:accent4>
        <a:srgbClr val="003C79"/>
      </a:accent4>
      <a:accent5>
        <a:srgbClr val="F5E100"/>
      </a:accent5>
      <a:accent6>
        <a:srgbClr val="EB6437"/>
      </a:accent6>
      <a:hlink>
        <a:srgbClr val="5AC37D"/>
      </a:hlink>
      <a:folHlink>
        <a:srgbClr val="78A0D4"/>
      </a:folHlink>
    </a:clrScheme>
    <a:fontScheme name="fortu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Fortum_landscape.potx" id="{529690F4-81C0-4F76-9748-870AEF62421F}" vid="{D553F74D-5BF8-410A-90A5-15B5F2068DD1}"/>
    </a:ext>
  </a:extLst>
</a:theme>
</file>

<file path=ppt/theme/theme2.xml><?xml version="1.0" encoding="utf-8"?>
<a:theme xmlns:a="http://schemas.openxmlformats.org/drawingml/2006/main" name="Office Theme">
  <a:themeElements>
    <a:clrScheme name="fortum PPT 2017">
      <a:dk1>
        <a:srgbClr val="000000"/>
      </a:dk1>
      <a:lt1>
        <a:sysClr val="window" lastClr="FFFFFF"/>
      </a:lt1>
      <a:dk2>
        <a:srgbClr val="9BBDB6"/>
      </a:dk2>
      <a:lt2>
        <a:srgbClr val="B9B4AA"/>
      </a:lt2>
      <a:accent1>
        <a:srgbClr val="5AC37D"/>
      </a:accent1>
      <a:accent2>
        <a:srgbClr val="377A6C"/>
      </a:accent2>
      <a:accent3>
        <a:srgbClr val="78A0D4"/>
      </a:accent3>
      <a:accent4>
        <a:srgbClr val="003C79"/>
      </a:accent4>
      <a:accent5>
        <a:srgbClr val="F5E100"/>
      </a:accent5>
      <a:accent6>
        <a:srgbClr val="EB6437"/>
      </a:accent6>
      <a:hlink>
        <a:srgbClr val="5AC37D"/>
      </a:hlink>
      <a:folHlink>
        <a:srgbClr val="78A0D4"/>
      </a:folHlink>
    </a:clrScheme>
    <a:fontScheme name="fortu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fortum PPT 2017">
      <a:dk1>
        <a:srgbClr val="000000"/>
      </a:dk1>
      <a:lt1>
        <a:sysClr val="window" lastClr="FFFFFF"/>
      </a:lt1>
      <a:dk2>
        <a:srgbClr val="9BBDB6"/>
      </a:dk2>
      <a:lt2>
        <a:srgbClr val="B9B4AA"/>
      </a:lt2>
      <a:accent1>
        <a:srgbClr val="5AC37D"/>
      </a:accent1>
      <a:accent2>
        <a:srgbClr val="377A6C"/>
      </a:accent2>
      <a:accent3>
        <a:srgbClr val="78A0D4"/>
      </a:accent3>
      <a:accent4>
        <a:srgbClr val="003C79"/>
      </a:accent4>
      <a:accent5>
        <a:srgbClr val="F5E100"/>
      </a:accent5>
      <a:accent6>
        <a:srgbClr val="EB6437"/>
      </a:accent6>
      <a:hlink>
        <a:srgbClr val="5AC37D"/>
      </a:hlink>
      <a:folHlink>
        <a:srgbClr val="78A0D4"/>
      </a:folHlink>
    </a:clrScheme>
    <a:fontScheme name="fortu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ortum_landscape</Template>
  <TotalTime>0</TotalTime>
  <Words>66</Words>
  <Application>Microsoft Office PowerPoint</Application>
  <PresentationFormat>A4-paperi (210 x 297 mm)</PresentationFormat>
  <Paragraphs>22</Paragraphs>
  <Slides>4</Slides>
  <Notes>1</Notes>
  <HiddenSlides>0</HiddenSlides>
  <MMClips>0</MMClips>
  <ScaleCrop>false</ScaleCrop>
  <HeadingPairs>
    <vt:vector size="8" baseType="variant">
      <vt:variant>
        <vt:lpstr>Käytetyt fontit</vt:lpstr>
      </vt:variant>
      <vt:variant>
        <vt:i4>3</vt:i4>
      </vt:variant>
      <vt:variant>
        <vt:lpstr>Teema</vt:lpstr>
      </vt:variant>
      <vt:variant>
        <vt:i4>1</vt:i4>
      </vt:variant>
      <vt:variant>
        <vt:lpstr>Upotetut OLE-palvelimet</vt:lpstr>
      </vt:variant>
      <vt:variant>
        <vt:i4>2</vt:i4>
      </vt:variant>
      <vt:variant>
        <vt:lpstr>Dian otsikot</vt:lpstr>
      </vt:variant>
      <vt:variant>
        <vt:i4>4</vt:i4>
      </vt:variant>
    </vt:vector>
  </HeadingPairs>
  <TitlesOfParts>
    <vt:vector size="10" baseType="lpstr">
      <vt:lpstr>Arial</vt:lpstr>
      <vt:lpstr>Calibri</vt:lpstr>
      <vt:lpstr>ヒラギノ角ゴ Pro W3</vt:lpstr>
      <vt:lpstr>Fortum</vt:lpstr>
      <vt:lpstr>think-cell Slide</vt:lpstr>
      <vt:lpstr>Chart</vt:lpstr>
      <vt:lpstr>Energiayhtiön näkökulma- metsä ja vesi osana Nexusta </vt:lpstr>
      <vt:lpstr>Hourly based electricity consumption in Sweden 2016  -&gt; 23 GW Wind (simulated) 75 TWh/year</vt:lpstr>
      <vt:lpstr>Centralised heating enables more intermittent wind and solar production</vt:lpstr>
      <vt:lpstr>PowerPoint-esitys</vt:lpstr>
    </vt:vector>
  </TitlesOfParts>
  <Manager>Fortum Oyj</Manager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ra Tero</dc:creator>
  <cp:keywords/>
  <cp:lastModifiedBy>Alatalo Heidi (MMM)</cp:lastModifiedBy>
  <cp:revision>92</cp:revision>
  <dcterms:created xsi:type="dcterms:W3CDTF">2016-12-07T17:23:35Z</dcterms:created>
  <dcterms:modified xsi:type="dcterms:W3CDTF">2018-03-23T13:58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vTieturiVerId">
    <vt:lpwstr>283.31.07.017</vt:lpwstr>
  </property>
  <property fmtid="{D5CDD505-2E9C-101B-9397-08002B2CF9AE}" pid="3" name="dvSaved">
    <vt:lpwstr>1</vt:lpwstr>
  </property>
  <property fmtid="{D5CDD505-2E9C-101B-9397-08002B2CF9AE}" pid="4" name="dvLanguage">
    <vt:lpwstr>1035</vt:lpwstr>
  </property>
  <property fmtid="{D5CDD505-2E9C-101B-9397-08002B2CF9AE}" pid="5" name="dvTemplate">
    <vt:lpwstr>Fortum_landscape.potx</vt:lpwstr>
  </property>
  <property fmtid="{D5CDD505-2E9C-101B-9397-08002B2CF9AE}" pid="6" name="dvDefinition">
    <vt:lpwstr>131 (dd_default.xml)</vt:lpwstr>
  </property>
  <property fmtid="{D5CDD505-2E9C-101B-9397-08002B2CF9AE}" pid="7" name="dvDefinitionID">
    <vt:lpwstr>131</vt:lpwstr>
  </property>
  <property fmtid="{D5CDD505-2E9C-101B-9397-08002B2CF9AE}" pid="8" name="dvContentFile">
    <vt:lpwstr>dd_default.xml</vt:lpwstr>
  </property>
  <property fmtid="{D5CDD505-2E9C-101B-9397-08002B2CF9AE}" pid="9" name="dvGlobalVerID">
    <vt:lpwstr>283.88.07.037</vt:lpwstr>
  </property>
  <property fmtid="{D5CDD505-2E9C-101B-9397-08002B2CF9AE}" pid="10" name="dvDefinitionVersion">
    <vt:lpwstr>9.0 / 12.12.2013</vt:lpwstr>
  </property>
  <property fmtid="{D5CDD505-2E9C-101B-9397-08002B2CF9AE}" pid="11" name="filename">
    <vt:lpwstr>false</vt:lpwstr>
  </property>
  <property fmtid="{D5CDD505-2E9C-101B-9397-08002B2CF9AE}" pid="12" name="filenameandpath">
    <vt:lpwstr>false</vt:lpwstr>
  </property>
  <property fmtid="{D5CDD505-2E9C-101B-9397-08002B2CF9AE}" pid="13" name="dvPagenumberExist">
    <vt:lpwstr>1</vt:lpwstr>
  </property>
  <property fmtid="{D5CDD505-2E9C-101B-9397-08002B2CF9AE}" pid="14" name="dvAuthorExist">
    <vt:lpwstr>0</vt:lpwstr>
  </property>
  <property fmtid="{D5CDD505-2E9C-101B-9397-08002B2CF9AE}" pid="15" name="dvDateExist">
    <vt:lpwstr>0</vt:lpwstr>
  </property>
  <property fmtid="{D5CDD505-2E9C-101B-9397-08002B2CF9AE}" pid="16" name="dvDisableDate">
    <vt:lpwstr>1</vt:lpwstr>
  </property>
  <property fmtid="{D5CDD505-2E9C-101B-9397-08002B2CF9AE}" pid="17" name="dvDisableAuthor">
    <vt:lpwstr>1</vt:lpwstr>
  </property>
  <property fmtid="{D5CDD505-2E9C-101B-9397-08002B2CF9AE}" pid="18" name="dvDisableSlidenumber">
    <vt:lpwstr>0</vt:lpwstr>
  </property>
  <property fmtid="{D5CDD505-2E9C-101B-9397-08002B2CF9AE}" pid="19" name="dvSavepath">
    <vt:lpwstr/>
  </property>
  <property fmtid="{D5CDD505-2E9C-101B-9397-08002B2CF9AE}" pid="20" name="dvUsed">
    <vt:lpwstr>1</vt:lpwstr>
  </property>
  <property fmtid="{D5CDD505-2E9C-101B-9397-08002B2CF9AE}" pid="21" name="dvCompany">
    <vt:lpwstr/>
  </property>
  <property fmtid="{D5CDD505-2E9C-101B-9397-08002B2CF9AE}" pid="22" name="dvCompanyList">
    <vt:lpwstr/>
  </property>
  <property fmtid="{D5CDD505-2E9C-101B-9397-08002B2CF9AE}" pid="23" name="dvSite">
    <vt:lpwstr/>
  </property>
  <property fmtid="{D5CDD505-2E9C-101B-9397-08002B2CF9AE}" pid="24" name="dvNumbering">
    <vt:lpwstr>0</vt:lpwstr>
  </property>
  <property fmtid="{D5CDD505-2E9C-101B-9397-08002B2CF9AE}" pid="25" name="dvDUname">
    <vt:lpwstr/>
  </property>
  <property fmtid="{D5CDD505-2E9C-101B-9397-08002B2CF9AE}" pid="26" name="dvDUdepartment">
    <vt:lpwstr/>
  </property>
  <property fmtid="{D5CDD505-2E9C-101B-9397-08002B2CF9AE}" pid="27" name="dvConfidentiality">
    <vt:lpwstr/>
  </property>
  <property fmtid="{D5CDD505-2E9C-101B-9397-08002B2CF9AE}" pid="28" name="dvLogoExist">
    <vt:lpwstr>0</vt:lpwstr>
  </property>
  <property fmtid="{D5CDD505-2E9C-101B-9397-08002B2CF9AE}" pid="29" name="CreateDate">
    <vt:lpwstr>7.12.2016</vt:lpwstr>
  </property>
  <property fmtid="{D5CDD505-2E9C-101B-9397-08002B2CF9AE}" pid="30" name="FortumDMConfidentialityTaxHTField0">
    <vt:lpwstr/>
  </property>
  <property fmtid="{D5CDD505-2E9C-101B-9397-08002B2CF9AE}" pid="31" name="FortumDMDocumentTypeTaxHTField0">
    <vt:lpwstr/>
  </property>
  <property fmtid="{D5CDD505-2E9C-101B-9397-08002B2CF9AE}" pid="32" name="FortumDMOrganisationTaxHTField0">
    <vt:lpwstr/>
  </property>
  <property fmtid="{D5CDD505-2E9C-101B-9397-08002B2CF9AE}" pid="33" name="FileAuthor">
    <vt:lpwstr/>
  </property>
  <property fmtid="{D5CDD505-2E9C-101B-9397-08002B2CF9AE}" pid="34" name="BU">
    <vt:lpwstr/>
  </property>
  <property fmtid="{D5CDD505-2E9C-101B-9397-08002B2CF9AE}" pid="35" name="_AdHocReviewCycleID">
    <vt:i4>888356777</vt:i4>
  </property>
  <property fmtid="{D5CDD505-2E9C-101B-9397-08002B2CF9AE}" pid="36" name="_NewReviewCycle">
    <vt:lpwstr/>
  </property>
  <property fmtid="{D5CDD505-2E9C-101B-9397-08002B2CF9AE}" pid="37" name="_EmailSubject">
    <vt:lpwstr>VS:  Ohjeistus tilaisuuteen Metsä-vesi-ruoka-energia nexus kansainvälisessä luonnonvarapolitiikassa ke 28.3.2018 Säätytalo</vt:lpwstr>
  </property>
  <property fmtid="{D5CDD505-2E9C-101B-9397-08002B2CF9AE}" pid="38" name="_AuthorEmail">
    <vt:lpwstr>Esa.Hyvarinen@fortum.com</vt:lpwstr>
  </property>
  <property fmtid="{D5CDD505-2E9C-101B-9397-08002B2CF9AE}" pid="39" name="_AuthorEmailDisplayName">
    <vt:lpwstr>Hyvarinen Esa</vt:lpwstr>
  </property>
  <property fmtid="{D5CDD505-2E9C-101B-9397-08002B2CF9AE}" pid="40" name="_PreviousAdHocReviewCycleID">
    <vt:i4>-2095960385</vt:i4>
  </property>
  <property fmtid="{D5CDD505-2E9C-101B-9397-08002B2CF9AE}" pid="41" name="MSIP_Label_65c3b1a5-3e25-4525-b923-a0572e679d8b_Enabled">
    <vt:lpwstr>True</vt:lpwstr>
  </property>
  <property fmtid="{D5CDD505-2E9C-101B-9397-08002B2CF9AE}" pid="42" name="MSIP_Label_65c3b1a5-3e25-4525-b923-a0572e679d8b_SiteId">
    <vt:lpwstr>62a9c2c8-8b09-43be-a7fb-9a87875714a9</vt:lpwstr>
  </property>
  <property fmtid="{D5CDD505-2E9C-101B-9397-08002B2CF9AE}" pid="43" name="MSIP_Label_65c3b1a5-3e25-4525-b923-a0572e679d8b_Ref">
    <vt:lpwstr>https://api.informationprotection.azure.com/api/62a9c2c8-8b09-43be-a7fb-9a87875714a9</vt:lpwstr>
  </property>
  <property fmtid="{D5CDD505-2E9C-101B-9397-08002B2CF9AE}" pid="44" name="MSIP_Label_65c3b1a5-3e25-4525-b923-a0572e679d8b_Owner">
    <vt:lpwstr>per.langer@fortum.com</vt:lpwstr>
  </property>
  <property fmtid="{D5CDD505-2E9C-101B-9397-08002B2CF9AE}" pid="45" name="MSIP_Label_65c3b1a5-3e25-4525-b923-a0572e679d8b_SetDate">
    <vt:lpwstr>2018-03-07T09:57:19.9507118+01:00</vt:lpwstr>
  </property>
  <property fmtid="{D5CDD505-2E9C-101B-9397-08002B2CF9AE}" pid="46" name="MSIP_Label_65c3b1a5-3e25-4525-b923-a0572e679d8b_Name">
    <vt:lpwstr>Internal</vt:lpwstr>
  </property>
  <property fmtid="{D5CDD505-2E9C-101B-9397-08002B2CF9AE}" pid="47" name="MSIP_Label_65c3b1a5-3e25-4525-b923-a0572e679d8b_Application">
    <vt:lpwstr>Microsoft Azure Information Protection</vt:lpwstr>
  </property>
  <property fmtid="{D5CDD505-2E9C-101B-9397-08002B2CF9AE}" pid="48" name="MSIP_Label_65c3b1a5-3e25-4525-b923-a0572e679d8b_Extended_MSFT_Method">
    <vt:lpwstr>Automatic</vt:lpwstr>
  </property>
  <property fmtid="{D5CDD505-2E9C-101B-9397-08002B2CF9AE}" pid="49" name="MSIP_Label_f45044c0-b6aa-4b2b-834d-65c9ef8bb134_Enabled">
    <vt:lpwstr>True</vt:lpwstr>
  </property>
  <property fmtid="{D5CDD505-2E9C-101B-9397-08002B2CF9AE}" pid="50" name="MSIP_Label_f45044c0-b6aa-4b2b-834d-65c9ef8bb134_SiteId">
    <vt:lpwstr>62a9c2c8-8b09-43be-a7fb-9a87875714a9</vt:lpwstr>
  </property>
  <property fmtid="{D5CDD505-2E9C-101B-9397-08002B2CF9AE}" pid="51" name="MSIP_Label_f45044c0-b6aa-4b2b-834d-65c9ef8bb134_Ref">
    <vt:lpwstr>https://api.informationprotection.azure.com/api/62a9c2c8-8b09-43be-a7fb-9a87875714a9</vt:lpwstr>
  </property>
  <property fmtid="{D5CDD505-2E9C-101B-9397-08002B2CF9AE}" pid="52" name="MSIP_Label_f45044c0-b6aa-4b2b-834d-65c9ef8bb134_Owner">
    <vt:lpwstr>per.langer@fortum.com</vt:lpwstr>
  </property>
  <property fmtid="{D5CDD505-2E9C-101B-9397-08002B2CF9AE}" pid="53" name="MSIP_Label_f45044c0-b6aa-4b2b-834d-65c9ef8bb134_SetDate">
    <vt:lpwstr>2018-03-07T09:57:19.9663118+01:00</vt:lpwstr>
  </property>
  <property fmtid="{D5CDD505-2E9C-101B-9397-08002B2CF9AE}" pid="54" name="MSIP_Label_f45044c0-b6aa-4b2b-834d-65c9ef8bb134_Name">
    <vt:lpwstr>Hide Visual Label</vt:lpwstr>
  </property>
  <property fmtid="{D5CDD505-2E9C-101B-9397-08002B2CF9AE}" pid="55" name="MSIP_Label_f45044c0-b6aa-4b2b-834d-65c9ef8bb134_Application">
    <vt:lpwstr>Microsoft Azure Information Protection</vt:lpwstr>
  </property>
  <property fmtid="{D5CDD505-2E9C-101B-9397-08002B2CF9AE}" pid="56" name="MSIP_Label_f45044c0-b6aa-4b2b-834d-65c9ef8bb134_Extended_MSFT_Method">
    <vt:lpwstr>Automatic</vt:lpwstr>
  </property>
  <property fmtid="{D5CDD505-2E9C-101B-9397-08002B2CF9AE}" pid="57" name="MSIP_Label_f45044c0-b6aa-4b2b-834d-65c9ef8bb134_Parent">
    <vt:lpwstr>65c3b1a5-3e25-4525-b923-a0572e679d8b</vt:lpwstr>
  </property>
  <property fmtid="{D5CDD505-2E9C-101B-9397-08002B2CF9AE}" pid="58" name="Sensitivity">
    <vt:lpwstr>Internal Hide Visual Label</vt:lpwstr>
  </property>
</Properties>
</file>